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2.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7.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1.xml" ContentType="application/vnd.openxmlformats-officedocument.presentationml.slideLayout+xml"/>
  <Override PartName="/ppt/theme/theme9.xml" ContentType="application/vnd.openxmlformats-officedocument.theme+xml"/>
  <Override PartName="/ppt/slideLayouts/slideLayout32.xml" ContentType="application/vnd.openxmlformats-officedocument.presentationml.slideLayout+xml"/>
  <Override PartName="/ppt/theme/theme10.xml" ContentType="application/vnd.openxmlformats-officedocument.theme+xml"/>
  <Override PartName="/ppt/charts/chart1.xml" ContentType="application/vnd.openxmlformats-officedocument.drawingml.char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1.xml" ContentType="application/vnd.openxmlformats-officedocument.theme+xml"/>
  <Override PartName="/ppt/charts/chart2.xml" ContentType="application/vnd.openxmlformats-officedocument.drawingml.chart+xml"/>
  <Override PartName="/ppt/tags/tag30.xml" ContentType="application/vnd.openxmlformats-officedocument.presentationml.tags+xml"/>
  <Override PartName="/ppt/slideLayouts/slideLayout38.xml" ContentType="application/vnd.openxmlformats-officedocument.presentationml.slideLayout+xml"/>
  <Override PartName="/ppt/theme/theme1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3.xml" ContentType="application/vnd.openxmlformats-officedocument.theme+xml"/>
  <Override PartName="/ppt/charts/chart3.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4.xml" ContentType="application/vnd.openxmlformats-officedocument.theme+xml"/>
  <Override PartName="/ppt/charts/chart4.xml" ContentType="application/vnd.openxmlformats-officedocument.drawingml.chart+xml"/>
  <Override PartName="/ppt/slideLayouts/slideLayout44.xml" ContentType="application/vnd.openxmlformats-officedocument.presentationml.slideLayout+xml"/>
  <Override PartName="/ppt/theme/theme15.xml" ContentType="application/vnd.openxmlformats-officedocument.theme+xml"/>
  <Override PartName="/ppt/charts/chart5.xml" ContentType="application/vnd.openxmlformats-officedocument.drawingml.char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6.xml" ContentType="application/vnd.openxmlformats-officedocument.theme+xml"/>
  <Override PartName="/ppt/charts/chart6.xml" ContentType="application/vnd.openxmlformats-officedocument.drawingml.char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theme/themeOverride1.xml" ContentType="application/vnd.openxmlformats-officedocument.themeOverride+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xml" ContentType="application/vnd.openxmlformats-officedocument.presentationml.notesSlide+xml"/>
  <Override PartName="/ppt/tags/tag53.xml" ContentType="application/vnd.openxmlformats-officedocument.presentationml.tags+xml"/>
  <Override PartName="/ppt/notesSlides/notesSlide4.xml" ContentType="application/vnd.openxmlformats-officedocument.presentationml.notesSlide+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notesSlides/notesSlide6.xml" ContentType="application/vnd.openxmlformats-officedocument.presentationml.notesSlide+xml"/>
  <Override PartName="/ppt/tags/tag56.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2" r:id="rId1"/>
    <p:sldMasterId id="2147483685" r:id="rId2"/>
    <p:sldMasterId id="2147483691" r:id="rId3"/>
    <p:sldMasterId id="2147483709" r:id="rId4"/>
    <p:sldMasterId id="2147483765" r:id="rId5"/>
    <p:sldMasterId id="2147483770" r:id="rId6"/>
    <p:sldMasterId id="2147483788" r:id="rId7"/>
    <p:sldMasterId id="2147483792" r:id="rId8"/>
    <p:sldMasterId id="2147483798" r:id="rId9"/>
    <p:sldMasterId id="2147483801" r:id="rId10"/>
    <p:sldMasterId id="2147483804" r:id="rId11"/>
    <p:sldMasterId id="2147483813" r:id="rId12"/>
    <p:sldMasterId id="2147483816" r:id="rId13"/>
    <p:sldMasterId id="2147483819" r:id="rId14"/>
    <p:sldMasterId id="2147483823" r:id="rId15"/>
    <p:sldMasterId id="2147483826" r:id="rId16"/>
    <p:sldMasterId id="2147483834" r:id="rId17"/>
  </p:sldMasterIdLst>
  <p:notesMasterIdLst>
    <p:notesMasterId r:id="rId28"/>
  </p:notesMasterIdLst>
  <p:handoutMasterIdLst>
    <p:handoutMasterId r:id="rId29"/>
  </p:handoutMasterIdLst>
  <p:sldIdLst>
    <p:sldId id="2962" r:id="rId18"/>
    <p:sldId id="2972" r:id="rId19"/>
    <p:sldId id="2984" r:id="rId20"/>
    <p:sldId id="2966" r:id="rId21"/>
    <p:sldId id="2980" r:id="rId22"/>
    <p:sldId id="2989" r:id="rId23"/>
    <p:sldId id="2991" r:id="rId24"/>
    <p:sldId id="2987" r:id="rId25"/>
    <p:sldId id="2988" r:id="rId26"/>
    <p:sldId id="2990" r:id="rId27"/>
  </p:sldIdLst>
  <p:sldSz cx="9144000" cy="6858000" type="screen4x3"/>
  <p:notesSz cx="6797675" cy="9926638"/>
  <p:custDataLst>
    <p:tags r:id="rId30"/>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C9D7"/>
    <a:srgbClr val="EDF2F3"/>
    <a:srgbClr val="ABC6D5"/>
    <a:srgbClr val="EEEFF2"/>
    <a:srgbClr val="8FB3C7"/>
    <a:srgbClr val="DFE0E5"/>
    <a:srgbClr val="6C8A72"/>
    <a:srgbClr val="C00000"/>
    <a:srgbClr val="D5D7DD"/>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33" autoAdjust="0"/>
    <p:restoredTop sz="94675" autoAdjust="0"/>
  </p:normalViewPr>
  <p:slideViewPr>
    <p:cSldViewPr>
      <p:cViewPr varScale="1">
        <p:scale>
          <a:sx n="74" d="100"/>
          <a:sy n="74" d="100"/>
        </p:scale>
        <p:origin x="60" y="396"/>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100" d="100"/>
        <a:sy n="100" d="100"/>
      </p:scale>
      <p:origin x="0" y="0"/>
    </p:cViewPr>
  </p:sorterViewPr>
  <p:notesViewPr>
    <p:cSldViewPr>
      <p:cViewPr varScale="1">
        <p:scale>
          <a:sx n="121" d="100"/>
          <a:sy n="121" d="100"/>
        </p:scale>
        <p:origin x="4938" y="1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slideMaster" Target="slideMasters/slideMaster3.xml"/><Relationship Id="rId21" Type="http://schemas.openxmlformats.org/officeDocument/2006/relationships/slide" Target="slides/slide4.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2.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tags" Target="tags/tag1.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992554628017702"/>
        </c:manualLayout>
      </c:layout>
      <c:pieChart>
        <c:varyColors val="1"/>
        <c:ser>
          <c:idx val="0"/>
          <c:order val="0"/>
          <c:tx>
            <c:strRef>
              <c:f>Лист1!$B$1</c:f>
              <c:strCache>
                <c:ptCount val="1"/>
                <c:pt idx="0">
                  <c:v>Продажи</c:v>
                </c:pt>
              </c:strCache>
            </c:strRef>
          </c:tx>
          <c:spPr>
            <a:effectLst>
              <a:outerShdw blurRad="63500" sx="102000" sy="102000" algn="ctr" rotWithShape="0">
                <a:prstClr val="black">
                  <a:alpha val="0"/>
                </a:prstClr>
              </a:outerShdw>
            </a:effectLst>
          </c:spPr>
          <c:explosion val="17"/>
          <c:dPt>
            <c:idx val="0"/>
            <c:bubble3D val="0"/>
            <c:explosion val="0"/>
            <c:spPr>
              <a:solidFill>
                <a:srgbClr val="F1A61E"/>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1-993C-4268-BD8E-FB2B1ACA77D5}"/>
              </c:ext>
            </c:extLst>
          </c:dPt>
          <c:dPt>
            <c:idx val="1"/>
            <c:bubble3D val="0"/>
            <c:explosion val="0"/>
            <c:spPr>
              <a:solidFill>
                <a:srgbClr val="F04E2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3-993C-4268-BD8E-FB2B1ACA77D5}"/>
              </c:ext>
            </c:extLst>
          </c:dPt>
          <c:dPt>
            <c:idx val="2"/>
            <c:bubble3D val="0"/>
            <c:explosion val="0"/>
            <c:spPr>
              <a:solidFill>
                <a:srgbClr val="B6247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5-993C-4268-BD8E-FB2B1ACA77D5}"/>
              </c:ext>
            </c:extLst>
          </c:dPt>
          <c:dPt>
            <c:idx val="3"/>
            <c:bubble3D val="0"/>
            <c:explosion val="0"/>
            <c:spPr>
              <a:solidFill>
                <a:srgbClr val="0F5FA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7-993C-4268-BD8E-FB2B1ACA77D5}"/>
              </c:ext>
            </c:extLst>
          </c:dPt>
          <c:dPt>
            <c:idx val="4"/>
            <c:bubble3D val="0"/>
            <c:explosion val="0"/>
            <c:spPr>
              <a:solidFill>
                <a:srgbClr val="5FAEE0"/>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9-993C-4268-BD8E-FB2B1ACA77D5}"/>
              </c:ext>
            </c:extLst>
          </c:dPt>
          <c:cat>
            <c:strRef>
              <c:f>Лист1!$A$2:$A$6</c:f>
              <c:strCache>
                <c:ptCount val="5"/>
                <c:pt idx="0">
                  <c:v>Кв. 1</c:v>
                </c:pt>
                <c:pt idx="1">
                  <c:v>Кв. 2</c:v>
                </c:pt>
                <c:pt idx="2">
                  <c:v>Кв. 3</c:v>
                </c:pt>
                <c:pt idx="3">
                  <c:v>Кв. 4</c:v>
                </c:pt>
                <c:pt idx="4">
                  <c:v>Кв.5</c:v>
                </c:pt>
              </c:strCache>
            </c:strRef>
          </c:cat>
          <c:val>
            <c:numRef>
              <c:f>Лист1!$B$2:$B$6</c:f>
              <c:numCache>
                <c:formatCode>General</c:formatCode>
                <c:ptCount val="5"/>
                <c:pt idx="0">
                  <c:v>50</c:v>
                </c:pt>
                <c:pt idx="1">
                  <c:v>25</c:v>
                </c:pt>
                <c:pt idx="2">
                  <c:v>19</c:v>
                </c:pt>
                <c:pt idx="3">
                  <c:v>3</c:v>
                </c:pt>
                <c:pt idx="4">
                  <c:v>3</c:v>
                </c:pt>
              </c:numCache>
            </c:numRef>
          </c:val>
          <c:extLst>
            <c:ext xmlns:c16="http://schemas.microsoft.com/office/drawing/2014/chart" uri="{C3380CC4-5D6E-409C-BE32-E72D297353CC}">
              <c16:uniqueId val="{0000000A-993C-4268-BD8E-FB2B1ACA77D5}"/>
            </c:ext>
          </c:extLst>
        </c:ser>
        <c:dLbls>
          <c:showLegendKey val="0"/>
          <c:showVal val="0"/>
          <c:showCatName val="0"/>
          <c:showSerName val="0"/>
          <c:showPercent val="0"/>
          <c:showBubbleSize val="0"/>
          <c:showLeaderLines val="1"/>
        </c:dLbls>
        <c:firstSliceAng val="269"/>
      </c:pie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992554628017702"/>
        </c:manualLayout>
      </c:layout>
      <c:pieChart>
        <c:varyColors val="1"/>
        <c:ser>
          <c:idx val="0"/>
          <c:order val="0"/>
          <c:tx>
            <c:strRef>
              <c:f>Лист1!$B$1</c:f>
              <c:strCache>
                <c:ptCount val="1"/>
                <c:pt idx="0">
                  <c:v>Продажи</c:v>
                </c:pt>
              </c:strCache>
            </c:strRef>
          </c:tx>
          <c:spPr>
            <a:effectLst>
              <a:outerShdw blurRad="63500" sx="102000" sy="102000" algn="ctr" rotWithShape="0">
                <a:prstClr val="black">
                  <a:alpha val="0"/>
                </a:prstClr>
              </a:outerShdw>
            </a:effectLst>
          </c:spPr>
          <c:explosion val="17"/>
          <c:dPt>
            <c:idx val="0"/>
            <c:bubble3D val="0"/>
            <c:explosion val="0"/>
            <c:spPr>
              <a:solidFill>
                <a:srgbClr val="F1A61E"/>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1-993C-4268-BD8E-FB2B1ACA77D5}"/>
              </c:ext>
            </c:extLst>
          </c:dPt>
          <c:dPt>
            <c:idx val="1"/>
            <c:bubble3D val="0"/>
            <c:explosion val="0"/>
            <c:spPr>
              <a:solidFill>
                <a:srgbClr val="F04E2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3-993C-4268-BD8E-FB2B1ACA77D5}"/>
              </c:ext>
            </c:extLst>
          </c:dPt>
          <c:dPt>
            <c:idx val="2"/>
            <c:bubble3D val="0"/>
            <c:explosion val="0"/>
            <c:spPr>
              <a:solidFill>
                <a:srgbClr val="B6247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5-993C-4268-BD8E-FB2B1ACA77D5}"/>
              </c:ext>
            </c:extLst>
          </c:dPt>
          <c:dPt>
            <c:idx val="3"/>
            <c:bubble3D val="0"/>
            <c:explosion val="0"/>
            <c:spPr>
              <a:solidFill>
                <a:srgbClr val="0F5FA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7-993C-4268-BD8E-FB2B1ACA77D5}"/>
              </c:ext>
            </c:extLst>
          </c:dPt>
          <c:dPt>
            <c:idx val="4"/>
            <c:bubble3D val="0"/>
            <c:explosion val="0"/>
            <c:spPr>
              <a:solidFill>
                <a:srgbClr val="5FAEE0"/>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9-993C-4268-BD8E-FB2B1ACA77D5}"/>
              </c:ext>
            </c:extLst>
          </c:dPt>
          <c:cat>
            <c:strRef>
              <c:f>Лист1!$A$2:$A$6</c:f>
              <c:strCache>
                <c:ptCount val="5"/>
                <c:pt idx="0">
                  <c:v>Кв. 1</c:v>
                </c:pt>
                <c:pt idx="1">
                  <c:v>Кв. 2</c:v>
                </c:pt>
                <c:pt idx="2">
                  <c:v>Кв. 3</c:v>
                </c:pt>
                <c:pt idx="3">
                  <c:v>Кв. 4</c:v>
                </c:pt>
                <c:pt idx="4">
                  <c:v>Кв.5</c:v>
                </c:pt>
              </c:strCache>
            </c:strRef>
          </c:cat>
          <c:val>
            <c:numRef>
              <c:f>Лист1!$B$2:$B$6</c:f>
              <c:numCache>
                <c:formatCode>General</c:formatCode>
                <c:ptCount val="5"/>
                <c:pt idx="0">
                  <c:v>50</c:v>
                </c:pt>
                <c:pt idx="1">
                  <c:v>25</c:v>
                </c:pt>
                <c:pt idx="2">
                  <c:v>19</c:v>
                </c:pt>
                <c:pt idx="3">
                  <c:v>3</c:v>
                </c:pt>
                <c:pt idx="4">
                  <c:v>3</c:v>
                </c:pt>
              </c:numCache>
            </c:numRef>
          </c:val>
          <c:extLst>
            <c:ext xmlns:c16="http://schemas.microsoft.com/office/drawing/2014/chart" uri="{C3380CC4-5D6E-409C-BE32-E72D297353CC}">
              <c16:uniqueId val="{0000000A-993C-4268-BD8E-FB2B1ACA77D5}"/>
            </c:ext>
          </c:extLst>
        </c:ser>
        <c:dLbls>
          <c:showLegendKey val="0"/>
          <c:showVal val="0"/>
          <c:showCatName val="0"/>
          <c:showSerName val="0"/>
          <c:showPercent val="0"/>
          <c:showBubbleSize val="0"/>
          <c:showLeaderLines val="1"/>
        </c:dLbls>
        <c:firstSliceAng val="269"/>
      </c:pie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992554628017702"/>
        </c:manualLayout>
      </c:layout>
      <c:pieChart>
        <c:varyColors val="1"/>
        <c:ser>
          <c:idx val="0"/>
          <c:order val="0"/>
          <c:tx>
            <c:strRef>
              <c:f>Лист1!$B$1</c:f>
              <c:strCache>
                <c:ptCount val="1"/>
                <c:pt idx="0">
                  <c:v>Продажи</c:v>
                </c:pt>
              </c:strCache>
            </c:strRef>
          </c:tx>
          <c:spPr>
            <a:effectLst>
              <a:outerShdw blurRad="63500" sx="102000" sy="102000" algn="ctr" rotWithShape="0">
                <a:prstClr val="black">
                  <a:alpha val="0"/>
                </a:prstClr>
              </a:outerShdw>
            </a:effectLst>
          </c:spPr>
          <c:explosion val="17"/>
          <c:dPt>
            <c:idx val="0"/>
            <c:bubble3D val="0"/>
            <c:explosion val="0"/>
            <c:spPr>
              <a:solidFill>
                <a:srgbClr val="F1A61E"/>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1-993C-4268-BD8E-FB2B1ACA77D5}"/>
              </c:ext>
            </c:extLst>
          </c:dPt>
          <c:dPt>
            <c:idx val="1"/>
            <c:bubble3D val="0"/>
            <c:explosion val="0"/>
            <c:spPr>
              <a:solidFill>
                <a:srgbClr val="F04E2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3-993C-4268-BD8E-FB2B1ACA77D5}"/>
              </c:ext>
            </c:extLst>
          </c:dPt>
          <c:dPt>
            <c:idx val="2"/>
            <c:bubble3D val="0"/>
            <c:explosion val="0"/>
            <c:spPr>
              <a:solidFill>
                <a:srgbClr val="B6247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5-993C-4268-BD8E-FB2B1ACA77D5}"/>
              </c:ext>
            </c:extLst>
          </c:dPt>
          <c:dPt>
            <c:idx val="3"/>
            <c:bubble3D val="0"/>
            <c:explosion val="0"/>
            <c:spPr>
              <a:solidFill>
                <a:srgbClr val="0F5FA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7-993C-4268-BD8E-FB2B1ACA77D5}"/>
              </c:ext>
            </c:extLst>
          </c:dPt>
          <c:dPt>
            <c:idx val="4"/>
            <c:bubble3D val="0"/>
            <c:explosion val="0"/>
            <c:spPr>
              <a:solidFill>
                <a:srgbClr val="5FAEE0"/>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9-993C-4268-BD8E-FB2B1ACA77D5}"/>
              </c:ext>
            </c:extLst>
          </c:dPt>
          <c:cat>
            <c:strRef>
              <c:f>Лист1!$A$2:$A$6</c:f>
              <c:strCache>
                <c:ptCount val="5"/>
                <c:pt idx="0">
                  <c:v>Кв. 1</c:v>
                </c:pt>
                <c:pt idx="1">
                  <c:v>Кв. 2</c:v>
                </c:pt>
                <c:pt idx="2">
                  <c:v>Кв. 3</c:v>
                </c:pt>
                <c:pt idx="3">
                  <c:v>Кв. 4</c:v>
                </c:pt>
                <c:pt idx="4">
                  <c:v>Кв.5</c:v>
                </c:pt>
              </c:strCache>
            </c:strRef>
          </c:cat>
          <c:val>
            <c:numRef>
              <c:f>Лист1!$B$2:$B$6</c:f>
              <c:numCache>
                <c:formatCode>\О\с\н\о\в\н\о\й</c:formatCode>
                <c:ptCount val="5"/>
                <c:pt idx="0">
                  <c:v>50</c:v>
                </c:pt>
                <c:pt idx="1">
                  <c:v>25</c:v>
                </c:pt>
                <c:pt idx="2">
                  <c:v>19</c:v>
                </c:pt>
                <c:pt idx="3">
                  <c:v>3</c:v>
                </c:pt>
                <c:pt idx="4">
                  <c:v>3</c:v>
                </c:pt>
              </c:numCache>
            </c:numRef>
          </c:val>
          <c:extLst>
            <c:ext xmlns:c16="http://schemas.microsoft.com/office/drawing/2014/chart" uri="{C3380CC4-5D6E-409C-BE32-E72D297353CC}">
              <c16:uniqueId val="{0000000A-993C-4268-BD8E-FB2B1ACA77D5}"/>
            </c:ext>
          </c:extLst>
        </c:ser>
        <c:dLbls>
          <c:showLegendKey val="0"/>
          <c:showVal val="0"/>
          <c:showCatName val="0"/>
          <c:showSerName val="0"/>
          <c:showPercent val="0"/>
          <c:showBubbleSize val="0"/>
          <c:showLeaderLines val="1"/>
        </c:dLbls>
        <c:firstSliceAng val="269"/>
      </c:pie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992554628017702"/>
        </c:manualLayout>
      </c:layout>
      <c:pieChart>
        <c:varyColors val="1"/>
        <c:ser>
          <c:idx val="0"/>
          <c:order val="0"/>
          <c:tx>
            <c:strRef>
              <c:f>Лист1!$B$1</c:f>
              <c:strCache>
                <c:ptCount val="1"/>
                <c:pt idx="0">
                  <c:v>Продажи</c:v>
                </c:pt>
              </c:strCache>
            </c:strRef>
          </c:tx>
          <c:spPr>
            <a:effectLst>
              <a:outerShdw blurRad="63500" sx="102000" sy="102000" algn="ctr" rotWithShape="0">
                <a:prstClr val="black">
                  <a:alpha val="0"/>
                </a:prstClr>
              </a:outerShdw>
            </a:effectLst>
          </c:spPr>
          <c:explosion val="17"/>
          <c:dPt>
            <c:idx val="0"/>
            <c:bubble3D val="0"/>
            <c:explosion val="0"/>
            <c:spPr>
              <a:solidFill>
                <a:srgbClr val="F1A61E"/>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1-993C-4268-BD8E-FB2B1ACA77D5}"/>
              </c:ext>
            </c:extLst>
          </c:dPt>
          <c:dPt>
            <c:idx val="1"/>
            <c:bubble3D val="0"/>
            <c:explosion val="0"/>
            <c:spPr>
              <a:solidFill>
                <a:srgbClr val="F04E2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3-993C-4268-BD8E-FB2B1ACA77D5}"/>
              </c:ext>
            </c:extLst>
          </c:dPt>
          <c:dPt>
            <c:idx val="2"/>
            <c:bubble3D val="0"/>
            <c:explosion val="0"/>
            <c:spPr>
              <a:solidFill>
                <a:srgbClr val="B6247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5-993C-4268-BD8E-FB2B1ACA77D5}"/>
              </c:ext>
            </c:extLst>
          </c:dPt>
          <c:dPt>
            <c:idx val="3"/>
            <c:bubble3D val="0"/>
            <c:explosion val="0"/>
            <c:spPr>
              <a:solidFill>
                <a:srgbClr val="0F5FA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7-993C-4268-BD8E-FB2B1ACA77D5}"/>
              </c:ext>
            </c:extLst>
          </c:dPt>
          <c:dPt>
            <c:idx val="4"/>
            <c:bubble3D val="0"/>
            <c:explosion val="0"/>
            <c:spPr>
              <a:solidFill>
                <a:srgbClr val="5FAEE0"/>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9-993C-4268-BD8E-FB2B1ACA77D5}"/>
              </c:ext>
            </c:extLst>
          </c:dPt>
          <c:cat>
            <c:strRef>
              <c:f>Лист1!$A$2:$A$6</c:f>
              <c:strCache>
                <c:ptCount val="5"/>
                <c:pt idx="0">
                  <c:v>Кв. 1</c:v>
                </c:pt>
                <c:pt idx="1">
                  <c:v>Кв. 2</c:v>
                </c:pt>
                <c:pt idx="2">
                  <c:v>Кв. 3</c:v>
                </c:pt>
                <c:pt idx="3">
                  <c:v>Кв. 4</c:v>
                </c:pt>
                <c:pt idx="4">
                  <c:v>Кв.5</c:v>
                </c:pt>
              </c:strCache>
            </c:strRef>
          </c:cat>
          <c:val>
            <c:numRef>
              <c:f>Лист1!$B$2:$B$6</c:f>
              <c:numCache>
                <c:formatCode>General</c:formatCode>
                <c:ptCount val="5"/>
                <c:pt idx="0">
                  <c:v>50</c:v>
                </c:pt>
                <c:pt idx="1">
                  <c:v>25</c:v>
                </c:pt>
                <c:pt idx="2">
                  <c:v>19</c:v>
                </c:pt>
                <c:pt idx="3">
                  <c:v>3</c:v>
                </c:pt>
                <c:pt idx="4">
                  <c:v>3</c:v>
                </c:pt>
              </c:numCache>
            </c:numRef>
          </c:val>
          <c:extLst>
            <c:ext xmlns:c16="http://schemas.microsoft.com/office/drawing/2014/chart" uri="{C3380CC4-5D6E-409C-BE32-E72D297353CC}">
              <c16:uniqueId val="{0000000A-993C-4268-BD8E-FB2B1ACA77D5}"/>
            </c:ext>
          </c:extLst>
        </c:ser>
        <c:dLbls>
          <c:showLegendKey val="0"/>
          <c:showVal val="0"/>
          <c:showCatName val="0"/>
          <c:showSerName val="0"/>
          <c:showPercent val="0"/>
          <c:showBubbleSize val="0"/>
          <c:showLeaderLines val="1"/>
        </c:dLbls>
        <c:firstSliceAng val="269"/>
      </c:pie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992554628017702"/>
        </c:manualLayout>
      </c:layout>
      <c:pieChart>
        <c:varyColors val="1"/>
        <c:ser>
          <c:idx val="0"/>
          <c:order val="0"/>
          <c:tx>
            <c:strRef>
              <c:f>Лист1!$B$1</c:f>
              <c:strCache>
                <c:ptCount val="1"/>
                <c:pt idx="0">
                  <c:v>Продажи</c:v>
                </c:pt>
              </c:strCache>
            </c:strRef>
          </c:tx>
          <c:spPr>
            <a:effectLst>
              <a:outerShdw blurRad="63500" sx="102000" sy="102000" algn="ctr" rotWithShape="0">
                <a:prstClr val="black">
                  <a:alpha val="0"/>
                </a:prstClr>
              </a:outerShdw>
            </a:effectLst>
          </c:spPr>
          <c:explosion val="17"/>
          <c:dPt>
            <c:idx val="0"/>
            <c:bubble3D val="0"/>
            <c:explosion val="0"/>
            <c:spPr>
              <a:solidFill>
                <a:srgbClr val="F1A61E"/>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1-993C-4268-BD8E-FB2B1ACA77D5}"/>
              </c:ext>
            </c:extLst>
          </c:dPt>
          <c:dPt>
            <c:idx val="1"/>
            <c:bubble3D val="0"/>
            <c:explosion val="0"/>
            <c:spPr>
              <a:solidFill>
                <a:srgbClr val="F04E2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3-993C-4268-BD8E-FB2B1ACA77D5}"/>
              </c:ext>
            </c:extLst>
          </c:dPt>
          <c:dPt>
            <c:idx val="2"/>
            <c:bubble3D val="0"/>
            <c:explosion val="0"/>
            <c:spPr>
              <a:solidFill>
                <a:srgbClr val="B6247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5-993C-4268-BD8E-FB2B1ACA77D5}"/>
              </c:ext>
            </c:extLst>
          </c:dPt>
          <c:dPt>
            <c:idx val="3"/>
            <c:bubble3D val="0"/>
            <c:explosion val="0"/>
            <c:spPr>
              <a:solidFill>
                <a:srgbClr val="0F5FA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7-993C-4268-BD8E-FB2B1ACA77D5}"/>
              </c:ext>
            </c:extLst>
          </c:dPt>
          <c:dPt>
            <c:idx val="4"/>
            <c:bubble3D val="0"/>
            <c:explosion val="0"/>
            <c:spPr>
              <a:solidFill>
                <a:srgbClr val="5FAEE0"/>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9-993C-4268-BD8E-FB2B1ACA77D5}"/>
              </c:ext>
            </c:extLst>
          </c:dPt>
          <c:cat>
            <c:strRef>
              <c:f>Лист1!$A$2:$A$6</c:f>
              <c:strCache>
                <c:ptCount val="5"/>
                <c:pt idx="0">
                  <c:v>Кв. 1</c:v>
                </c:pt>
                <c:pt idx="1">
                  <c:v>Кв. 2</c:v>
                </c:pt>
                <c:pt idx="2">
                  <c:v>Кв. 3</c:v>
                </c:pt>
                <c:pt idx="3">
                  <c:v>Кв. 4</c:v>
                </c:pt>
                <c:pt idx="4">
                  <c:v>Кв.5</c:v>
                </c:pt>
              </c:strCache>
            </c:strRef>
          </c:cat>
          <c:val>
            <c:numRef>
              <c:f>Лист1!$B$2:$B$6</c:f>
              <c:numCache>
                <c:formatCode>\О\с\н\о\в\н\о\й</c:formatCode>
                <c:ptCount val="5"/>
                <c:pt idx="0">
                  <c:v>50</c:v>
                </c:pt>
                <c:pt idx="1">
                  <c:v>25</c:v>
                </c:pt>
                <c:pt idx="2">
                  <c:v>19</c:v>
                </c:pt>
                <c:pt idx="3">
                  <c:v>3</c:v>
                </c:pt>
                <c:pt idx="4">
                  <c:v>3</c:v>
                </c:pt>
              </c:numCache>
            </c:numRef>
          </c:val>
          <c:extLst>
            <c:ext xmlns:c16="http://schemas.microsoft.com/office/drawing/2014/chart" uri="{C3380CC4-5D6E-409C-BE32-E72D297353CC}">
              <c16:uniqueId val="{0000000A-993C-4268-BD8E-FB2B1ACA77D5}"/>
            </c:ext>
          </c:extLst>
        </c:ser>
        <c:dLbls>
          <c:showLegendKey val="0"/>
          <c:showVal val="0"/>
          <c:showCatName val="0"/>
          <c:showSerName val="0"/>
          <c:showPercent val="0"/>
          <c:showBubbleSize val="0"/>
          <c:showLeaderLines val="1"/>
        </c:dLbls>
        <c:firstSliceAng val="269"/>
      </c:pie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96992554628017702"/>
        </c:manualLayout>
      </c:layout>
      <c:pieChart>
        <c:varyColors val="1"/>
        <c:ser>
          <c:idx val="0"/>
          <c:order val="0"/>
          <c:tx>
            <c:strRef>
              <c:f>Лист1!$B$1</c:f>
              <c:strCache>
                <c:ptCount val="1"/>
                <c:pt idx="0">
                  <c:v>Продажи</c:v>
                </c:pt>
              </c:strCache>
            </c:strRef>
          </c:tx>
          <c:spPr>
            <a:effectLst>
              <a:outerShdw blurRad="63500" sx="102000" sy="102000" algn="ctr" rotWithShape="0">
                <a:prstClr val="black">
                  <a:alpha val="0"/>
                </a:prstClr>
              </a:outerShdw>
            </a:effectLst>
          </c:spPr>
          <c:explosion val="17"/>
          <c:dPt>
            <c:idx val="0"/>
            <c:bubble3D val="0"/>
            <c:explosion val="0"/>
            <c:spPr>
              <a:solidFill>
                <a:srgbClr val="F1A61E"/>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1-993C-4268-BD8E-FB2B1ACA77D5}"/>
              </c:ext>
            </c:extLst>
          </c:dPt>
          <c:dPt>
            <c:idx val="1"/>
            <c:bubble3D val="0"/>
            <c:explosion val="0"/>
            <c:spPr>
              <a:solidFill>
                <a:srgbClr val="F04E2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3-993C-4268-BD8E-FB2B1ACA77D5}"/>
              </c:ext>
            </c:extLst>
          </c:dPt>
          <c:dPt>
            <c:idx val="2"/>
            <c:bubble3D val="0"/>
            <c:explosion val="0"/>
            <c:spPr>
              <a:solidFill>
                <a:srgbClr val="B6247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5-993C-4268-BD8E-FB2B1ACA77D5}"/>
              </c:ext>
            </c:extLst>
          </c:dPt>
          <c:dPt>
            <c:idx val="3"/>
            <c:bubble3D val="0"/>
            <c:explosion val="0"/>
            <c:spPr>
              <a:solidFill>
                <a:srgbClr val="0F5FA3"/>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7-993C-4268-BD8E-FB2B1ACA77D5}"/>
              </c:ext>
            </c:extLst>
          </c:dPt>
          <c:dPt>
            <c:idx val="4"/>
            <c:bubble3D val="0"/>
            <c:explosion val="0"/>
            <c:spPr>
              <a:solidFill>
                <a:srgbClr val="5FAEE0"/>
              </a:solidFill>
              <a:ln>
                <a:noFill/>
              </a:ln>
              <a:effectLst>
                <a:outerShdw blurRad="63500" sx="102000" sy="102000" algn="ctr" rotWithShape="0">
                  <a:prstClr val="black">
                    <a:alpha val="0"/>
                  </a:prstClr>
                </a:outerShdw>
              </a:effectLst>
            </c:spPr>
            <c:extLst>
              <c:ext xmlns:c16="http://schemas.microsoft.com/office/drawing/2014/chart" uri="{C3380CC4-5D6E-409C-BE32-E72D297353CC}">
                <c16:uniqueId val="{00000009-993C-4268-BD8E-FB2B1ACA77D5}"/>
              </c:ext>
            </c:extLst>
          </c:dPt>
          <c:cat>
            <c:strRef>
              <c:f>Лист1!$A$2:$A$6</c:f>
              <c:strCache>
                <c:ptCount val="5"/>
                <c:pt idx="0">
                  <c:v>Кв. 1</c:v>
                </c:pt>
                <c:pt idx="1">
                  <c:v>Кв. 2</c:v>
                </c:pt>
                <c:pt idx="2">
                  <c:v>Кв. 3</c:v>
                </c:pt>
                <c:pt idx="3">
                  <c:v>Кв. 4</c:v>
                </c:pt>
                <c:pt idx="4">
                  <c:v>Кв.5</c:v>
                </c:pt>
              </c:strCache>
            </c:strRef>
          </c:cat>
          <c:val>
            <c:numRef>
              <c:f>Лист1!$B$2:$B$6</c:f>
              <c:numCache>
                <c:formatCode>General</c:formatCode>
                <c:ptCount val="5"/>
                <c:pt idx="0">
                  <c:v>50</c:v>
                </c:pt>
                <c:pt idx="1">
                  <c:v>25</c:v>
                </c:pt>
                <c:pt idx="2">
                  <c:v>19</c:v>
                </c:pt>
                <c:pt idx="3">
                  <c:v>3</c:v>
                </c:pt>
                <c:pt idx="4">
                  <c:v>3</c:v>
                </c:pt>
              </c:numCache>
            </c:numRef>
          </c:val>
          <c:extLst>
            <c:ext xmlns:c16="http://schemas.microsoft.com/office/drawing/2014/chart" uri="{C3380CC4-5D6E-409C-BE32-E72D297353CC}">
              <c16:uniqueId val="{0000000A-993C-4268-BD8E-FB2B1ACA77D5}"/>
            </c:ext>
          </c:extLst>
        </c:ser>
        <c:dLbls>
          <c:showLegendKey val="0"/>
          <c:showVal val="0"/>
          <c:showCatName val="0"/>
          <c:showSerName val="0"/>
          <c:showPercent val="0"/>
          <c:showBubbleSize val="0"/>
          <c:showLeaderLines val="1"/>
        </c:dLbls>
        <c:firstSliceAng val="269"/>
      </c:pieChart>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049820327030053"/>
          <c:y val="4.6224986905253652E-2"/>
          <c:w val="0.57811942875532751"/>
          <c:h val="0.88386757504679447"/>
        </c:manualLayout>
      </c:layout>
      <c:doughnutChart>
        <c:varyColors val="1"/>
        <c:ser>
          <c:idx val="0"/>
          <c:order val="0"/>
          <c:tx>
            <c:strRef>
              <c:f>Лист1!$B$1</c:f>
              <c:strCache>
                <c:ptCount val="1"/>
                <c:pt idx="0">
                  <c:v>Добыча</c:v>
                </c:pt>
              </c:strCache>
            </c:strRef>
          </c:tx>
          <c:dPt>
            <c:idx val="0"/>
            <c:bubble3D val="0"/>
            <c:spPr>
              <a:solidFill>
                <a:srgbClr val="8AB7D9"/>
              </a:solidFill>
            </c:spPr>
            <c:extLst>
              <c:ext xmlns:c16="http://schemas.microsoft.com/office/drawing/2014/chart" uri="{C3380CC4-5D6E-409C-BE32-E72D297353CC}">
                <c16:uniqueId val="{00000001-0255-4A47-A43D-110F9230996D}"/>
              </c:ext>
            </c:extLst>
          </c:dPt>
          <c:dPt>
            <c:idx val="1"/>
            <c:bubble3D val="0"/>
            <c:spPr>
              <a:solidFill>
                <a:srgbClr val="48A4DC"/>
              </a:solidFill>
            </c:spPr>
            <c:extLst>
              <c:ext xmlns:c16="http://schemas.microsoft.com/office/drawing/2014/chart" uri="{C3380CC4-5D6E-409C-BE32-E72D297353CC}">
                <c16:uniqueId val="{00000003-0255-4A47-A43D-110F9230996D}"/>
              </c:ext>
            </c:extLst>
          </c:dPt>
          <c:dPt>
            <c:idx val="2"/>
            <c:bubble3D val="0"/>
            <c:spPr>
              <a:solidFill>
                <a:srgbClr val="C00000"/>
              </a:solidFill>
            </c:spPr>
            <c:extLst>
              <c:ext xmlns:c16="http://schemas.microsoft.com/office/drawing/2014/chart" uri="{C3380CC4-5D6E-409C-BE32-E72D297353CC}">
                <c16:uniqueId val="{00000005-0255-4A47-A43D-110F9230996D}"/>
              </c:ext>
            </c:extLst>
          </c:dPt>
          <c:dPt>
            <c:idx val="3"/>
            <c:bubble3D val="0"/>
            <c:spPr>
              <a:solidFill>
                <a:srgbClr val="ABABB5"/>
              </a:solidFill>
            </c:spPr>
            <c:extLst>
              <c:ext xmlns:c16="http://schemas.microsoft.com/office/drawing/2014/chart" uri="{C3380CC4-5D6E-409C-BE32-E72D297353CC}">
                <c16:uniqueId val="{00000007-0255-4A47-A43D-110F9230996D}"/>
              </c:ext>
            </c:extLst>
          </c:dPt>
          <c:dPt>
            <c:idx val="4"/>
            <c:bubble3D val="0"/>
            <c:spPr>
              <a:solidFill>
                <a:srgbClr val="FFB164"/>
              </a:solidFill>
            </c:spPr>
            <c:extLst>
              <c:ext xmlns:c16="http://schemas.microsoft.com/office/drawing/2014/chart" uri="{C3380CC4-5D6E-409C-BE32-E72D297353CC}">
                <c16:uniqueId val="{00000009-0255-4A47-A43D-110F9230996D}"/>
              </c:ext>
            </c:extLst>
          </c:dPt>
          <c:dPt>
            <c:idx val="5"/>
            <c:bubble3D val="0"/>
            <c:spPr>
              <a:solidFill>
                <a:srgbClr val="DAEAF6"/>
              </a:solidFill>
            </c:spPr>
            <c:extLst>
              <c:ext xmlns:c16="http://schemas.microsoft.com/office/drawing/2014/chart" uri="{C3380CC4-5D6E-409C-BE32-E72D297353CC}">
                <c16:uniqueId val="{0000000B-0255-4A47-A43D-110F9230996D}"/>
              </c:ext>
            </c:extLst>
          </c:dPt>
          <c:dPt>
            <c:idx val="6"/>
            <c:bubble3D val="0"/>
            <c:spPr>
              <a:solidFill>
                <a:srgbClr val="FFE5AB"/>
              </a:solidFill>
            </c:spPr>
            <c:extLst>
              <c:ext xmlns:c16="http://schemas.microsoft.com/office/drawing/2014/chart" uri="{C3380CC4-5D6E-409C-BE32-E72D297353CC}">
                <c16:uniqueId val="{0000000D-0255-4A47-A43D-110F9230996D}"/>
              </c:ext>
            </c:extLst>
          </c:dPt>
          <c:dPt>
            <c:idx val="7"/>
            <c:bubble3D val="0"/>
            <c:spPr>
              <a:solidFill>
                <a:srgbClr val="E0E0E0"/>
              </a:solidFill>
            </c:spPr>
            <c:extLst>
              <c:ext xmlns:c16="http://schemas.microsoft.com/office/drawing/2014/chart" uri="{C3380CC4-5D6E-409C-BE32-E72D297353CC}">
                <c16:uniqueId val="{0000000F-0255-4A47-A43D-110F9230996D}"/>
              </c:ext>
            </c:extLst>
          </c:dPt>
          <c:dPt>
            <c:idx val="8"/>
            <c:bubble3D val="0"/>
            <c:spPr>
              <a:solidFill>
                <a:srgbClr val="E0E0E0"/>
              </a:solidFill>
            </c:spPr>
            <c:extLst>
              <c:ext xmlns:c16="http://schemas.microsoft.com/office/drawing/2014/chart" uri="{C3380CC4-5D6E-409C-BE32-E72D297353CC}">
                <c16:uniqueId val="{00000011-0255-4A47-A43D-110F9230996D}"/>
              </c:ext>
            </c:extLst>
          </c:dPt>
          <c:dLbls>
            <c:dLbl>
              <c:idx val="0"/>
              <c:spPr>
                <a:noFill/>
                <a:ln>
                  <a:noFill/>
                </a:ln>
                <a:effectLst/>
              </c:spPr>
              <c:txPr>
                <a:bodyPr wrap="square" lIns="38100" tIns="19050" rIns="38100" bIns="19050" anchor="ctr">
                  <a:spAutoFit/>
                </a:bodyPr>
                <a:lstStyle/>
                <a:p>
                  <a:pPr>
                    <a:defRPr sz="1100">
                      <a:solidFill>
                        <a:schemeClr val="tx1"/>
                      </a:solidFill>
                    </a:defRPr>
                  </a:pPr>
                  <a:endParaRPr lang="ru-RU"/>
                </a:p>
              </c:txPr>
              <c:showLegendKey val="0"/>
              <c:showVal val="1"/>
              <c:showCatName val="0"/>
              <c:showSerName val="0"/>
              <c:showPercent val="0"/>
              <c:showBubbleSize val="0"/>
              <c:extLst>
                <c:ext xmlns:c16="http://schemas.microsoft.com/office/drawing/2014/chart" uri="{C3380CC4-5D6E-409C-BE32-E72D297353CC}">
                  <c16:uniqueId val="{00000001-0255-4A47-A43D-110F9230996D}"/>
                </c:ext>
              </c:extLst>
            </c:dLbl>
            <c:spPr>
              <a:noFill/>
              <a:ln>
                <a:noFill/>
              </a:ln>
              <a:effectLst/>
            </c:spPr>
            <c:txPr>
              <a:bodyPr wrap="square" lIns="38100" tIns="19050" rIns="38100" bIns="19050" anchor="ctr">
                <a:spAutoFit/>
              </a:bodyPr>
              <a:lstStyle/>
              <a:p>
                <a:pPr>
                  <a:defRPr sz="11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Лист1!$A$2:$A$9</c:f>
              <c:strCache>
                <c:ptCount val="8"/>
                <c:pt idx="0">
                  <c:v>НАК "Казатомпром"</c:v>
                </c:pt>
                <c:pt idx="1">
                  <c:v>ГК "Росатом"</c:v>
                </c:pt>
                <c:pt idx="2">
                  <c:v>CNNC и CGN</c:v>
                </c:pt>
                <c:pt idx="3">
                  <c:v>Orano</c:v>
                </c:pt>
                <c:pt idx="4">
                  <c:v>Cameco</c:v>
                </c:pt>
                <c:pt idx="5">
                  <c:v>Навоийский ГМК</c:v>
                </c:pt>
                <c:pt idx="6">
                  <c:v>BHP </c:v>
                </c:pt>
                <c:pt idx="7">
                  <c:v>Прочие</c:v>
                </c:pt>
              </c:strCache>
            </c:strRef>
          </c:cat>
          <c:val>
            <c:numRef>
              <c:f>Лист1!$B$2:$B$9</c:f>
              <c:numCache>
                <c:formatCode>0%</c:formatCode>
                <c:ptCount val="8"/>
                <c:pt idx="0">
                  <c:v>0.25024390639838318</c:v>
                </c:pt>
                <c:pt idx="1">
                  <c:v>0.1508734541204354</c:v>
                </c:pt>
                <c:pt idx="2">
                  <c:v>0.14865409852032824</c:v>
                </c:pt>
                <c:pt idx="3">
                  <c:v>9.6688278153399948E-2</c:v>
                </c:pt>
                <c:pt idx="4">
                  <c:v>7.8728182349455778E-2</c:v>
                </c:pt>
                <c:pt idx="5">
                  <c:v>7.1426832138827792E-2</c:v>
                </c:pt>
                <c:pt idx="6">
                  <c:v>4.0560700632289802E-2</c:v>
                </c:pt>
                <c:pt idx="7">
                  <c:v>0.16282454768687993</c:v>
                </c:pt>
              </c:numCache>
            </c:numRef>
          </c:val>
          <c:extLst>
            <c:ext xmlns:c16="http://schemas.microsoft.com/office/drawing/2014/chart" uri="{C3380CC4-5D6E-409C-BE32-E72D297353CC}">
              <c16:uniqueId val="{00000012-0255-4A47-A43D-110F9230996D}"/>
            </c:ext>
          </c:extLst>
        </c:ser>
        <c:dLbls>
          <c:showLegendKey val="0"/>
          <c:showVal val="0"/>
          <c:showCatName val="0"/>
          <c:showSerName val="0"/>
          <c:showPercent val="0"/>
          <c:showBubbleSize val="0"/>
          <c:showLeaderLines val="1"/>
        </c:dLbls>
        <c:firstSliceAng val="349"/>
        <c:holeSize val="45"/>
      </c:doughnutChart>
    </c:plotArea>
    <c:plotVisOnly val="1"/>
    <c:dispBlanksAs val="zero"/>
    <c:showDLblsOverMax val="0"/>
  </c:chart>
  <c:txPr>
    <a:bodyPr/>
    <a:lstStyle/>
    <a:p>
      <a:pPr>
        <a:defRPr sz="1800"/>
      </a:pPr>
      <a:endParaRPr lang="ru-RU"/>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50445" y="0"/>
            <a:ext cx="2945659" cy="498056"/>
          </a:xfrm>
          <a:prstGeom prst="rect">
            <a:avLst/>
          </a:prstGeom>
        </p:spPr>
        <p:txBody>
          <a:bodyPr vert="horz" lIns="91440" tIns="45720" rIns="91440" bIns="45720" rtlCol="0"/>
          <a:lstStyle>
            <a:lvl1pPr algn="r">
              <a:defRPr sz="1200"/>
            </a:lvl1pPr>
          </a:lstStyle>
          <a:p>
            <a:fld id="{FA0D725D-F742-4A6F-ACD8-C7BF259E5F9B}" type="datetimeFigureOut">
              <a:rPr lang="ru-RU" smtClean="0"/>
              <a:t>24.04.2023</a:t>
            </a:fld>
            <a:endParaRPr lang="ru-RU"/>
          </a:p>
        </p:txBody>
      </p:sp>
      <p:sp>
        <p:nvSpPr>
          <p:cNvPr id="4" name="Нижний колонтитул 3"/>
          <p:cNvSpPr>
            <a:spLocks noGrp="1"/>
          </p:cNvSpPr>
          <p:nvPr>
            <p:ph type="ftr" sz="quarter" idx="2"/>
          </p:nvPr>
        </p:nvSpPr>
        <p:spPr>
          <a:xfrm>
            <a:off x="1" y="9428586"/>
            <a:ext cx="2945659" cy="498055"/>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50445" y="9428586"/>
            <a:ext cx="2945659" cy="498055"/>
          </a:xfrm>
          <a:prstGeom prst="rect">
            <a:avLst/>
          </a:prstGeom>
        </p:spPr>
        <p:txBody>
          <a:bodyPr vert="horz" lIns="91440" tIns="45720" rIns="91440" bIns="45720" rtlCol="0" anchor="b"/>
          <a:lstStyle>
            <a:lvl1pPr algn="r">
              <a:defRPr sz="1200"/>
            </a:lvl1pPr>
          </a:lstStyle>
          <a:p>
            <a:fld id="{9BEE9394-ECE8-40A0-AB5C-4D506C3D277E}" type="slidenum">
              <a:rPr lang="ru-RU" smtClean="0"/>
              <a:t>‹#›</a:t>
            </a:fld>
            <a:endParaRPr lang="ru-RU"/>
          </a:p>
        </p:txBody>
      </p:sp>
    </p:spTree>
    <p:extLst>
      <p:ext uri="{BB962C8B-B14F-4D97-AF65-F5344CB8AC3E}">
        <p14:creationId xmlns:p14="http://schemas.microsoft.com/office/powerpoint/2010/main" val="629797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Образ слайда 3"/>
          <p:cNvSpPr>
            <a:spLocks noGrp="1" noRot="1" noChangeAspect="1"/>
          </p:cNvSpPr>
          <p:nvPr>
            <p:ph type="sldImg" idx="2"/>
          </p:nvPr>
        </p:nvSpPr>
        <p:spPr>
          <a:xfrm>
            <a:off x="7938" y="61913"/>
            <a:ext cx="6781800" cy="5087937"/>
          </a:xfrm>
          <a:prstGeom prst="rect">
            <a:avLst/>
          </a:prstGeom>
          <a:noFill/>
          <a:ln w="12700">
            <a:solidFill>
              <a:schemeClr val="bg1"/>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44232" y="5354177"/>
            <a:ext cx="6709212" cy="3827965"/>
          </a:xfrm>
          <a:prstGeom prst="rect">
            <a:avLst/>
          </a:prstGeom>
        </p:spPr>
        <p:txBody>
          <a:bodyPr vert="horz" lIns="91440" tIns="45720" rIns="91440" bIns="45720" rtlCol="0"/>
          <a:lstStyle/>
          <a:p>
            <a:pPr lvl="0"/>
            <a:r>
              <a:rPr lang="ru-RU" dirty="0"/>
              <a:t>Образец текста</a:t>
            </a:r>
          </a:p>
          <a:p>
            <a:pPr lvl="1"/>
            <a:r>
              <a:rPr lang="ru-RU" dirty="0"/>
              <a:t>Второй уровень</a:t>
            </a:r>
          </a:p>
        </p:txBody>
      </p:sp>
    </p:spTree>
    <p:extLst>
      <p:ext uri="{BB962C8B-B14F-4D97-AF65-F5344CB8AC3E}">
        <p14:creationId xmlns:p14="http://schemas.microsoft.com/office/powerpoint/2010/main" val="292547111"/>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600"/>
      </a:spcBef>
      <a:spcAft>
        <a:spcPts val="0"/>
      </a:spcAft>
      <a:defRPr sz="1200" kern="1200">
        <a:solidFill>
          <a:schemeClr val="tx1"/>
        </a:solidFill>
        <a:latin typeface="+mn-lt"/>
        <a:ea typeface="+mn-ea"/>
        <a:cs typeface="+mn-cs"/>
      </a:defRPr>
    </a:lvl1pPr>
    <a:lvl2pPr marL="457200" algn="l" defTabSz="914400" rtl="0" eaLnBrk="1" latinLnBrk="0" hangingPunct="1">
      <a:spcBef>
        <a:spcPts val="600"/>
      </a:spcBef>
      <a:spcAft>
        <a:spcPts val="0"/>
      </a:spcAft>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938" y="61913"/>
            <a:ext cx="6781800" cy="5087937"/>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173CE2-FAB5-4301-87B4-3C99F17B1C4B}"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9384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938" y="61913"/>
            <a:ext cx="6781800" cy="508793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CED5347-BACC-41FB-A1FC-3EF4C29D7C92}" type="slidenum">
              <a:rPr kumimoji="0" lang="ru-RU" sz="18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ru-RU"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57013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7938" y="61913"/>
            <a:ext cx="6781800" cy="5087937"/>
          </a:xfrm>
        </p:spPr>
      </p:sp>
      <p:sp>
        <p:nvSpPr>
          <p:cNvPr id="3" name="Заметки 2"/>
          <p:cNvSpPr>
            <a:spLocks noGrp="1"/>
          </p:cNvSpPr>
          <p:nvPr>
            <p:ph type="body" idx="1"/>
          </p:nvPr>
        </p:nvSpPr>
        <p:spPr>
          <a:xfrm>
            <a:off x="555367" y="5333135"/>
            <a:ext cx="5844153" cy="246182"/>
          </a:xfrm>
        </p:spPr>
        <p:txBody>
          <a:bodyPr/>
          <a:lstStyle/>
          <a:p>
            <a:endParaRPr lang="ru-RU" dirty="0"/>
          </a:p>
        </p:txBody>
      </p:sp>
      <p:sp>
        <p:nvSpPr>
          <p:cNvPr id="4" name="Номер слайда 3"/>
          <p:cNvSpPr>
            <a:spLocks noGrp="1"/>
          </p:cNvSpPr>
          <p:nvPr>
            <p:ph type="sldNum" sz="quarter" idx="10"/>
          </p:nvPr>
        </p:nvSpPr>
        <p:spPr/>
        <p:txBody>
          <a:bodyPr/>
          <a:lstStyle/>
          <a:p>
            <a:pPr>
              <a:defRPr/>
            </a:pPr>
            <a:fld id="{3C3A632B-FBDE-46D4-BF6F-6D14421E6342}" type="slidenum">
              <a:rPr lang="ru-RU" smtClean="0"/>
              <a:pPr>
                <a:defRPr/>
              </a:pPr>
              <a:t>5</a:t>
            </a:fld>
            <a:endParaRPr lang="ru-RU" dirty="0"/>
          </a:p>
        </p:txBody>
      </p:sp>
    </p:spTree>
    <p:extLst>
      <p:ext uri="{BB962C8B-B14F-4D97-AF65-F5344CB8AC3E}">
        <p14:creationId xmlns:p14="http://schemas.microsoft.com/office/powerpoint/2010/main" val="2734127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4BCF3ADD-A7E9-4F90-846B-6F8D243F787A}" type="slidenum">
              <a:rPr lang="ru-RU" smtClean="0"/>
              <a:pPr>
                <a:defRPr/>
              </a:pPr>
              <a:t>6</a:t>
            </a:fld>
            <a:endParaRPr lang="ru-RU"/>
          </a:p>
        </p:txBody>
      </p:sp>
    </p:spTree>
    <p:extLst>
      <p:ext uri="{BB962C8B-B14F-4D97-AF65-F5344CB8AC3E}">
        <p14:creationId xmlns:p14="http://schemas.microsoft.com/office/powerpoint/2010/main" val="4206782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4BCF3ADD-A7E9-4F90-846B-6F8D243F787A}" type="slidenum">
              <a:rPr lang="ru-RU" smtClean="0"/>
              <a:pPr>
                <a:defRPr/>
              </a:pPr>
              <a:t>7</a:t>
            </a:fld>
            <a:endParaRPr lang="ru-RU"/>
          </a:p>
        </p:txBody>
      </p:sp>
    </p:spTree>
    <p:extLst>
      <p:ext uri="{BB962C8B-B14F-4D97-AF65-F5344CB8AC3E}">
        <p14:creationId xmlns:p14="http://schemas.microsoft.com/office/powerpoint/2010/main" val="1347214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4BCF3ADD-A7E9-4F90-846B-6F8D243F787A}" type="slidenum">
              <a:rPr lang="ru-RU" smtClean="0"/>
              <a:pPr>
                <a:defRPr/>
              </a:pPr>
              <a:t>8</a:t>
            </a:fld>
            <a:endParaRPr lang="ru-RU"/>
          </a:p>
        </p:txBody>
      </p:sp>
    </p:spTree>
    <p:extLst>
      <p:ext uri="{BB962C8B-B14F-4D97-AF65-F5344CB8AC3E}">
        <p14:creationId xmlns:p14="http://schemas.microsoft.com/office/powerpoint/2010/main" val="394841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4BCF3ADD-A7E9-4F90-846B-6F8D243F787A}" type="slidenum">
              <a:rPr lang="ru-RU" smtClean="0"/>
              <a:pPr>
                <a:defRPr/>
              </a:pPr>
              <a:t>9</a:t>
            </a:fld>
            <a:endParaRPr lang="ru-RU"/>
          </a:p>
        </p:txBody>
      </p:sp>
    </p:spTree>
    <p:extLst>
      <p:ext uri="{BB962C8B-B14F-4D97-AF65-F5344CB8AC3E}">
        <p14:creationId xmlns:p14="http://schemas.microsoft.com/office/powerpoint/2010/main" val="1478544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6.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7.xml"/><Relationship Id="rId1" Type="http://schemas.openxmlformats.org/officeDocument/2006/relationships/tags" Target="../tags/tag23.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21.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24.xml"/><Relationship Id="rId4" Type="http://schemas.openxmlformats.org/officeDocument/2006/relationships/image" Target="../media/image16.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8.xml"/><Relationship Id="rId1" Type="http://schemas.openxmlformats.org/officeDocument/2006/relationships/tags" Target="../tags/tag2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8.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8.xml"/><Relationship Id="rId1" Type="http://schemas.openxmlformats.org/officeDocument/2006/relationships/tags" Target="../tags/tag28.xml"/><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tags" Target="../tags/tag29.xml"/><Relationship Id="rId4" Type="http://schemas.openxmlformats.org/officeDocument/2006/relationships/image" Target="../media/image16.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1.xml"/><Relationship Id="rId1" Type="http://schemas.openxmlformats.org/officeDocument/2006/relationships/tags" Target="../tags/tag30.xml"/><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3.xml"/><Relationship Id="rId1" Type="http://schemas.openxmlformats.org/officeDocument/2006/relationships/tags" Target="../tags/tag31.xml"/><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3.xml"/><Relationship Id="rId1" Type="http://schemas.openxmlformats.org/officeDocument/2006/relationships/tags" Target="../tags/tag32.xml"/><Relationship Id="rId4" Type="http://schemas.openxmlformats.org/officeDocument/2006/relationships/image" Target="../media/image14.emf"/></Relationships>
</file>

<file path=ppt/slideLayouts/_rels/slideLayout4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Master" Target="../slideMasters/slideMaster1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Перебивочный слайд_Thinkcell оглавление">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extLst>
              <p:ext uri="{D42A27DB-BD31-4B8C-83A1-F6EECF244321}">
                <p14:modId xmlns:p14="http://schemas.microsoft.com/office/powerpoint/2010/main" val="364299577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467548" y="404664"/>
            <a:ext cx="5508152" cy="576064"/>
          </a:xfrm>
          <a:prstGeom prst="rect">
            <a:avLst/>
          </a:prstGeom>
        </p:spPr>
        <p:txBody>
          <a:bodyPr lIns="72000" tIns="36000" rIns="72000" bIns="36000" anchor="ctr"/>
          <a:lstStyle>
            <a:lvl1pPr marL="0" indent="0">
              <a:lnSpc>
                <a:spcPct val="100000"/>
              </a:lnSpc>
              <a:spcBef>
                <a:spcPts val="0"/>
              </a:spcBef>
              <a:buFont typeface="Arial" charset="0"/>
              <a:buNone/>
              <a:defRPr lang="en-US" sz="2400" b="1" kern="1200" dirty="0">
                <a:solidFill>
                  <a:srgbClr val="333333"/>
                </a:solidFill>
                <a:latin typeface="Arial" pitchFamily="34" charset="0"/>
                <a:ea typeface="Rosatom Light" pitchFamily="34" charset="-52"/>
                <a:cs typeface="Arial" pitchFamily="34" charset="0"/>
              </a:defRPr>
            </a:lvl1pPr>
          </a:lstStyle>
          <a:p>
            <a:pPr lvl="0"/>
            <a:r>
              <a:rPr lang="ru-RU" dirty="0"/>
              <a:t>Содержание</a:t>
            </a:r>
            <a:endParaRPr lang="en-US" dirty="0"/>
          </a:p>
        </p:txBody>
      </p:sp>
    </p:spTree>
    <p:extLst>
      <p:ext uri="{BB962C8B-B14F-4D97-AF65-F5344CB8AC3E}">
        <p14:creationId xmlns:p14="http://schemas.microsoft.com/office/powerpoint/2010/main" val="40154484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Слайд без пол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07024" y="197323"/>
            <a:ext cx="519294" cy="720000"/>
          </a:xfrm>
          <a:prstGeom prst="rect">
            <a:avLst/>
          </a:prstGeom>
        </p:spPr>
      </p:pic>
      <p:sp>
        <p:nvSpPr>
          <p:cNvPr id="12"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3"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91955720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Слайд с полями">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07024" y="197323"/>
            <a:ext cx="519294" cy="720000"/>
          </a:xfrm>
          <a:prstGeom prst="rect">
            <a:avLst/>
          </a:prstGeom>
        </p:spPr>
      </p:pic>
      <p:sp>
        <p:nvSpPr>
          <p:cNvPr id="12"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3"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3018607474"/>
      </p:ext>
    </p:extLst>
  </p:cSld>
  <p:clrMapOvr>
    <a:masterClrMapping/>
  </p:clrMapOvr>
  <p:extLst>
    <p:ext uri="{DCECCB84-F9BA-43D5-87BE-67443E8EF086}">
      <p15:sldGuideLst xmlns:p15="http://schemas.microsoft.com/office/powerpoint/2012/main">
        <p15:guide id="1" pos="75" userDrawn="1">
          <p15:clr>
            <a:srgbClr val="FBAE40"/>
          </p15:clr>
        </p15:guide>
        <p15:guide id="2" pos="5685" userDrawn="1">
          <p15:clr>
            <a:srgbClr val="FBAE40"/>
          </p15:clr>
        </p15:guide>
        <p15:guide id="3" orient="horz" pos="4020" userDrawn="1">
          <p15:clr>
            <a:srgbClr val="FBAE40"/>
          </p15:clr>
        </p15:guide>
        <p15:guide id="4" orient="horz" pos="663" userDrawn="1">
          <p15:clr>
            <a:srgbClr val="FBAE40"/>
          </p15:clr>
        </p15:guide>
        <p15:guide id="5" orient="horz" pos="365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navigation8" descr="ujkm,"/>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3854" y="293691"/>
            <a:ext cx="1674813"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612777" y="2181237"/>
            <a:ext cx="8280400" cy="1031875"/>
          </a:xfrm>
          <a:ln/>
        </p:spPr>
        <p:txBody>
          <a:bodyPr/>
          <a:lstStyle>
            <a:lvl1pPr>
              <a:lnSpc>
                <a:spcPct val="130000"/>
              </a:lnSpc>
              <a:defRPr sz="1800"/>
            </a:lvl1pPr>
          </a:lstStyle>
          <a:p>
            <a:r>
              <a:rPr lang="ru-RU"/>
              <a:t>Образец заголовка</a:t>
            </a:r>
          </a:p>
        </p:txBody>
      </p:sp>
      <p:sp>
        <p:nvSpPr>
          <p:cNvPr id="3075" name="Rectangle 3"/>
          <p:cNvSpPr>
            <a:spLocks noGrp="1" noChangeArrowheads="1"/>
          </p:cNvSpPr>
          <p:nvPr>
            <p:ph type="subTitle" idx="1"/>
          </p:nvPr>
        </p:nvSpPr>
        <p:spPr>
          <a:xfrm>
            <a:off x="612784" y="3284549"/>
            <a:ext cx="3743325" cy="649287"/>
          </a:xfrm>
          <a:ln/>
        </p:spPr>
        <p:txBody>
          <a:bodyPr anchor="ctr"/>
          <a:lstStyle>
            <a:lvl1pPr marL="0" indent="0">
              <a:buFontTx/>
              <a:buNone/>
              <a:defRPr sz="1400" b="1">
                <a:solidFill>
                  <a:schemeClr val="bg2"/>
                </a:solidFill>
              </a:defRPr>
            </a:lvl1pPr>
          </a:lstStyle>
          <a:p>
            <a:r>
              <a:rPr lang="ru-RU"/>
              <a:t>Образец подзаголовка</a:t>
            </a:r>
          </a:p>
        </p:txBody>
      </p:sp>
    </p:spTree>
    <p:extLst>
      <p:ext uri="{BB962C8B-B14F-4D97-AF65-F5344CB8AC3E}">
        <p14:creationId xmlns:p14="http://schemas.microsoft.com/office/powerpoint/2010/main" val="116264598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a:ln/>
        </p:spPr>
        <p:txBody>
          <a:bodyPr/>
          <a:lstStyle>
            <a:lvl1pPr>
              <a:defRPr/>
            </a:lvl1pPr>
          </a:lstStyle>
          <a:p>
            <a:pPr>
              <a:defRPr/>
            </a:pPr>
            <a:fld id="{E407051B-7929-4A44-B2CC-2BF325408D34}" type="slidenum">
              <a:rPr lang="ru-RU" altLang="ru-RU"/>
              <a:pPr>
                <a:defRPr/>
              </a:pPr>
              <a:t>‹#›</a:t>
            </a:fld>
            <a:endParaRPr lang="ru-RU" altLang="ru-RU"/>
          </a:p>
        </p:txBody>
      </p:sp>
    </p:spTree>
    <p:extLst>
      <p:ext uri="{BB962C8B-B14F-4D97-AF65-F5344CB8AC3E}">
        <p14:creationId xmlns:p14="http://schemas.microsoft.com/office/powerpoint/2010/main" val="151679340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5"/>
            <a:ext cx="7772400" cy="1362075"/>
          </a:xfrm>
        </p:spPr>
        <p:txBody>
          <a:bodyPr anchor="t"/>
          <a:lstStyle>
            <a:lvl1pPr algn="l">
              <a:defRPr sz="4000" b="1" cap="all"/>
            </a:lvl1pPr>
          </a:lstStyle>
          <a:p>
            <a:r>
              <a:rPr lang="ru-RU"/>
              <a:t>Образец заголовка</a:t>
            </a:r>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6864" indent="0">
              <a:buNone/>
              <a:defRPr sz="1800"/>
            </a:lvl2pPr>
            <a:lvl3pPr marL="913722" indent="0">
              <a:buNone/>
              <a:defRPr sz="1600"/>
            </a:lvl3pPr>
            <a:lvl4pPr marL="1370584" indent="0">
              <a:buNone/>
              <a:defRPr sz="1400"/>
            </a:lvl4pPr>
            <a:lvl5pPr marL="1827444" indent="0">
              <a:buNone/>
              <a:defRPr sz="1400"/>
            </a:lvl5pPr>
            <a:lvl6pPr marL="2284305" indent="0">
              <a:buNone/>
              <a:defRPr sz="1400"/>
            </a:lvl6pPr>
            <a:lvl7pPr marL="2741165" indent="0">
              <a:buNone/>
              <a:defRPr sz="1400"/>
            </a:lvl7pPr>
            <a:lvl8pPr marL="3198027" indent="0">
              <a:buNone/>
              <a:defRPr sz="1400"/>
            </a:lvl8pPr>
            <a:lvl9pPr marL="3654888" indent="0">
              <a:buNone/>
              <a:defRPr sz="1400"/>
            </a:lvl9pPr>
          </a:lstStyle>
          <a:p>
            <a:pPr lvl="0"/>
            <a:r>
              <a:rPr lang="ru-RU"/>
              <a:t>Образец текста</a:t>
            </a:r>
          </a:p>
        </p:txBody>
      </p:sp>
      <p:sp>
        <p:nvSpPr>
          <p:cNvPr id="4" name="Rectangle 2"/>
          <p:cNvSpPr>
            <a:spLocks noGrp="1" noChangeArrowheads="1"/>
          </p:cNvSpPr>
          <p:nvPr>
            <p:ph type="sldNum" sz="quarter" idx="10"/>
          </p:nvPr>
        </p:nvSpPr>
        <p:spPr>
          <a:ln/>
        </p:spPr>
        <p:txBody>
          <a:bodyPr/>
          <a:lstStyle>
            <a:lvl1pPr>
              <a:defRPr/>
            </a:lvl1pPr>
          </a:lstStyle>
          <a:p>
            <a:pPr>
              <a:defRPr/>
            </a:pPr>
            <a:fld id="{980D6A6D-7538-4752-B677-7BC384941A3A}" type="slidenum">
              <a:rPr lang="ru-RU" altLang="ru-RU"/>
              <a:pPr>
                <a:defRPr/>
              </a:pPr>
              <a:t>‹#›</a:t>
            </a:fld>
            <a:endParaRPr lang="ru-RU" altLang="ru-RU"/>
          </a:p>
        </p:txBody>
      </p:sp>
    </p:spTree>
    <p:extLst>
      <p:ext uri="{BB962C8B-B14F-4D97-AF65-F5344CB8AC3E}">
        <p14:creationId xmlns:p14="http://schemas.microsoft.com/office/powerpoint/2010/main" val="372953526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68317" y="1125545"/>
            <a:ext cx="4135437"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756153" y="1125545"/>
            <a:ext cx="4137025" cy="51482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Rectangle 2"/>
          <p:cNvSpPr>
            <a:spLocks noGrp="1" noChangeArrowheads="1"/>
          </p:cNvSpPr>
          <p:nvPr>
            <p:ph type="sldNum" sz="quarter" idx="10"/>
          </p:nvPr>
        </p:nvSpPr>
        <p:spPr>
          <a:ln/>
        </p:spPr>
        <p:txBody>
          <a:bodyPr/>
          <a:lstStyle>
            <a:lvl1pPr>
              <a:defRPr/>
            </a:lvl1pPr>
          </a:lstStyle>
          <a:p>
            <a:pPr>
              <a:defRPr/>
            </a:pPr>
            <a:fld id="{56F8FD15-091C-401A-88EA-E860BA07F2E1}" type="slidenum">
              <a:rPr lang="ru-RU" altLang="ru-RU"/>
              <a:pPr>
                <a:defRPr/>
              </a:pPr>
              <a:t>‹#›</a:t>
            </a:fld>
            <a:endParaRPr lang="ru-RU" altLang="ru-RU"/>
          </a:p>
        </p:txBody>
      </p:sp>
    </p:spTree>
    <p:extLst>
      <p:ext uri="{BB962C8B-B14F-4D97-AF65-F5344CB8AC3E}">
        <p14:creationId xmlns:p14="http://schemas.microsoft.com/office/powerpoint/2010/main" val="392478137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9" y="1535113"/>
            <a:ext cx="4040189" cy="639762"/>
          </a:xfrm>
        </p:spPr>
        <p:txBody>
          <a:bodyPr anchor="b"/>
          <a:lstStyle>
            <a:lvl1pPr marL="0" indent="0">
              <a:buNone/>
              <a:defRPr sz="2400" b="1"/>
            </a:lvl1pPr>
            <a:lvl2pPr marL="456864" indent="0">
              <a:buNone/>
              <a:defRPr sz="2000" b="1"/>
            </a:lvl2pPr>
            <a:lvl3pPr marL="913722" indent="0">
              <a:buNone/>
              <a:defRPr sz="1800" b="1"/>
            </a:lvl3pPr>
            <a:lvl4pPr marL="1370584" indent="0">
              <a:buNone/>
              <a:defRPr sz="1600" b="1"/>
            </a:lvl4pPr>
            <a:lvl5pPr marL="1827444" indent="0">
              <a:buNone/>
              <a:defRPr sz="1600" b="1"/>
            </a:lvl5pPr>
            <a:lvl6pPr marL="2284305" indent="0">
              <a:buNone/>
              <a:defRPr sz="1600" b="1"/>
            </a:lvl6pPr>
            <a:lvl7pPr marL="2741165" indent="0">
              <a:buNone/>
              <a:defRPr sz="1600" b="1"/>
            </a:lvl7pPr>
            <a:lvl8pPr marL="3198027" indent="0">
              <a:buNone/>
              <a:defRPr sz="1600" b="1"/>
            </a:lvl8pPr>
            <a:lvl9pPr marL="3654888" indent="0">
              <a:buNone/>
              <a:defRPr sz="1600" b="1"/>
            </a:lvl9pPr>
          </a:lstStyle>
          <a:p>
            <a:pPr lvl="0"/>
            <a:r>
              <a:rPr lang="ru-RU"/>
              <a:t>Образец текста</a:t>
            </a:r>
          </a:p>
        </p:txBody>
      </p:sp>
      <p:sp>
        <p:nvSpPr>
          <p:cNvPr id="4" name="Содержимое 3"/>
          <p:cNvSpPr>
            <a:spLocks noGrp="1"/>
          </p:cNvSpPr>
          <p:nvPr>
            <p:ph sz="half" idx="2"/>
          </p:nvPr>
        </p:nvSpPr>
        <p:spPr>
          <a:xfrm>
            <a:off x="457209" y="2174875"/>
            <a:ext cx="404018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30" y="1535113"/>
            <a:ext cx="4041775" cy="639762"/>
          </a:xfrm>
        </p:spPr>
        <p:txBody>
          <a:bodyPr anchor="b"/>
          <a:lstStyle>
            <a:lvl1pPr marL="0" indent="0">
              <a:buNone/>
              <a:defRPr sz="2400" b="1"/>
            </a:lvl1pPr>
            <a:lvl2pPr marL="456864" indent="0">
              <a:buNone/>
              <a:defRPr sz="2000" b="1"/>
            </a:lvl2pPr>
            <a:lvl3pPr marL="913722" indent="0">
              <a:buNone/>
              <a:defRPr sz="1800" b="1"/>
            </a:lvl3pPr>
            <a:lvl4pPr marL="1370584" indent="0">
              <a:buNone/>
              <a:defRPr sz="1600" b="1"/>
            </a:lvl4pPr>
            <a:lvl5pPr marL="1827444" indent="0">
              <a:buNone/>
              <a:defRPr sz="1600" b="1"/>
            </a:lvl5pPr>
            <a:lvl6pPr marL="2284305" indent="0">
              <a:buNone/>
              <a:defRPr sz="1600" b="1"/>
            </a:lvl6pPr>
            <a:lvl7pPr marL="2741165" indent="0">
              <a:buNone/>
              <a:defRPr sz="1600" b="1"/>
            </a:lvl7pPr>
            <a:lvl8pPr marL="3198027" indent="0">
              <a:buNone/>
              <a:defRPr sz="1600" b="1"/>
            </a:lvl8pPr>
            <a:lvl9pPr marL="3654888"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Rectangle 2"/>
          <p:cNvSpPr>
            <a:spLocks noGrp="1" noChangeArrowheads="1"/>
          </p:cNvSpPr>
          <p:nvPr>
            <p:ph type="sldNum" sz="quarter" idx="10"/>
          </p:nvPr>
        </p:nvSpPr>
        <p:spPr>
          <a:ln/>
        </p:spPr>
        <p:txBody>
          <a:bodyPr/>
          <a:lstStyle>
            <a:lvl1pPr>
              <a:defRPr/>
            </a:lvl1pPr>
          </a:lstStyle>
          <a:p>
            <a:pPr>
              <a:defRPr/>
            </a:pPr>
            <a:fld id="{59D2D061-4710-47BD-803D-90A413AF5756}" type="slidenum">
              <a:rPr lang="ru-RU" altLang="ru-RU"/>
              <a:pPr>
                <a:defRPr/>
              </a:pPr>
              <a:t>‹#›</a:t>
            </a:fld>
            <a:endParaRPr lang="ru-RU" altLang="ru-RU"/>
          </a:p>
        </p:txBody>
      </p:sp>
    </p:spTree>
    <p:extLst>
      <p:ext uri="{BB962C8B-B14F-4D97-AF65-F5344CB8AC3E}">
        <p14:creationId xmlns:p14="http://schemas.microsoft.com/office/powerpoint/2010/main" val="65564788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Rectangle 2"/>
          <p:cNvSpPr>
            <a:spLocks noGrp="1" noChangeArrowheads="1"/>
          </p:cNvSpPr>
          <p:nvPr>
            <p:ph type="sldNum" sz="quarter" idx="10"/>
          </p:nvPr>
        </p:nvSpPr>
        <p:spPr>
          <a:ln/>
        </p:spPr>
        <p:txBody>
          <a:bodyPr/>
          <a:lstStyle>
            <a:lvl1pPr>
              <a:defRPr/>
            </a:lvl1pPr>
          </a:lstStyle>
          <a:p>
            <a:pPr>
              <a:defRPr/>
            </a:pPr>
            <a:fld id="{E4E3D976-80C4-41CB-9F9A-B6A9D73B4379}" type="slidenum">
              <a:rPr lang="ru-RU" altLang="ru-RU"/>
              <a:pPr>
                <a:defRPr/>
              </a:pPr>
              <a:t>‹#›</a:t>
            </a:fld>
            <a:endParaRPr lang="ru-RU" altLang="ru-RU"/>
          </a:p>
        </p:txBody>
      </p:sp>
    </p:spTree>
    <p:extLst>
      <p:ext uri="{BB962C8B-B14F-4D97-AF65-F5344CB8AC3E}">
        <p14:creationId xmlns:p14="http://schemas.microsoft.com/office/powerpoint/2010/main" val="70265257"/>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2"/>
          <p:cNvSpPr>
            <a:spLocks noGrp="1" noChangeArrowheads="1"/>
          </p:cNvSpPr>
          <p:nvPr>
            <p:ph type="sldNum" sz="quarter" idx="10"/>
          </p:nvPr>
        </p:nvSpPr>
        <p:spPr>
          <a:ln/>
        </p:spPr>
        <p:txBody>
          <a:bodyPr/>
          <a:lstStyle>
            <a:lvl1pPr>
              <a:defRPr/>
            </a:lvl1pPr>
          </a:lstStyle>
          <a:p>
            <a:pPr>
              <a:defRPr/>
            </a:pPr>
            <a:fld id="{98735389-F830-4AC1-A21E-CDF969C5F39C}" type="slidenum">
              <a:rPr lang="ru-RU" altLang="ru-RU"/>
              <a:pPr>
                <a:defRPr/>
              </a:pPr>
              <a:t>‹#›</a:t>
            </a:fld>
            <a:endParaRPr lang="ru-RU" altLang="ru-RU"/>
          </a:p>
        </p:txBody>
      </p:sp>
    </p:spTree>
    <p:extLst>
      <p:ext uri="{BB962C8B-B14F-4D97-AF65-F5344CB8AC3E}">
        <p14:creationId xmlns:p14="http://schemas.microsoft.com/office/powerpoint/2010/main" val="99932888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8" y="273050"/>
            <a:ext cx="3008313" cy="1162050"/>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75052" y="27306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8" y="1435103"/>
            <a:ext cx="3008313" cy="4691063"/>
          </a:xfrm>
        </p:spPr>
        <p:txBody>
          <a:bodyPr/>
          <a:lstStyle>
            <a:lvl1pPr marL="0" indent="0">
              <a:buNone/>
              <a:defRPr sz="1400"/>
            </a:lvl1pPr>
            <a:lvl2pPr marL="456864" indent="0">
              <a:buNone/>
              <a:defRPr sz="1200"/>
            </a:lvl2pPr>
            <a:lvl3pPr marL="913722" indent="0">
              <a:buNone/>
              <a:defRPr sz="1000"/>
            </a:lvl3pPr>
            <a:lvl4pPr marL="1370584" indent="0">
              <a:buNone/>
              <a:defRPr sz="900"/>
            </a:lvl4pPr>
            <a:lvl5pPr marL="1827444" indent="0">
              <a:buNone/>
              <a:defRPr sz="900"/>
            </a:lvl5pPr>
            <a:lvl6pPr marL="2284305" indent="0">
              <a:buNone/>
              <a:defRPr sz="900"/>
            </a:lvl6pPr>
            <a:lvl7pPr marL="2741165" indent="0">
              <a:buNone/>
              <a:defRPr sz="900"/>
            </a:lvl7pPr>
            <a:lvl8pPr marL="3198027" indent="0">
              <a:buNone/>
              <a:defRPr sz="900"/>
            </a:lvl8pPr>
            <a:lvl9pPr marL="3654888" indent="0">
              <a:buNone/>
              <a:defRPr sz="900"/>
            </a:lvl9pPr>
          </a:lstStyle>
          <a:p>
            <a:pPr lvl="0"/>
            <a:r>
              <a:rPr lang="ru-RU"/>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B7101356-34EE-4BA6-B9B7-D2F9F3349688}" type="slidenum">
              <a:rPr lang="ru-RU" altLang="ru-RU"/>
              <a:pPr>
                <a:defRPr/>
              </a:pPr>
              <a:t>‹#›</a:t>
            </a:fld>
            <a:endParaRPr lang="ru-RU" altLang="ru-RU"/>
          </a:p>
        </p:txBody>
      </p:sp>
    </p:spTree>
    <p:extLst>
      <p:ext uri="{BB962C8B-B14F-4D97-AF65-F5344CB8AC3E}">
        <p14:creationId xmlns:p14="http://schemas.microsoft.com/office/powerpoint/2010/main" val="417543937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Слайд с полями">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val="0"/>
              </a:ext>
            </a:extLst>
          </a:blip>
          <a:srcRect l="78749" t="6300" r="5501" b="86350"/>
          <a:stretch/>
        </p:blipFill>
        <p:spPr>
          <a:xfrm>
            <a:off x="7696940" y="302955"/>
            <a:ext cx="1329378" cy="504056"/>
          </a:xfrm>
          <a:prstGeom prst="rect">
            <a:avLst/>
          </a:prstGeom>
        </p:spPr>
      </p:pic>
      <p:sp>
        <p:nvSpPr>
          <p:cNvPr id="9"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0"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1651313965"/>
      </p:ext>
    </p:extLst>
  </p:cSld>
  <p:clrMapOvr>
    <a:masterClrMapping/>
  </p:clrMapOvr>
  <p:extLst>
    <p:ext uri="{DCECCB84-F9BA-43D5-87BE-67443E8EF086}">
      <p15:sldGuideLst xmlns:p15="http://schemas.microsoft.com/office/powerpoint/2012/main">
        <p15:guide id="1" pos="75" userDrawn="1">
          <p15:clr>
            <a:srgbClr val="FBAE40"/>
          </p15:clr>
        </p15:guide>
        <p15:guide id="2" pos="5685" userDrawn="1">
          <p15:clr>
            <a:srgbClr val="FBAE40"/>
          </p15:clr>
        </p15:guide>
        <p15:guide id="3" orient="horz" pos="4020" userDrawn="1">
          <p15:clr>
            <a:srgbClr val="FBAE40"/>
          </p15:clr>
        </p15:guide>
        <p15:guide id="4" orient="horz" pos="663" userDrawn="1">
          <p15:clr>
            <a:srgbClr val="FBAE40"/>
          </p15:clr>
        </p15:guide>
        <p15:guide id="5" orient="horz" pos="365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6864" indent="0">
              <a:buNone/>
              <a:defRPr sz="2800"/>
            </a:lvl2pPr>
            <a:lvl3pPr marL="913722" indent="0">
              <a:buNone/>
              <a:defRPr sz="2400"/>
            </a:lvl3pPr>
            <a:lvl4pPr marL="1370584" indent="0">
              <a:buNone/>
              <a:defRPr sz="2000"/>
            </a:lvl4pPr>
            <a:lvl5pPr marL="1827444" indent="0">
              <a:buNone/>
              <a:defRPr sz="2000"/>
            </a:lvl5pPr>
            <a:lvl6pPr marL="2284305" indent="0">
              <a:buNone/>
              <a:defRPr sz="2000"/>
            </a:lvl6pPr>
            <a:lvl7pPr marL="2741165" indent="0">
              <a:buNone/>
              <a:defRPr sz="2000"/>
            </a:lvl7pPr>
            <a:lvl8pPr marL="3198027" indent="0">
              <a:buNone/>
              <a:defRPr sz="2000"/>
            </a:lvl8pPr>
            <a:lvl9pPr marL="3654888" indent="0">
              <a:buNone/>
              <a:defRPr sz="2000"/>
            </a:lvl9pPr>
          </a:lstStyle>
          <a:p>
            <a:pPr lvl="0"/>
            <a:endParaRPr lang="ru-RU" noProof="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6864" indent="0">
              <a:buNone/>
              <a:defRPr sz="1200"/>
            </a:lvl2pPr>
            <a:lvl3pPr marL="913722" indent="0">
              <a:buNone/>
              <a:defRPr sz="1000"/>
            </a:lvl3pPr>
            <a:lvl4pPr marL="1370584" indent="0">
              <a:buNone/>
              <a:defRPr sz="900"/>
            </a:lvl4pPr>
            <a:lvl5pPr marL="1827444" indent="0">
              <a:buNone/>
              <a:defRPr sz="900"/>
            </a:lvl5pPr>
            <a:lvl6pPr marL="2284305" indent="0">
              <a:buNone/>
              <a:defRPr sz="900"/>
            </a:lvl6pPr>
            <a:lvl7pPr marL="2741165" indent="0">
              <a:buNone/>
              <a:defRPr sz="900"/>
            </a:lvl7pPr>
            <a:lvl8pPr marL="3198027" indent="0">
              <a:buNone/>
              <a:defRPr sz="900"/>
            </a:lvl8pPr>
            <a:lvl9pPr marL="3654888" indent="0">
              <a:buNone/>
              <a:defRPr sz="900"/>
            </a:lvl9pPr>
          </a:lstStyle>
          <a:p>
            <a:pPr lvl="0"/>
            <a:r>
              <a:rPr lang="ru-RU"/>
              <a:t>Образец текста</a:t>
            </a:r>
          </a:p>
        </p:txBody>
      </p:sp>
      <p:sp>
        <p:nvSpPr>
          <p:cNvPr id="5" name="Rectangle 2"/>
          <p:cNvSpPr>
            <a:spLocks noGrp="1" noChangeArrowheads="1"/>
          </p:cNvSpPr>
          <p:nvPr>
            <p:ph type="sldNum" sz="quarter" idx="10"/>
          </p:nvPr>
        </p:nvSpPr>
        <p:spPr>
          <a:ln/>
        </p:spPr>
        <p:txBody>
          <a:bodyPr/>
          <a:lstStyle>
            <a:lvl1pPr>
              <a:defRPr/>
            </a:lvl1pPr>
          </a:lstStyle>
          <a:p>
            <a:pPr>
              <a:defRPr/>
            </a:pPr>
            <a:fld id="{8199EFD1-C661-436F-8EBF-BA668ED0A48E}" type="slidenum">
              <a:rPr lang="ru-RU" altLang="ru-RU"/>
              <a:pPr>
                <a:defRPr/>
              </a:pPr>
              <a:t>‹#›</a:t>
            </a:fld>
            <a:endParaRPr lang="ru-RU" altLang="ru-RU"/>
          </a:p>
        </p:txBody>
      </p:sp>
    </p:spTree>
    <p:extLst>
      <p:ext uri="{BB962C8B-B14F-4D97-AF65-F5344CB8AC3E}">
        <p14:creationId xmlns:p14="http://schemas.microsoft.com/office/powerpoint/2010/main" val="266801584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a:ln/>
        </p:spPr>
        <p:txBody>
          <a:bodyPr/>
          <a:lstStyle>
            <a:lvl1pPr>
              <a:defRPr/>
            </a:lvl1pPr>
          </a:lstStyle>
          <a:p>
            <a:pPr>
              <a:defRPr/>
            </a:pPr>
            <a:fld id="{70731986-4973-4678-B110-602356D1223E}" type="slidenum">
              <a:rPr lang="ru-RU" altLang="ru-RU"/>
              <a:pPr>
                <a:defRPr/>
              </a:pPr>
              <a:t>‹#›</a:t>
            </a:fld>
            <a:endParaRPr lang="ru-RU" altLang="ru-RU"/>
          </a:p>
        </p:txBody>
      </p:sp>
    </p:spTree>
    <p:extLst>
      <p:ext uri="{BB962C8B-B14F-4D97-AF65-F5344CB8AC3E}">
        <p14:creationId xmlns:p14="http://schemas.microsoft.com/office/powerpoint/2010/main" val="388272771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88152" y="7"/>
            <a:ext cx="2105025" cy="627380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468321" y="7"/>
            <a:ext cx="6167438" cy="627380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Rectangle 2"/>
          <p:cNvSpPr>
            <a:spLocks noGrp="1" noChangeArrowheads="1"/>
          </p:cNvSpPr>
          <p:nvPr>
            <p:ph type="sldNum" sz="quarter" idx="10"/>
          </p:nvPr>
        </p:nvSpPr>
        <p:spPr>
          <a:ln/>
        </p:spPr>
        <p:txBody>
          <a:bodyPr/>
          <a:lstStyle>
            <a:lvl1pPr>
              <a:defRPr/>
            </a:lvl1pPr>
          </a:lstStyle>
          <a:p>
            <a:pPr>
              <a:defRPr/>
            </a:pPr>
            <a:fld id="{4F31B9D4-BB92-4A66-A214-58141F572CF3}" type="slidenum">
              <a:rPr lang="ru-RU" altLang="ru-RU"/>
              <a:pPr>
                <a:defRPr/>
              </a:pPr>
              <a:t>‹#›</a:t>
            </a:fld>
            <a:endParaRPr lang="ru-RU" altLang="ru-RU"/>
          </a:p>
        </p:txBody>
      </p:sp>
    </p:spTree>
    <p:extLst>
      <p:ext uri="{BB962C8B-B14F-4D97-AF65-F5344CB8AC3E}">
        <p14:creationId xmlns:p14="http://schemas.microsoft.com/office/powerpoint/2010/main" val="2091347800"/>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Основной слайд">
    <p:spTree>
      <p:nvGrpSpPr>
        <p:cNvPr id="1" name=""/>
        <p:cNvGrpSpPr/>
        <p:nvPr/>
      </p:nvGrpSpPr>
      <p:grpSpPr>
        <a:xfrm>
          <a:off x="0" y="0"/>
          <a:ext cx="0" cy="0"/>
          <a:chOff x="0" y="0"/>
          <a:chExt cx="0" cy="0"/>
        </a:xfrm>
      </p:grpSpPr>
      <p:graphicFrame>
        <p:nvGraphicFramePr>
          <p:cNvPr id="5" name="Объект 5" hidden="1"/>
          <p:cNvGraphicFramePr>
            <a:graphicFrameLocks noChangeAspect="1"/>
          </p:cNvGraphicFramePr>
          <p:nvPr userDrawn="1">
            <p:custDataLst>
              <p:tags r:id="rId1"/>
            </p:custData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Объект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91" y="1594"/>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
        <p:nvSpPr>
          <p:cNvPr id="4" name="Текст 3"/>
          <p:cNvSpPr>
            <a:spLocks noGrp="1"/>
          </p:cNvSpPr>
          <p:nvPr>
            <p:ph type="body" sz="quarter" idx="10"/>
          </p:nvPr>
        </p:nvSpPr>
        <p:spPr>
          <a:xfrm>
            <a:off x="116068" y="6463102"/>
            <a:ext cx="8541896" cy="318506"/>
          </a:xfrm>
          <a:prstGeom prst="rect">
            <a:avLst/>
          </a:prstGeom>
        </p:spPr>
        <p:txBody>
          <a:bodyPr lIns="97646" tIns="48824" rIns="97646" bIns="48824"/>
          <a:lstStyle>
            <a:lvl1pPr>
              <a:defRPr sz="700"/>
            </a:lvl1pPr>
          </a:lstStyle>
          <a:p>
            <a:pPr lvl="0"/>
            <a:r>
              <a:rPr lang="ru-RU"/>
              <a:t>Образец текста</a:t>
            </a:r>
          </a:p>
          <a:p>
            <a:pPr lvl="1"/>
            <a:r>
              <a:rPr lang="ru-RU"/>
              <a:t>Второй уровень</a:t>
            </a:r>
          </a:p>
        </p:txBody>
      </p:sp>
    </p:spTree>
    <p:extLst>
      <p:ext uri="{BB962C8B-B14F-4D97-AF65-F5344CB8AC3E}">
        <p14:creationId xmlns:p14="http://schemas.microsoft.com/office/powerpoint/2010/main" val="272809255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Титульный слайд - Стратсовет">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
            </p:custDataLst>
          </p:nvPr>
        </p:nvGraphicFramePr>
        <p:xfrm>
          <a:off x="1623" y="1626"/>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Объект 5" hidden="1"/>
                      <p:cNvPicPr/>
                      <p:nvPr/>
                    </p:nvPicPr>
                    <p:blipFill>
                      <a:blip r:embed="rId5"/>
                      <a:stretch>
                        <a:fillRect/>
                      </a:stretch>
                    </p:blipFill>
                    <p:spPr>
                      <a:xfrm>
                        <a:off x="1623" y="1626"/>
                        <a:ext cx="1619" cy="1619"/>
                      </a:xfrm>
                      <a:prstGeom prst="rect">
                        <a:avLst/>
                      </a:prstGeom>
                    </p:spPr>
                  </p:pic>
                </p:oleObj>
              </mc:Fallback>
            </mc:AlternateContent>
          </a:graphicData>
        </a:graphic>
      </p:graphicFrame>
      <p:pic>
        <p:nvPicPr>
          <p:cNvPr id="4" name="navigation8" descr="ujkm,"/>
          <p:cNvPicPr>
            <a:picLocks noChangeAspect="1" noChangeArrowheads="1"/>
          </p:cNvPicPr>
          <p:nvPr userDrawn="1"/>
        </p:nvPicPr>
        <p:blipFill>
          <a:blip r:embed="rId6" cstate="print"/>
          <a:srcRect/>
          <a:stretch>
            <a:fillRect/>
          </a:stretch>
        </p:blipFill>
        <p:spPr bwMode="auto">
          <a:xfrm>
            <a:off x="323869" y="293691"/>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592199" y="2348826"/>
            <a:ext cx="8280400" cy="1252731"/>
          </a:xfrm>
          <a:ln/>
        </p:spPr>
        <p:txBody>
          <a:bodyPr/>
          <a:lstStyle>
            <a:lvl1pPr>
              <a:lnSpc>
                <a:spcPct val="130000"/>
              </a:lnSpc>
              <a:defRPr sz="1837"/>
            </a:lvl1pPr>
          </a:lstStyle>
          <a:p>
            <a:r>
              <a:rPr lang="ru-RU" dirty="0"/>
              <a:t>Образец заголовка</a:t>
            </a:r>
          </a:p>
        </p:txBody>
      </p:sp>
      <p:sp>
        <p:nvSpPr>
          <p:cNvPr id="3" name="Текст 2"/>
          <p:cNvSpPr>
            <a:spLocks noGrp="1"/>
          </p:cNvSpPr>
          <p:nvPr>
            <p:ph type="body" sz="quarter" idx="10" hasCustomPrompt="1"/>
          </p:nvPr>
        </p:nvSpPr>
        <p:spPr>
          <a:xfrm>
            <a:off x="592199" y="4541389"/>
            <a:ext cx="3197565" cy="1358299"/>
          </a:xfrm>
          <a:prstGeom prst="rect">
            <a:avLst/>
          </a:prstGeom>
        </p:spPr>
        <p:txBody>
          <a:bodyPr lIns="0" rIns="0" anchor="b"/>
          <a:lstStyle>
            <a:lvl1pPr marL="0" indent="0" algn="l" defTabSz="913526" rtl="0" eaLnBrk="1" fontAlgn="base" hangingPunct="1">
              <a:spcBef>
                <a:spcPts val="612"/>
              </a:spcBef>
              <a:spcAft>
                <a:spcPct val="0"/>
              </a:spcAft>
              <a:buClr>
                <a:schemeClr val="tx2"/>
              </a:buClr>
              <a:buFontTx/>
              <a:buNone/>
              <a:tabLst>
                <a:tab pos="1187260" algn="l"/>
              </a:tabLst>
              <a:defRPr lang="ru-RU" sz="1428" b="1" kern="0" baseline="0" dirty="0">
                <a:solidFill>
                  <a:schemeClr val="tx2"/>
                </a:solidFill>
                <a:latin typeface="+mn-lt"/>
                <a:ea typeface="+mn-ea"/>
                <a:cs typeface="+mn-cs"/>
              </a:defRPr>
            </a:lvl1pPr>
          </a:lstStyle>
          <a:p>
            <a:pPr lvl="0"/>
            <a:r>
              <a:rPr lang="ru-RU" dirty="0"/>
              <a:t>Докладчик:	И.О. Фамилия</a:t>
            </a:r>
            <a:endParaRPr lang="en-US" dirty="0"/>
          </a:p>
          <a:p>
            <a:pPr lvl="0"/>
            <a:r>
              <a:rPr lang="en-US" dirty="0"/>
              <a:t>	</a:t>
            </a:r>
            <a:r>
              <a:rPr lang="ru-RU" dirty="0"/>
              <a:t>И.О. Фамилия</a:t>
            </a:r>
          </a:p>
        </p:txBody>
      </p:sp>
      <p:sp>
        <p:nvSpPr>
          <p:cNvPr id="11" name="Текст 2"/>
          <p:cNvSpPr>
            <a:spLocks noGrp="1"/>
          </p:cNvSpPr>
          <p:nvPr>
            <p:ph type="body" sz="quarter" idx="11" hasCustomPrompt="1"/>
          </p:nvPr>
        </p:nvSpPr>
        <p:spPr>
          <a:xfrm>
            <a:off x="592199" y="6071180"/>
            <a:ext cx="3197565" cy="361242"/>
          </a:xfrm>
          <a:prstGeom prst="rect">
            <a:avLst/>
          </a:prstGeom>
        </p:spPr>
        <p:txBody>
          <a:bodyPr lIns="0" rIns="0" anchor="ctr"/>
          <a:lstStyle>
            <a:lvl1pPr marL="0" indent="0" algn="l" defTabSz="913526" rtl="0" eaLnBrk="1" fontAlgn="base" hangingPunct="1">
              <a:spcBef>
                <a:spcPts val="612"/>
              </a:spcBef>
              <a:spcAft>
                <a:spcPct val="0"/>
              </a:spcAft>
              <a:buClr>
                <a:schemeClr val="tx2"/>
              </a:buClr>
              <a:buFontTx/>
              <a:buNone/>
              <a:tabLst>
                <a:tab pos="1187260" algn="l"/>
              </a:tabLst>
              <a:defRPr lang="ru-RU" sz="1428" b="1" kern="0" dirty="0">
                <a:solidFill>
                  <a:schemeClr val="tx2"/>
                </a:solidFill>
                <a:latin typeface="+mn-lt"/>
                <a:ea typeface="+mn-ea"/>
                <a:cs typeface="+mn-cs"/>
              </a:defRPr>
            </a:lvl1pPr>
          </a:lstStyle>
          <a:p>
            <a:pPr lvl="0"/>
            <a:r>
              <a:rPr lang="ru-RU" dirty="0" err="1"/>
              <a:t>хх.хх.хххх</a:t>
            </a:r>
            <a:endParaRPr lang="ru-RU" dirty="0"/>
          </a:p>
        </p:txBody>
      </p:sp>
      <p:sp>
        <p:nvSpPr>
          <p:cNvPr id="8" name="Текст 7"/>
          <p:cNvSpPr>
            <a:spLocks noGrp="1"/>
          </p:cNvSpPr>
          <p:nvPr>
            <p:ph type="body" sz="quarter" idx="12" hasCustomPrompt="1"/>
          </p:nvPr>
        </p:nvSpPr>
        <p:spPr>
          <a:xfrm>
            <a:off x="2311411" y="1078822"/>
            <a:ext cx="6743396" cy="379437"/>
          </a:xfrm>
          <a:prstGeom prst="rect">
            <a:avLst/>
          </a:prstGeom>
        </p:spPr>
        <p:txBody>
          <a:bodyPr anchor="ctr"/>
          <a:lstStyle>
            <a:lvl1pPr algn="r">
              <a:defRPr lang="ru-RU" sz="1428" b="1" kern="0" baseline="0" dirty="0">
                <a:solidFill>
                  <a:schemeClr val="tx2"/>
                </a:solidFill>
                <a:latin typeface="+mn-lt"/>
                <a:ea typeface="+mn-ea"/>
                <a:cs typeface="+mn-cs"/>
              </a:defRPr>
            </a:lvl1pPr>
          </a:lstStyle>
          <a:p>
            <a:pPr lvl="0"/>
            <a:r>
              <a:rPr lang="ru-RU" dirty="0"/>
              <a:t>Название встречи</a:t>
            </a:r>
          </a:p>
        </p:txBody>
      </p:sp>
    </p:spTree>
    <p:extLst>
      <p:ext uri="{BB962C8B-B14F-4D97-AF65-F5344CB8AC3E}">
        <p14:creationId xmlns:p14="http://schemas.microsoft.com/office/powerpoint/2010/main" val="1493191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 Стратсовет">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
            </p:custData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Объект 5" hidden="1"/>
                      <p:cNvPicPr/>
                      <p:nvPr/>
                    </p:nvPicPr>
                    <p:blipFill>
                      <a:blip r:embed="rId5"/>
                      <a:stretch>
                        <a:fillRect/>
                      </a:stretch>
                    </p:blipFill>
                    <p:spPr>
                      <a:xfrm>
                        <a:off x="1622" y="1624"/>
                        <a:ext cx="1619" cy="1619"/>
                      </a:xfrm>
                      <a:prstGeom prst="rect">
                        <a:avLst/>
                      </a:prstGeom>
                    </p:spPr>
                  </p:pic>
                </p:oleObj>
              </mc:Fallback>
            </mc:AlternateContent>
          </a:graphicData>
        </a:graphic>
      </p:graphicFrame>
      <p:pic>
        <p:nvPicPr>
          <p:cNvPr id="4" name="navigation8" descr="ujkm,"/>
          <p:cNvPicPr>
            <a:picLocks noChangeAspect="1" noChangeArrowheads="1"/>
          </p:cNvPicPr>
          <p:nvPr userDrawn="1"/>
        </p:nvPicPr>
        <p:blipFill>
          <a:blip r:embed="rId6" cstate="print"/>
          <a:srcRect/>
          <a:stretch>
            <a:fillRect/>
          </a:stretch>
        </p:blipFill>
        <p:spPr bwMode="auto">
          <a:xfrm>
            <a:off x="323869" y="293691"/>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592197" y="2791421"/>
            <a:ext cx="8280400" cy="367537"/>
          </a:xfrm>
          <a:ln/>
        </p:spPr>
        <p:txBody>
          <a:bodyPr/>
          <a:lstStyle>
            <a:lvl1pPr>
              <a:lnSpc>
                <a:spcPct val="130000"/>
              </a:lnSpc>
              <a:defRPr sz="1837"/>
            </a:lvl1pPr>
          </a:lstStyle>
          <a:p>
            <a:r>
              <a:rPr lang="ru-RU" dirty="0"/>
              <a:t>Образец заголовка</a:t>
            </a:r>
          </a:p>
        </p:txBody>
      </p:sp>
      <p:sp>
        <p:nvSpPr>
          <p:cNvPr id="3" name="Текст 2"/>
          <p:cNvSpPr>
            <a:spLocks noGrp="1"/>
          </p:cNvSpPr>
          <p:nvPr>
            <p:ph type="body" sz="quarter" idx="10" hasCustomPrompt="1"/>
          </p:nvPr>
        </p:nvSpPr>
        <p:spPr>
          <a:xfrm>
            <a:off x="592199" y="4541387"/>
            <a:ext cx="3197565" cy="1358299"/>
          </a:xfrm>
          <a:prstGeom prst="rect">
            <a:avLst/>
          </a:prstGeom>
        </p:spPr>
        <p:txBody>
          <a:bodyPr lIns="0" rIns="0" anchor="b"/>
          <a:lstStyle>
            <a:lvl1pPr marL="0" indent="0" algn="l" defTabSz="913526" rtl="0" eaLnBrk="1" fontAlgn="base" hangingPunct="1">
              <a:spcBef>
                <a:spcPts val="612"/>
              </a:spcBef>
              <a:spcAft>
                <a:spcPct val="0"/>
              </a:spcAft>
              <a:buClr>
                <a:schemeClr val="tx2"/>
              </a:buClr>
              <a:buFontTx/>
              <a:buNone/>
              <a:tabLst>
                <a:tab pos="1187260" algn="l"/>
              </a:tabLst>
              <a:defRPr lang="ru-RU" sz="1428" b="1" kern="0" baseline="0" dirty="0">
                <a:solidFill>
                  <a:schemeClr val="tx2"/>
                </a:solidFill>
                <a:latin typeface="+mn-lt"/>
                <a:ea typeface="+mn-ea"/>
                <a:cs typeface="+mn-cs"/>
              </a:defRPr>
            </a:lvl1pPr>
          </a:lstStyle>
          <a:p>
            <a:pPr lvl="0"/>
            <a:r>
              <a:rPr lang="ru-RU" dirty="0"/>
              <a:t>Докладчик:	И.О. Фамилия</a:t>
            </a:r>
            <a:endParaRPr lang="en-US" dirty="0"/>
          </a:p>
          <a:p>
            <a:pPr lvl="0"/>
            <a:r>
              <a:rPr lang="en-US" dirty="0"/>
              <a:t>	</a:t>
            </a:r>
            <a:r>
              <a:rPr lang="ru-RU" dirty="0"/>
              <a:t>И.О. Фамилия</a:t>
            </a:r>
          </a:p>
        </p:txBody>
      </p:sp>
      <p:sp>
        <p:nvSpPr>
          <p:cNvPr id="11" name="Текст 2"/>
          <p:cNvSpPr>
            <a:spLocks noGrp="1"/>
          </p:cNvSpPr>
          <p:nvPr>
            <p:ph type="body" sz="quarter" idx="11" hasCustomPrompt="1"/>
          </p:nvPr>
        </p:nvSpPr>
        <p:spPr>
          <a:xfrm>
            <a:off x="592199" y="6071180"/>
            <a:ext cx="3197565" cy="361242"/>
          </a:xfrm>
          <a:prstGeom prst="rect">
            <a:avLst/>
          </a:prstGeom>
        </p:spPr>
        <p:txBody>
          <a:bodyPr lIns="0" rIns="0" anchor="ctr"/>
          <a:lstStyle>
            <a:lvl1pPr marL="0" indent="0" algn="l" defTabSz="913526" rtl="0" eaLnBrk="1" fontAlgn="base" hangingPunct="1">
              <a:spcBef>
                <a:spcPts val="612"/>
              </a:spcBef>
              <a:spcAft>
                <a:spcPct val="0"/>
              </a:spcAft>
              <a:buClr>
                <a:schemeClr val="tx2"/>
              </a:buClr>
              <a:buFontTx/>
              <a:buNone/>
              <a:tabLst>
                <a:tab pos="1187260" algn="l"/>
              </a:tabLst>
              <a:defRPr lang="ru-RU" sz="1428" b="1" kern="0" dirty="0">
                <a:solidFill>
                  <a:schemeClr val="tx2"/>
                </a:solidFill>
                <a:latin typeface="+mn-lt"/>
                <a:ea typeface="+mn-ea"/>
                <a:cs typeface="+mn-cs"/>
              </a:defRPr>
            </a:lvl1pPr>
          </a:lstStyle>
          <a:p>
            <a:pPr lvl="0"/>
            <a:r>
              <a:rPr lang="ru-RU" dirty="0" err="1"/>
              <a:t>хх.хх.хххх</a:t>
            </a:r>
            <a:endParaRPr lang="ru-RU" dirty="0"/>
          </a:p>
        </p:txBody>
      </p:sp>
      <p:sp>
        <p:nvSpPr>
          <p:cNvPr id="9" name="TextBox 8"/>
          <p:cNvSpPr txBox="1"/>
          <p:nvPr userDrawn="1"/>
        </p:nvSpPr>
        <p:spPr>
          <a:xfrm>
            <a:off x="3306763" y="1111367"/>
            <a:ext cx="5864106" cy="312073"/>
          </a:xfrm>
          <a:prstGeom prst="rect">
            <a:avLst/>
          </a:prstGeom>
          <a:noFill/>
        </p:spPr>
        <p:txBody>
          <a:bodyPr wrap="none" rtlCol="0">
            <a:spAutoFit/>
          </a:bodyPr>
          <a:lstStyle/>
          <a:p>
            <a:pPr marL="0" marR="0" lvl="0" indent="0" algn="l" defTabSz="913526" rtl="0" eaLnBrk="1" fontAlgn="base" latinLnBrk="0" hangingPunct="1">
              <a:lnSpc>
                <a:spcPct val="100000"/>
              </a:lnSpc>
              <a:spcBef>
                <a:spcPct val="0"/>
              </a:spcBef>
              <a:spcAft>
                <a:spcPct val="0"/>
              </a:spcAft>
              <a:buClr>
                <a:srgbClr val="002960"/>
              </a:buClr>
              <a:buSzTx/>
              <a:buFontTx/>
              <a:buNone/>
              <a:tabLst/>
              <a:defRPr/>
            </a:pPr>
            <a:r>
              <a:rPr kumimoji="0" lang="ru-RU" sz="1428" b="1" i="0" u="none" strike="noStrike" kern="0" cap="none" spc="0" normalizeH="0" baseline="0" noProof="0" dirty="0">
                <a:ln>
                  <a:noFill/>
                </a:ln>
                <a:solidFill>
                  <a:srgbClr val="1C436A"/>
                </a:solidFill>
                <a:effectLst/>
                <a:uLnTx/>
                <a:uFillTx/>
                <a:latin typeface="Arial"/>
                <a:ea typeface="+mn-ea"/>
                <a:cs typeface="+mn-cs"/>
              </a:rPr>
              <a:t>Заседание стратегического совета Госкорпорации «Росатом»</a:t>
            </a:r>
          </a:p>
        </p:txBody>
      </p:sp>
    </p:spTree>
    <p:extLst>
      <p:ext uri="{BB962C8B-B14F-4D97-AF65-F5344CB8AC3E}">
        <p14:creationId xmlns:p14="http://schemas.microsoft.com/office/powerpoint/2010/main" val="40538731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Основной слайд">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
            </p:custData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Объект 5" hidden="1"/>
                      <p:cNvPicPr/>
                      <p:nvPr/>
                    </p:nvPicPr>
                    <p:blipFill>
                      <a:blip r:embed="rId4"/>
                      <a:stretch>
                        <a:fillRect/>
                      </a:stretch>
                    </p:blipFill>
                    <p:spPr>
                      <a:xfrm>
                        <a:off x="1622" y="1624"/>
                        <a:ext cx="1619" cy="1619"/>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
        <p:nvSpPr>
          <p:cNvPr id="5" name="Slide Number"/>
          <p:cNvSpPr txBox="1">
            <a:spLocks/>
          </p:cNvSpPr>
          <p:nvPr userDrawn="1"/>
        </p:nvSpPr>
        <p:spPr>
          <a:xfrm>
            <a:off x="8719603" y="6566446"/>
            <a:ext cx="213008"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marL="0" marR="0" lvl="0" indent="0" algn="l"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2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32962" rtl="0" eaLnBrk="1" fontAlgn="base" latinLnBrk="0" hangingPunct="1">
                <a:lnSpc>
                  <a:spcPct val="100000"/>
                </a:lnSpc>
                <a:spcBef>
                  <a:spcPct val="0"/>
                </a:spcBef>
                <a:spcAft>
                  <a:spcPct val="0"/>
                </a:spcAft>
                <a:buClrTx/>
                <a:buSzTx/>
                <a:buFontTx/>
                <a:buNone/>
                <a:tabLst/>
                <a:defRPr/>
              </a:pPr>
              <a:t>‹#›</a:t>
            </a:fld>
            <a:endParaRPr kumimoji="0" lang="en-US" sz="102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Текст 3"/>
          <p:cNvSpPr>
            <a:spLocks noGrp="1"/>
          </p:cNvSpPr>
          <p:nvPr>
            <p:ph type="body" sz="quarter" idx="10" hasCustomPrompt="1"/>
          </p:nvPr>
        </p:nvSpPr>
        <p:spPr>
          <a:xfrm>
            <a:off x="116058" y="6463092"/>
            <a:ext cx="8541896" cy="395672"/>
          </a:xfrm>
          <a:prstGeom prst="rect">
            <a:avLst/>
          </a:prstGeom>
        </p:spPr>
        <p:txBody>
          <a:bodyPr/>
          <a:lstStyle>
            <a:lvl1pPr>
              <a:defRPr sz="714"/>
            </a:lvl1pPr>
          </a:lstStyle>
          <a:p>
            <a:pPr lvl="0"/>
            <a:r>
              <a:rPr lang="ru-RU" dirty="0"/>
              <a:t>Сноски</a:t>
            </a:r>
          </a:p>
          <a:p>
            <a:pPr lvl="0"/>
            <a:r>
              <a:rPr lang="ru-RU" dirty="0"/>
              <a:t>Источники</a:t>
            </a:r>
          </a:p>
        </p:txBody>
      </p:sp>
    </p:spTree>
    <p:extLst>
      <p:ext uri="{BB962C8B-B14F-4D97-AF65-F5344CB8AC3E}">
        <p14:creationId xmlns:p14="http://schemas.microsoft.com/office/powerpoint/2010/main" val="216827329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 Стратсовет">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
            </p:custData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Объект 5" hidden="1"/>
                      <p:cNvPicPr/>
                      <p:nvPr/>
                    </p:nvPicPr>
                    <p:blipFill>
                      <a:blip r:embed="rId5"/>
                      <a:stretch>
                        <a:fillRect/>
                      </a:stretch>
                    </p:blipFill>
                    <p:spPr>
                      <a:xfrm>
                        <a:off x="1622" y="1624"/>
                        <a:ext cx="1619" cy="1619"/>
                      </a:xfrm>
                      <a:prstGeom prst="rect">
                        <a:avLst/>
                      </a:prstGeom>
                    </p:spPr>
                  </p:pic>
                </p:oleObj>
              </mc:Fallback>
            </mc:AlternateContent>
          </a:graphicData>
        </a:graphic>
      </p:graphicFrame>
      <p:pic>
        <p:nvPicPr>
          <p:cNvPr id="4" name="navigation8" descr="ujkm,"/>
          <p:cNvPicPr>
            <a:picLocks noChangeAspect="1" noChangeArrowheads="1"/>
          </p:cNvPicPr>
          <p:nvPr userDrawn="1"/>
        </p:nvPicPr>
        <p:blipFill>
          <a:blip r:embed="rId6" cstate="print"/>
          <a:srcRect/>
          <a:stretch>
            <a:fillRect/>
          </a:stretch>
        </p:blipFill>
        <p:spPr bwMode="auto">
          <a:xfrm>
            <a:off x="323869" y="293691"/>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592197" y="2791421"/>
            <a:ext cx="8280400" cy="367537"/>
          </a:xfrm>
          <a:ln/>
        </p:spPr>
        <p:txBody>
          <a:bodyPr/>
          <a:lstStyle>
            <a:lvl1pPr>
              <a:lnSpc>
                <a:spcPct val="130000"/>
              </a:lnSpc>
              <a:defRPr sz="1837"/>
            </a:lvl1pPr>
          </a:lstStyle>
          <a:p>
            <a:r>
              <a:rPr lang="ru-RU" dirty="0"/>
              <a:t>Образец заголовка</a:t>
            </a:r>
          </a:p>
        </p:txBody>
      </p:sp>
      <p:sp>
        <p:nvSpPr>
          <p:cNvPr id="3" name="Текст 2"/>
          <p:cNvSpPr>
            <a:spLocks noGrp="1"/>
          </p:cNvSpPr>
          <p:nvPr>
            <p:ph type="body" sz="quarter" idx="10" hasCustomPrompt="1"/>
          </p:nvPr>
        </p:nvSpPr>
        <p:spPr>
          <a:xfrm>
            <a:off x="592199" y="4541387"/>
            <a:ext cx="3197565" cy="1358299"/>
          </a:xfrm>
          <a:prstGeom prst="rect">
            <a:avLst/>
          </a:prstGeom>
        </p:spPr>
        <p:txBody>
          <a:bodyPr lIns="0" rIns="0" anchor="b"/>
          <a:lstStyle>
            <a:lvl1pPr marL="0" indent="0" algn="l" defTabSz="913526" rtl="0" eaLnBrk="1" fontAlgn="base" hangingPunct="1">
              <a:spcBef>
                <a:spcPts val="612"/>
              </a:spcBef>
              <a:spcAft>
                <a:spcPct val="0"/>
              </a:spcAft>
              <a:buClr>
                <a:schemeClr val="tx2"/>
              </a:buClr>
              <a:buFontTx/>
              <a:buNone/>
              <a:tabLst>
                <a:tab pos="1187260" algn="l"/>
              </a:tabLst>
              <a:defRPr lang="ru-RU" sz="1428" b="1" kern="0" baseline="0" dirty="0">
                <a:solidFill>
                  <a:schemeClr val="tx2"/>
                </a:solidFill>
                <a:latin typeface="+mn-lt"/>
                <a:ea typeface="+mn-ea"/>
                <a:cs typeface="+mn-cs"/>
              </a:defRPr>
            </a:lvl1pPr>
          </a:lstStyle>
          <a:p>
            <a:pPr lvl="0"/>
            <a:r>
              <a:rPr lang="ru-RU" dirty="0"/>
              <a:t>Докладчик:	И.О. Фамилия</a:t>
            </a:r>
            <a:endParaRPr lang="en-US" dirty="0"/>
          </a:p>
          <a:p>
            <a:pPr lvl="0"/>
            <a:r>
              <a:rPr lang="en-US" dirty="0"/>
              <a:t>	</a:t>
            </a:r>
            <a:r>
              <a:rPr lang="ru-RU" dirty="0"/>
              <a:t>И.О. Фамилия</a:t>
            </a:r>
          </a:p>
        </p:txBody>
      </p:sp>
      <p:sp>
        <p:nvSpPr>
          <p:cNvPr id="11" name="Текст 2"/>
          <p:cNvSpPr>
            <a:spLocks noGrp="1"/>
          </p:cNvSpPr>
          <p:nvPr>
            <p:ph type="body" sz="quarter" idx="11" hasCustomPrompt="1"/>
          </p:nvPr>
        </p:nvSpPr>
        <p:spPr>
          <a:xfrm>
            <a:off x="592199" y="6071180"/>
            <a:ext cx="3197565" cy="361242"/>
          </a:xfrm>
          <a:prstGeom prst="rect">
            <a:avLst/>
          </a:prstGeom>
        </p:spPr>
        <p:txBody>
          <a:bodyPr lIns="0" rIns="0" anchor="ctr"/>
          <a:lstStyle>
            <a:lvl1pPr marL="0" indent="0" algn="l" defTabSz="913526" rtl="0" eaLnBrk="1" fontAlgn="base" hangingPunct="1">
              <a:spcBef>
                <a:spcPts val="612"/>
              </a:spcBef>
              <a:spcAft>
                <a:spcPct val="0"/>
              </a:spcAft>
              <a:buClr>
                <a:schemeClr val="tx2"/>
              </a:buClr>
              <a:buFontTx/>
              <a:buNone/>
              <a:tabLst>
                <a:tab pos="1187260" algn="l"/>
              </a:tabLst>
              <a:defRPr lang="ru-RU" sz="1428" b="1" kern="0" dirty="0">
                <a:solidFill>
                  <a:schemeClr val="tx2"/>
                </a:solidFill>
                <a:latin typeface="+mn-lt"/>
                <a:ea typeface="+mn-ea"/>
                <a:cs typeface="+mn-cs"/>
              </a:defRPr>
            </a:lvl1pPr>
          </a:lstStyle>
          <a:p>
            <a:pPr lvl="0"/>
            <a:r>
              <a:rPr lang="ru-RU" dirty="0" err="1"/>
              <a:t>хх.хх.хххх</a:t>
            </a:r>
            <a:endParaRPr lang="ru-RU" dirty="0"/>
          </a:p>
        </p:txBody>
      </p:sp>
      <p:sp>
        <p:nvSpPr>
          <p:cNvPr id="9" name="TextBox 8"/>
          <p:cNvSpPr txBox="1"/>
          <p:nvPr userDrawn="1"/>
        </p:nvSpPr>
        <p:spPr>
          <a:xfrm>
            <a:off x="3306763" y="1111367"/>
            <a:ext cx="5864106" cy="312073"/>
          </a:xfrm>
          <a:prstGeom prst="rect">
            <a:avLst/>
          </a:prstGeom>
          <a:noFill/>
        </p:spPr>
        <p:txBody>
          <a:bodyPr wrap="none" rtlCol="0">
            <a:spAutoFit/>
          </a:bodyPr>
          <a:lstStyle/>
          <a:p>
            <a:pPr marL="0" marR="0" lvl="0" indent="0" algn="l" defTabSz="913526" rtl="0" eaLnBrk="1" fontAlgn="base" latinLnBrk="0" hangingPunct="1">
              <a:lnSpc>
                <a:spcPct val="100000"/>
              </a:lnSpc>
              <a:spcBef>
                <a:spcPct val="0"/>
              </a:spcBef>
              <a:spcAft>
                <a:spcPct val="0"/>
              </a:spcAft>
              <a:buClr>
                <a:srgbClr val="002960"/>
              </a:buClr>
              <a:buSzTx/>
              <a:buFontTx/>
              <a:buNone/>
              <a:tabLst/>
              <a:defRPr/>
            </a:pPr>
            <a:r>
              <a:rPr kumimoji="0" lang="ru-RU" sz="1428" b="1" i="0" u="none" strike="noStrike" kern="0" cap="none" spc="0" normalizeH="0" baseline="0" noProof="0" dirty="0">
                <a:ln>
                  <a:noFill/>
                </a:ln>
                <a:solidFill>
                  <a:srgbClr val="1C436A"/>
                </a:solidFill>
                <a:effectLst/>
                <a:uLnTx/>
                <a:uFillTx/>
                <a:latin typeface="Arial"/>
                <a:ea typeface="+mn-ea"/>
                <a:cs typeface="+mn-cs"/>
              </a:rPr>
              <a:t>Заседание стратегического совета Госкорпорации «Росатом»</a:t>
            </a:r>
          </a:p>
        </p:txBody>
      </p:sp>
    </p:spTree>
    <p:extLst>
      <p:ext uri="{BB962C8B-B14F-4D97-AF65-F5344CB8AC3E}">
        <p14:creationId xmlns:p14="http://schemas.microsoft.com/office/powerpoint/2010/main" val="14753317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 Стратсовет">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
            </p:custData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Объект 5" hidden="1"/>
                      <p:cNvPicPr/>
                      <p:nvPr/>
                    </p:nvPicPr>
                    <p:blipFill>
                      <a:blip r:embed="rId5"/>
                      <a:stretch>
                        <a:fillRect/>
                      </a:stretch>
                    </p:blipFill>
                    <p:spPr>
                      <a:xfrm>
                        <a:off x="1622" y="1624"/>
                        <a:ext cx="1619" cy="1619"/>
                      </a:xfrm>
                      <a:prstGeom prst="rect">
                        <a:avLst/>
                      </a:prstGeom>
                    </p:spPr>
                  </p:pic>
                </p:oleObj>
              </mc:Fallback>
            </mc:AlternateContent>
          </a:graphicData>
        </a:graphic>
      </p:graphicFrame>
      <p:pic>
        <p:nvPicPr>
          <p:cNvPr id="4" name="navigation8" descr="ujkm,"/>
          <p:cNvPicPr>
            <a:picLocks noChangeAspect="1" noChangeArrowheads="1"/>
          </p:cNvPicPr>
          <p:nvPr userDrawn="1"/>
        </p:nvPicPr>
        <p:blipFill>
          <a:blip r:embed="rId6" cstate="print"/>
          <a:srcRect/>
          <a:stretch>
            <a:fillRect/>
          </a:stretch>
        </p:blipFill>
        <p:spPr bwMode="auto">
          <a:xfrm>
            <a:off x="323869" y="293691"/>
            <a:ext cx="1674813" cy="1481137"/>
          </a:xfrm>
          <a:prstGeom prst="rect">
            <a:avLst/>
          </a:prstGeom>
          <a:noFill/>
          <a:ln w="9525">
            <a:noFill/>
            <a:miter lim="800000"/>
            <a:headEnd/>
            <a:tailEnd/>
          </a:ln>
        </p:spPr>
      </p:pic>
      <p:sp>
        <p:nvSpPr>
          <p:cNvPr id="3074" name="Rectangle 2"/>
          <p:cNvSpPr>
            <a:spLocks noGrp="1" noChangeArrowheads="1"/>
          </p:cNvSpPr>
          <p:nvPr>
            <p:ph type="ctrTitle"/>
          </p:nvPr>
        </p:nvSpPr>
        <p:spPr>
          <a:xfrm>
            <a:off x="592197" y="2791421"/>
            <a:ext cx="8280400" cy="367537"/>
          </a:xfrm>
          <a:ln/>
        </p:spPr>
        <p:txBody>
          <a:bodyPr/>
          <a:lstStyle>
            <a:lvl1pPr>
              <a:lnSpc>
                <a:spcPct val="130000"/>
              </a:lnSpc>
              <a:defRPr sz="1837"/>
            </a:lvl1pPr>
          </a:lstStyle>
          <a:p>
            <a:r>
              <a:rPr lang="ru-RU" dirty="0"/>
              <a:t>Образец заголовка</a:t>
            </a:r>
          </a:p>
        </p:txBody>
      </p:sp>
      <p:sp>
        <p:nvSpPr>
          <p:cNvPr id="3" name="Текст 2"/>
          <p:cNvSpPr>
            <a:spLocks noGrp="1"/>
          </p:cNvSpPr>
          <p:nvPr>
            <p:ph type="body" sz="quarter" idx="10" hasCustomPrompt="1"/>
          </p:nvPr>
        </p:nvSpPr>
        <p:spPr>
          <a:xfrm>
            <a:off x="592199" y="4541387"/>
            <a:ext cx="3197565" cy="1358299"/>
          </a:xfrm>
          <a:prstGeom prst="rect">
            <a:avLst/>
          </a:prstGeom>
        </p:spPr>
        <p:txBody>
          <a:bodyPr lIns="0" rIns="0" anchor="b"/>
          <a:lstStyle>
            <a:lvl1pPr marL="0" indent="0" algn="l" defTabSz="913526" rtl="0" eaLnBrk="1" fontAlgn="base" hangingPunct="1">
              <a:spcBef>
                <a:spcPts val="612"/>
              </a:spcBef>
              <a:spcAft>
                <a:spcPct val="0"/>
              </a:spcAft>
              <a:buClr>
                <a:schemeClr val="tx2"/>
              </a:buClr>
              <a:buFontTx/>
              <a:buNone/>
              <a:tabLst>
                <a:tab pos="1187260" algn="l"/>
              </a:tabLst>
              <a:defRPr lang="ru-RU" sz="1428" b="1" kern="0" baseline="0" dirty="0">
                <a:solidFill>
                  <a:schemeClr val="tx2"/>
                </a:solidFill>
                <a:latin typeface="+mn-lt"/>
                <a:ea typeface="+mn-ea"/>
                <a:cs typeface="+mn-cs"/>
              </a:defRPr>
            </a:lvl1pPr>
          </a:lstStyle>
          <a:p>
            <a:pPr lvl="0"/>
            <a:r>
              <a:rPr lang="ru-RU" dirty="0"/>
              <a:t>Докладчик:	И.О. Фамилия</a:t>
            </a:r>
            <a:endParaRPr lang="en-US" dirty="0"/>
          </a:p>
          <a:p>
            <a:pPr lvl="0"/>
            <a:r>
              <a:rPr lang="en-US" dirty="0"/>
              <a:t>	</a:t>
            </a:r>
            <a:r>
              <a:rPr lang="ru-RU" dirty="0"/>
              <a:t>И.О. Фамилия</a:t>
            </a:r>
          </a:p>
        </p:txBody>
      </p:sp>
      <p:sp>
        <p:nvSpPr>
          <p:cNvPr id="11" name="Текст 2"/>
          <p:cNvSpPr>
            <a:spLocks noGrp="1"/>
          </p:cNvSpPr>
          <p:nvPr>
            <p:ph type="body" sz="quarter" idx="11" hasCustomPrompt="1"/>
          </p:nvPr>
        </p:nvSpPr>
        <p:spPr>
          <a:xfrm>
            <a:off x="592199" y="6071180"/>
            <a:ext cx="3197565" cy="361242"/>
          </a:xfrm>
          <a:prstGeom prst="rect">
            <a:avLst/>
          </a:prstGeom>
        </p:spPr>
        <p:txBody>
          <a:bodyPr lIns="0" rIns="0" anchor="ctr"/>
          <a:lstStyle>
            <a:lvl1pPr marL="0" indent="0" algn="l" defTabSz="913526" rtl="0" eaLnBrk="1" fontAlgn="base" hangingPunct="1">
              <a:spcBef>
                <a:spcPts val="612"/>
              </a:spcBef>
              <a:spcAft>
                <a:spcPct val="0"/>
              </a:spcAft>
              <a:buClr>
                <a:schemeClr val="tx2"/>
              </a:buClr>
              <a:buFontTx/>
              <a:buNone/>
              <a:tabLst>
                <a:tab pos="1187260" algn="l"/>
              </a:tabLst>
              <a:defRPr lang="ru-RU" sz="1428" b="1" kern="0" dirty="0">
                <a:solidFill>
                  <a:schemeClr val="tx2"/>
                </a:solidFill>
                <a:latin typeface="+mn-lt"/>
                <a:ea typeface="+mn-ea"/>
                <a:cs typeface="+mn-cs"/>
              </a:defRPr>
            </a:lvl1pPr>
          </a:lstStyle>
          <a:p>
            <a:pPr lvl="0"/>
            <a:r>
              <a:rPr lang="ru-RU" dirty="0" err="1"/>
              <a:t>хх.хх.хххх</a:t>
            </a:r>
            <a:endParaRPr lang="ru-RU" dirty="0"/>
          </a:p>
        </p:txBody>
      </p:sp>
      <p:sp>
        <p:nvSpPr>
          <p:cNvPr id="8" name="Текст 7"/>
          <p:cNvSpPr>
            <a:spLocks noGrp="1"/>
          </p:cNvSpPr>
          <p:nvPr>
            <p:ph type="body" sz="quarter" idx="12" hasCustomPrompt="1"/>
          </p:nvPr>
        </p:nvSpPr>
        <p:spPr>
          <a:xfrm>
            <a:off x="2311411" y="1078820"/>
            <a:ext cx="6743396" cy="379437"/>
          </a:xfrm>
          <a:prstGeom prst="rect">
            <a:avLst/>
          </a:prstGeom>
        </p:spPr>
        <p:txBody>
          <a:bodyPr anchor="ctr"/>
          <a:lstStyle>
            <a:lvl1pPr algn="r">
              <a:defRPr lang="ru-RU" sz="1428" b="1" kern="0" baseline="0" dirty="0">
                <a:solidFill>
                  <a:schemeClr val="tx2"/>
                </a:solidFill>
                <a:latin typeface="+mn-lt"/>
                <a:ea typeface="+mn-ea"/>
                <a:cs typeface="+mn-cs"/>
              </a:defRPr>
            </a:lvl1pPr>
          </a:lstStyle>
          <a:p>
            <a:pPr lvl="0"/>
            <a:r>
              <a:rPr lang="ru-RU" dirty="0"/>
              <a:t>Название встречи</a:t>
            </a:r>
          </a:p>
        </p:txBody>
      </p:sp>
    </p:spTree>
    <p:extLst>
      <p:ext uri="{BB962C8B-B14F-4D97-AF65-F5344CB8AC3E}">
        <p14:creationId xmlns:p14="http://schemas.microsoft.com/office/powerpoint/2010/main" val="2747279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Основно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Объект 2" hidden="1"/>
                      <p:cNvPicPr/>
                      <p:nvPr/>
                    </p:nvPicPr>
                    <p:blipFill>
                      <a:blip r:embed="rId4"/>
                      <a:stretch>
                        <a:fillRect/>
                      </a:stretch>
                    </p:blipFill>
                    <p:spPr>
                      <a:xfrm>
                        <a:off x="1622" y="1624"/>
                        <a:ext cx="1619" cy="1619"/>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
        <p:nvSpPr>
          <p:cNvPr id="5" name="Slide Number"/>
          <p:cNvSpPr txBox="1">
            <a:spLocks/>
          </p:cNvSpPr>
          <p:nvPr userDrawn="1"/>
        </p:nvSpPr>
        <p:spPr>
          <a:xfrm>
            <a:off x="8719603" y="6566446"/>
            <a:ext cx="213008"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marL="0" marR="0" lvl="0" indent="0" algn="l"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2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32962" rtl="0" eaLnBrk="1" fontAlgn="base" latinLnBrk="0" hangingPunct="1">
                <a:lnSpc>
                  <a:spcPct val="100000"/>
                </a:lnSpc>
                <a:spcBef>
                  <a:spcPct val="0"/>
                </a:spcBef>
                <a:spcAft>
                  <a:spcPct val="0"/>
                </a:spcAft>
                <a:buClrTx/>
                <a:buSzTx/>
                <a:buFontTx/>
                <a:buNone/>
                <a:tabLst/>
                <a:defRPr/>
              </a:pPr>
              <a:t>‹#›</a:t>
            </a:fld>
            <a:endParaRPr kumimoji="0" lang="en-US" sz="102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Текст 3"/>
          <p:cNvSpPr>
            <a:spLocks noGrp="1"/>
          </p:cNvSpPr>
          <p:nvPr>
            <p:ph type="body" sz="quarter" idx="10" hasCustomPrompt="1"/>
          </p:nvPr>
        </p:nvSpPr>
        <p:spPr>
          <a:xfrm>
            <a:off x="116058" y="6463092"/>
            <a:ext cx="8541896" cy="395672"/>
          </a:xfrm>
          <a:prstGeom prst="rect">
            <a:avLst/>
          </a:prstGeom>
        </p:spPr>
        <p:txBody>
          <a:bodyPr/>
          <a:lstStyle>
            <a:lvl1pPr>
              <a:defRPr sz="714"/>
            </a:lvl1pPr>
          </a:lstStyle>
          <a:p>
            <a:pPr lvl="0"/>
            <a:r>
              <a:rPr lang="ru-RU" dirty="0"/>
              <a:t>Сноски</a:t>
            </a:r>
          </a:p>
          <a:p>
            <a:pPr lvl="0"/>
            <a:r>
              <a:rPr lang="ru-RU" dirty="0"/>
              <a:t>Источники</a:t>
            </a:r>
          </a:p>
        </p:txBody>
      </p:sp>
    </p:spTree>
    <p:extLst>
      <p:ext uri="{BB962C8B-B14F-4D97-AF65-F5344CB8AC3E}">
        <p14:creationId xmlns:p14="http://schemas.microsoft.com/office/powerpoint/2010/main" val="1361058504"/>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Слайд без пол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extLst>
              <p:ext uri="{D42A27DB-BD31-4B8C-83A1-F6EECF244321}">
                <p14:modId xmlns:p14="http://schemas.microsoft.com/office/powerpoint/2010/main" val="33912370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14" name="Picture 6"/>
          <p:cNvPicPr>
            <a:picLocks noChangeAspect="1"/>
          </p:cNvPicPr>
          <p:nvPr userDrawn="1"/>
        </p:nvPicPr>
        <p:blipFill rotWithShape="1">
          <a:blip r:embed="rId5" cstate="print">
            <a:extLst>
              <a:ext uri="{28A0092B-C50C-407E-A947-70E740481C1C}">
                <a14:useLocalDpi xmlns:a14="http://schemas.microsoft.com/office/drawing/2010/main" val="0"/>
              </a:ext>
            </a:extLst>
          </a:blip>
          <a:srcRect l="78749" t="6300" r="5501" b="86350"/>
          <a:stretch/>
        </p:blipFill>
        <p:spPr>
          <a:xfrm>
            <a:off x="7696940" y="302955"/>
            <a:ext cx="1329378" cy="504056"/>
          </a:xfrm>
          <a:prstGeom prst="rect">
            <a:avLst/>
          </a:prstGeom>
        </p:spPr>
      </p:pic>
      <p:sp>
        <p:nvSpPr>
          <p:cNvPr id="17"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8"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374442685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Основной слайд">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userDrawn="1">
            <p:custDataLst>
              <p:tags r:id="rId1"/>
            </p:custDataLst>
          </p:nvPr>
        </p:nvGraphicFramePr>
        <p:xfrm>
          <a:off x="1622" y="1624"/>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Объект 5" hidden="1"/>
                      <p:cNvPicPr/>
                      <p:nvPr/>
                    </p:nvPicPr>
                    <p:blipFill>
                      <a:blip r:embed="rId4"/>
                      <a:stretch>
                        <a:fillRect/>
                      </a:stretch>
                    </p:blipFill>
                    <p:spPr>
                      <a:xfrm>
                        <a:off x="1622" y="1624"/>
                        <a:ext cx="1619" cy="1619"/>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
        <p:nvSpPr>
          <p:cNvPr id="5" name="Slide Number"/>
          <p:cNvSpPr txBox="1">
            <a:spLocks/>
          </p:cNvSpPr>
          <p:nvPr userDrawn="1"/>
        </p:nvSpPr>
        <p:spPr>
          <a:xfrm>
            <a:off x="8719603" y="6566446"/>
            <a:ext cx="213008"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marL="0" marR="0" lvl="0" indent="0" algn="l"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2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32962" rtl="0" eaLnBrk="1" fontAlgn="base" latinLnBrk="0" hangingPunct="1">
                <a:lnSpc>
                  <a:spcPct val="100000"/>
                </a:lnSpc>
                <a:spcBef>
                  <a:spcPct val="0"/>
                </a:spcBef>
                <a:spcAft>
                  <a:spcPct val="0"/>
                </a:spcAft>
                <a:buClrTx/>
                <a:buSzTx/>
                <a:buFontTx/>
                <a:buNone/>
                <a:tabLst/>
                <a:defRPr/>
              </a:pPr>
              <a:t>‹#›</a:t>
            </a:fld>
            <a:endParaRPr kumimoji="0" lang="en-US" sz="102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Текст 3"/>
          <p:cNvSpPr>
            <a:spLocks noGrp="1"/>
          </p:cNvSpPr>
          <p:nvPr>
            <p:ph type="body" sz="quarter" idx="10" hasCustomPrompt="1"/>
          </p:nvPr>
        </p:nvSpPr>
        <p:spPr>
          <a:xfrm>
            <a:off x="116058" y="6463092"/>
            <a:ext cx="8541896" cy="395672"/>
          </a:xfrm>
          <a:prstGeom prst="rect">
            <a:avLst/>
          </a:prstGeom>
        </p:spPr>
        <p:txBody>
          <a:bodyPr/>
          <a:lstStyle>
            <a:lvl1pPr>
              <a:defRPr sz="714"/>
            </a:lvl1pPr>
          </a:lstStyle>
          <a:p>
            <a:pPr lvl="0"/>
            <a:r>
              <a:rPr lang="ru-RU" dirty="0"/>
              <a:t>Сноски</a:t>
            </a:r>
          </a:p>
          <a:p>
            <a:pPr lvl="0"/>
            <a:r>
              <a:rPr lang="ru-RU" dirty="0"/>
              <a:t>Источники</a:t>
            </a:r>
          </a:p>
        </p:txBody>
      </p:sp>
    </p:spTree>
    <p:extLst>
      <p:ext uri="{BB962C8B-B14F-4D97-AF65-F5344CB8AC3E}">
        <p14:creationId xmlns:p14="http://schemas.microsoft.com/office/powerpoint/2010/main" val="3876282833"/>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Заголовок 1"/>
          <p:cNvSpPr txBox="1">
            <a:spLocks/>
          </p:cNvSpPr>
          <p:nvPr/>
        </p:nvSpPr>
        <p:spPr>
          <a:xfrm>
            <a:off x="430128" y="2853733"/>
            <a:ext cx="4429906" cy="1327315"/>
          </a:xfrm>
          <a:prstGeom prst="rect">
            <a:avLst/>
          </a:prstGeom>
        </p:spPr>
        <p:txBody>
          <a:bodyPr vert="horz" lIns="113590" tIns="56795" rIns="113590" bIns="56795" rtlCol="0" anchor="ctr">
            <a:no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ru-RU" sz="4000"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Тема </a:t>
            </a:r>
          </a:p>
          <a:p>
            <a:pPr marL="0" marR="0" lvl="0" indent="0" algn="l" defTabSz="914400" rtl="0" eaLnBrk="1" fontAlgn="auto" latinLnBrk="0" hangingPunct="1">
              <a:lnSpc>
                <a:spcPts val="4000"/>
              </a:lnSpc>
              <a:spcBef>
                <a:spcPts val="0"/>
              </a:spcBef>
              <a:spcAft>
                <a:spcPts val="0"/>
              </a:spcAft>
              <a:buClrTx/>
              <a:buSzTx/>
              <a:buFontTx/>
              <a:buNone/>
              <a:tabLst/>
              <a:defRPr/>
            </a:pPr>
            <a:r>
              <a:rPr kumimoji="0" lang="ru-RU" sz="4000"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презентации</a:t>
            </a:r>
          </a:p>
        </p:txBody>
      </p:sp>
      <p:sp>
        <p:nvSpPr>
          <p:cNvPr id="8" name="Заголовок 1"/>
          <p:cNvSpPr txBox="1">
            <a:spLocks/>
          </p:cNvSpPr>
          <p:nvPr/>
        </p:nvSpPr>
        <p:spPr>
          <a:xfrm>
            <a:off x="288002" y="5389204"/>
            <a:ext cx="7430039" cy="1508263"/>
          </a:xfrm>
          <a:prstGeom prst="rect">
            <a:avLst/>
          </a:prstGeom>
        </p:spPr>
        <p:txBody>
          <a:bodyPr vert="horz" lIns="265040" tIns="132522" rIns="265040" bIns="132522"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600"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Фамилия Имя Отчество</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600" b="0"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Должность</a:t>
            </a:r>
          </a:p>
        </p:txBody>
      </p:sp>
    </p:spTree>
    <p:extLst>
      <p:ext uri="{BB962C8B-B14F-4D97-AF65-F5344CB8AC3E}">
        <p14:creationId xmlns:p14="http://schemas.microsoft.com/office/powerpoint/2010/main" val="3409639348"/>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2002" y="1920706"/>
            <a:ext cx="4041695" cy="3223662"/>
          </a:xfrm>
          <a:prstGeom prst="rect">
            <a:avLst/>
          </a:prstGeom>
        </p:spPr>
        <p:txBody>
          <a:bodyPr vert="horz" lIns="113552" tIns="56775" rIns="113552" bIns="56775"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Таким образом, начало повседневной работы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от нас системного анализа направлений прогрессивного развития.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С другой стороны выбранный нами инновационный путь играет важную роль в формировании экономической целесообразности принимаемых решений.</a:t>
            </a:r>
          </a:p>
        </p:txBody>
      </p:sp>
      <p:sp>
        <p:nvSpPr>
          <p:cNvPr id="8" name="Прямоугольник 9"/>
          <p:cNvSpPr/>
          <p:nvPr userDrawn="1"/>
        </p:nvSpPr>
        <p:spPr>
          <a:xfrm>
            <a:off x="4825092" y="5639074"/>
            <a:ext cx="382188" cy="72208"/>
          </a:xfrm>
          <a:prstGeom prst="rect">
            <a:avLst/>
          </a:prstGeom>
          <a:solidFill>
            <a:srgbClr val="EF741F"/>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Прямоугольник 10"/>
          <p:cNvSpPr/>
          <p:nvPr userDrawn="1"/>
        </p:nvSpPr>
        <p:spPr>
          <a:xfrm>
            <a:off x="5684573" y="5624834"/>
            <a:ext cx="382188" cy="72208"/>
          </a:xfrm>
          <a:prstGeom prst="rect">
            <a:avLst/>
          </a:prstGeom>
          <a:solidFill>
            <a:srgbClr val="F04E23"/>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Прямоугольник 11"/>
          <p:cNvSpPr/>
          <p:nvPr userDrawn="1"/>
        </p:nvSpPr>
        <p:spPr>
          <a:xfrm>
            <a:off x="6620780" y="5639074"/>
            <a:ext cx="382188" cy="72208"/>
          </a:xfrm>
          <a:prstGeom prst="rect">
            <a:avLst/>
          </a:prstGeom>
          <a:solidFill>
            <a:srgbClr val="B4269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Прямоугольник 12"/>
          <p:cNvSpPr/>
          <p:nvPr userDrawn="1"/>
        </p:nvSpPr>
        <p:spPr>
          <a:xfrm>
            <a:off x="7427956" y="5639074"/>
            <a:ext cx="382188" cy="72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Прямоугольник 13"/>
          <p:cNvSpPr/>
          <p:nvPr userDrawn="1"/>
        </p:nvSpPr>
        <p:spPr>
          <a:xfrm>
            <a:off x="8244322" y="5639074"/>
            <a:ext cx="382188" cy="72208"/>
          </a:xfrm>
          <a:prstGeom prst="rect">
            <a:avLst/>
          </a:prstGeom>
          <a:solidFill>
            <a:srgbClr val="5EAEE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Заголовок 1"/>
          <p:cNvSpPr txBox="1">
            <a:spLocks/>
          </p:cNvSpPr>
          <p:nvPr userDrawn="1"/>
        </p:nvSpPr>
        <p:spPr>
          <a:xfrm>
            <a:off x="4765766" y="5675176"/>
            <a:ext cx="50084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4" name="Заголовок 1"/>
          <p:cNvSpPr txBox="1">
            <a:spLocks/>
          </p:cNvSpPr>
          <p:nvPr userDrawn="1"/>
        </p:nvSpPr>
        <p:spPr>
          <a:xfrm>
            <a:off x="5601693" y="5660937"/>
            <a:ext cx="54795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5" name="Заголовок 1"/>
          <p:cNvSpPr txBox="1">
            <a:spLocks/>
          </p:cNvSpPr>
          <p:nvPr userDrawn="1"/>
        </p:nvSpPr>
        <p:spPr>
          <a:xfrm>
            <a:off x="6527991" y="5675176"/>
            <a:ext cx="56776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6" name="Заголовок 1"/>
          <p:cNvSpPr txBox="1">
            <a:spLocks/>
          </p:cNvSpPr>
          <p:nvPr userDrawn="1"/>
        </p:nvSpPr>
        <p:spPr>
          <a:xfrm>
            <a:off x="7348056" y="5675176"/>
            <a:ext cx="54199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7" name="Заголовок 1"/>
          <p:cNvSpPr txBox="1">
            <a:spLocks/>
          </p:cNvSpPr>
          <p:nvPr userDrawn="1"/>
        </p:nvSpPr>
        <p:spPr>
          <a:xfrm>
            <a:off x="8168017" y="5675176"/>
            <a:ext cx="534800"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graphicFrame>
        <p:nvGraphicFramePr>
          <p:cNvPr id="18" name="Диаграмма 19"/>
          <p:cNvGraphicFramePr/>
          <p:nvPr userDrawn="1"/>
        </p:nvGraphicFramePr>
        <p:xfrm>
          <a:off x="4825094" y="1484156"/>
          <a:ext cx="3714973" cy="3830163"/>
        </p:xfrm>
        <a:graphic>
          <a:graphicData uri="http://schemas.openxmlformats.org/drawingml/2006/chart">
            <c:chart xmlns:c="http://schemas.openxmlformats.org/drawingml/2006/chart" xmlns:r="http://schemas.openxmlformats.org/officeDocument/2006/relationships" r:id="rId2"/>
          </a:graphicData>
        </a:graphic>
      </p:graphicFrame>
      <p:sp>
        <p:nvSpPr>
          <p:cNvPr id="19" name="Номер слайда 3"/>
          <p:cNvSpPr>
            <a:spLocks noGrp="1"/>
          </p:cNvSpPr>
          <p:nvPr>
            <p:ph type="sldNum" sz="quarter" idx="12"/>
          </p:nvPr>
        </p:nvSpPr>
        <p:spPr>
          <a:xfrm>
            <a:off x="6588224" y="6088215"/>
            <a:ext cx="2057400" cy="365125"/>
          </a:xfrm>
          <a:prstGeom prst="rect">
            <a:avLst/>
          </a:prstGeom>
        </p:spPr>
        <p:txBody>
          <a:bodyPr lIns="108000" tIns="108000" rIns="36000"/>
          <a:lstStyle/>
          <a:p>
            <a:pPr algn="r"/>
            <a:r>
              <a:rPr lang="en-US" sz="700">
                <a:solidFill>
                  <a:srgbClr val="333333"/>
                </a:solidFill>
                <a:latin typeface="Arial" charset="0"/>
                <a:ea typeface="Arial" charset="0"/>
                <a:cs typeface="Arial" charset="0"/>
              </a:rPr>
              <a:t>7</a:t>
            </a:r>
            <a:endParaRPr lang="ru-RU" sz="700" dirty="0">
              <a:solidFill>
                <a:srgbClr val="333333"/>
              </a:solidFill>
              <a:latin typeface="Arial" charset="0"/>
              <a:ea typeface="Arial" charset="0"/>
              <a:cs typeface="Arial" charset="0"/>
            </a:endParaRPr>
          </a:p>
        </p:txBody>
      </p:sp>
      <p:sp>
        <p:nvSpPr>
          <p:cNvPr id="20" name="Заголовок 1"/>
          <p:cNvSpPr txBox="1">
            <a:spLocks/>
          </p:cNvSpPr>
          <p:nvPr userDrawn="1"/>
        </p:nvSpPr>
        <p:spPr>
          <a:xfrm>
            <a:off x="323528" y="328782"/>
            <a:ext cx="4144224" cy="795962"/>
          </a:xfrm>
          <a:prstGeom prst="rect">
            <a:avLst/>
          </a:prstGeom>
        </p:spPr>
        <p:txBody>
          <a:bodyPr vert="horz" lIns="208800" tIns="72000" rIns="238502" bIns="119252"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3200" b="1" i="0" u="none" strike="noStrike" kern="1200" cap="none" spc="0" normalizeH="0" baseline="0" noProof="0" dirty="0">
                <a:ln>
                  <a:noFill/>
                </a:ln>
                <a:solidFill>
                  <a:srgbClr val="333333"/>
                </a:solidFill>
                <a:effectLst/>
                <a:uLnTx/>
                <a:uFillTx/>
                <a:latin typeface="Arial" charset="0"/>
                <a:ea typeface="Arial" charset="0"/>
                <a:cs typeface="Arial" charset="0"/>
              </a:rPr>
              <a:t>Заголовок</a:t>
            </a:r>
          </a:p>
        </p:txBody>
      </p:sp>
      <p:sp>
        <p:nvSpPr>
          <p:cNvPr id="21" name="Прямоугольник 7"/>
          <p:cNvSpPr/>
          <p:nvPr userDrawn="1"/>
        </p:nvSpPr>
        <p:spPr>
          <a:xfrm>
            <a:off x="446136" y="6218304"/>
            <a:ext cx="2520280" cy="190600"/>
          </a:xfrm>
          <a:prstGeom prst="rect">
            <a:avLst/>
          </a:prstGeom>
        </p:spPr>
        <p:txBody>
          <a:bodyPr wrap="square" lIns="92153" tIns="36000" rIns="72000" bIns="46077">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33333"/>
                </a:solidFill>
                <a:effectLst/>
                <a:uLnTx/>
                <a:uFillTx/>
                <a:latin typeface="Arial" charset="0"/>
                <a:ea typeface="Arial" charset="0"/>
                <a:cs typeface="Arial" charset="0"/>
              </a:rPr>
              <a:t>Место для указания источников и сносок</a:t>
            </a:r>
          </a:p>
        </p:txBody>
      </p:sp>
    </p:spTree>
    <p:extLst>
      <p:ext uri="{BB962C8B-B14F-4D97-AF65-F5344CB8AC3E}">
        <p14:creationId xmlns:p14="http://schemas.microsoft.com/office/powerpoint/2010/main" val="3972367521"/>
      </p:ext>
    </p:extLst>
  </p:cSld>
  <p:clrMapOvr>
    <a:masterClrMapping/>
  </p:clrMapOvr>
  <p:extLst>
    <p:ext uri="{DCECCB84-F9BA-43D5-87BE-67443E8EF086}">
      <p15:sldGuideLst xmlns:p15="http://schemas.microsoft.com/office/powerpoint/2012/main">
        <p15:guide id="1" pos="5003"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2002" y="1920706"/>
            <a:ext cx="4041695" cy="3223662"/>
          </a:xfrm>
          <a:prstGeom prst="rect">
            <a:avLst/>
          </a:prstGeom>
        </p:spPr>
        <p:txBody>
          <a:bodyPr vert="horz" lIns="113552" tIns="56775" rIns="113552" bIns="56775"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Таким образом, начало повседневной работы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от нас системного анализа направлений прогрессивного развития.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С другой стороны выбранный нами инновационный путь играет важную роль в формировании экономической целесообразности принимаемых решений.</a:t>
            </a:r>
          </a:p>
        </p:txBody>
      </p:sp>
      <p:sp>
        <p:nvSpPr>
          <p:cNvPr id="8" name="Прямоугольник 9"/>
          <p:cNvSpPr/>
          <p:nvPr userDrawn="1"/>
        </p:nvSpPr>
        <p:spPr>
          <a:xfrm>
            <a:off x="4825092" y="5639074"/>
            <a:ext cx="382188" cy="72208"/>
          </a:xfrm>
          <a:prstGeom prst="rect">
            <a:avLst/>
          </a:prstGeom>
          <a:solidFill>
            <a:srgbClr val="EF741F"/>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Прямоугольник 10"/>
          <p:cNvSpPr/>
          <p:nvPr userDrawn="1"/>
        </p:nvSpPr>
        <p:spPr>
          <a:xfrm>
            <a:off x="5684573" y="5624834"/>
            <a:ext cx="382188" cy="72208"/>
          </a:xfrm>
          <a:prstGeom prst="rect">
            <a:avLst/>
          </a:prstGeom>
          <a:solidFill>
            <a:srgbClr val="F04E23"/>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Прямоугольник 11"/>
          <p:cNvSpPr/>
          <p:nvPr userDrawn="1"/>
        </p:nvSpPr>
        <p:spPr>
          <a:xfrm>
            <a:off x="6620780" y="5639074"/>
            <a:ext cx="382188" cy="72208"/>
          </a:xfrm>
          <a:prstGeom prst="rect">
            <a:avLst/>
          </a:prstGeom>
          <a:solidFill>
            <a:srgbClr val="B4269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Прямоугольник 12"/>
          <p:cNvSpPr/>
          <p:nvPr userDrawn="1"/>
        </p:nvSpPr>
        <p:spPr>
          <a:xfrm>
            <a:off x="7427956" y="5639074"/>
            <a:ext cx="382188" cy="72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Прямоугольник 13"/>
          <p:cNvSpPr/>
          <p:nvPr userDrawn="1"/>
        </p:nvSpPr>
        <p:spPr>
          <a:xfrm>
            <a:off x="8244322" y="5639074"/>
            <a:ext cx="382188" cy="72208"/>
          </a:xfrm>
          <a:prstGeom prst="rect">
            <a:avLst/>
          </a:prstGeom>
          <a:solidFill>
            <a:srgbClr val="5EAEE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Заголовок 1"/>
          <p:cNvSpPr txBox="1">
            <a:spLocks/>
          </p:cNvSpPr>
          <p:nvPr userDrawn="1"/>
        </p:nvSpPr>
        <p:spPr>
          <a:xfrm>
            <a:off x="4765766" y="5675176"/>
            <a:ext cx="50084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4" name="Заголовок 1"/>
          <p:cNvSpPr txBox="1">
            <a:spLocks/>
          </p:cNvSpPr>
          <p:nvPr userDrawn="1"/>
        </p:nvSpPr>
        <p:spPr>
          <a:xfrm>
            <a:off x="5601693" y="5660937"/>
            <a:ext cx="54795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5" name="Заголовок 1"/>
          <p:cNvSpPr txBox="1">
            <a:spLocks/>
          </p:cNvSpPr>
          <p:nvPr userDrawn="1"/>
        </p:nvSpPr>
        <p:spPr>
          <a:xfrm>
            <a:off x="6527991" y="5675176"/>
            <a:ext cx="56776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6" name="Заголовок 1"/>
          <p:cNvSpPr txBox="1">
            <a:spLocks/>
          </p:cNvSpPr>
          <p:nvPr userDrawn="1"/>
        </p:nvSpPr>
        <p:spPr>
          <a:xfrm>
            <a:off x="7348056" y="5675176"/>
            <a:ext cx="54199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7" name="Заголовок 1"/>
          <p:cNvSpPr txBox="1">
            <a:spLocks/>
          </p:cNvSpPr>
          <p:nvPr userDrawn="1"/>
        </p:nvSpPr>
        <p:spPr>
          <a:xfrm>
            <a:off x="8168017" y="5675176"/>
            <a:ext cx="534800"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graphicFrame>
        <p:nvGraphicFramePr>
          <p:cNvPr id="18" name="Диаграмма 19"/>
          <p:cNvGraphicFramePr/>
          <p:nvPr userDrawn="1"/>
        </p:nvGraphicFramePr>
        <p:xfrm>
          <a:off x="4825094" y="1484156"/>
          <a:ext cx="3714973" cy="3830163"/>
        </p:xfrm>
        <a:graphic>
          <a:graphicData uri="http://schemas.openxmlformats.org/drawingml/2006/chart">
            <c:chart xmlns:c="http://schemas.openxmlformats.org/drawingml/2006/chart" xmlns:r="http://schemas.openxmlformats.org/officeDocument/2006/relationships" r:id="rId2"/>
          </a:graphicData>
        </a:graphic>
      </p:graphicFrame>
      <p:sp>
        <p:nvSpPr>
          <p:cNvPr id="19" name="Номер слайда 3"/>
          <p:cNvSpPr>
            <a:spLocks noGrp="1"/>
          </p:cNvSpPr>
          <p:nvPr>
            <p:ph type="sldNum" sz="quarter" idx="12"/>
          </p:nvPr>
        </p:nvSpPr>
        <p:spPr>
          <a:xfrm>
            <a:off x="6588224" y="6088215"/>
            <a:ext cx="2057400" cy="365125"/>
          </a:xfrm>
          <a:prstGeom prst="rect">
            <a:avLst/>
          </a:prstGeom>
        </p:spPr>
        <p:txBody>
          <a:bodyPr lIns="108000" tIns="108000" rIns="36000"/>
          <a:lstStyle/>
          <a:p>
            <a:pPr algn="r"/>
            <a:r>
              <a:rPr lang="en-US" sz="700">
                <a:solidFill>
                  <a:srgbClr val="333333"/>
                </a:solidFill>
                <a:latin typeface="Arial" charset="0"/>
                <a:ea typeface="Arial" charset="0"/>
                <a:cs typeface="Arial" charset="0"/>
              </a:rPr>
              <a:t>7</a:t>
            </a:r>
            <a:endParaRPr lang="ru-RU" sz="700" dirty="0">
              <a:solidFill>
                <a:srgbClr val="333333"/>
              </a:solidFill>
              <a:latin typeface="Arial" charset="0"/>
              <a:ea typeface="Arial" charset="0"/>
              <a:cs typeface="Arial" charset="0"/>
            </a:endParaRPr>
          </a:p>
        </p:txBody>
      </p:sp>
      <p:sp>
        <p:nvSpPr>
          <p:cNvPr id="20" name="Заголовок 1"/>
          <p:cNvSpPr txBox="1">
            <a:spLocks/>
          </p:cNvSpPr>
          <p:nvPr userDrawn="1"/>
        </p:nvSpPr>
        <p:spPr>
          <a:xfrm>
            <a:off x="323528" y="328782"/>
            <a:ext cx="4144224" cy="795962"/>
          </a:xfrm>
          <a:prstGeom prst="rect">
            <a:avLst/>
          </a:prstGeom>
        </p:spPr>
        <p:txBody>
          <a:bodyPr vert="horz" lIns="208800" tIns="72000" rIns="238502" bIns="119252"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3200" b="1" i="0" u="none" strike="noStrike" kern="1200" cap="none" spc="0" normalizeH="0" baseline="0" noProof="0" dirty="0">
                <a:ln>
                  <a:noFill/>
                </a:ln>
                <a:solidFill>
                  <a:srgbClr val="333333"/>
                </a:solidFill>
                <a:effectLst/>
                <a:uLnTx/>
                <a:uFillTx/>
                <a:latin typeface="Arial" charset="0"/>
                <a:ea typeface="Arial" charset="0"/>
                <a:cs typeface="Arial" charset="0"/>
              </a:rPr>
              <a:t>Заголовок</a:t>
            </a:r>
          </a:p>
        </p:txBody>
      </p:sp>
      <p:sp>
        <p:nvSpPr>
          <p:cNvPr id="21" name="Прямоугольник 7"/>
          <p:cNvSpPr/>
          <p:nvPr userDrawn="1"/>
        </p:nvSpPr>
        <p:spPr>
          <a:xfrm>
            <a:off x="446136" y="6218304"/>
            <a:ext cx="2520280" cy="190600"/>
          </a:xfrm>
          <a:prstGeom prst="rect">
            <a:avLst/>
          </a:prstGeom>
        </p:spPr>
        <p:txBody>
          <a:bodyPr wrap="square" lIns="92153" tIns="36000" rIns="72000" bIns="46077">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33333"/>
                </a:solidFill>
                <a:effectLst/>
                <a:uLnTx/>
                <a:uFillTx/>
                <a:latin typeface="Arial" charset="0"/>
                <a:ea typeface="Arial" charset="0"/>
                <a:cs typeface="Arial" charset="0"/>
              </a:rPr>
              <a:t>Место для указания источников и сносок</a:t>
            </a:r>
          </a:p>
        </p:txBody>
      </p:sp>
    </p:spTree>
    <p:extLst>
      <p:ext uri="{BB962C8B-B14F-4D97-AF65-F5344CB8AC3E}">
        <p14:creationId xmlns:p14="http://schemas.microsoft.com/office/powerpoint/2010/main" val="1331137258"/>
      </p:ext>
    </p:extLst>
  </p:cSld>
  <p:clrMapOvr>
    <a:masterClrMapping/>
  </p:clrMapOvr>
  <p:extLst>
    <p:ext uri="{DCECCB84-F9BA-43D5-87BE-67443E8EF086}">
      <p15:sldGuideLst xmlns:p15="http://schemas.microsoft.com/office/powerpoint/2012/main">
        <p15:guide id="1" pos="5003"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Заголовок и объект">
    <p:spTree>
      <p:nvGrpSpPr>
        <p:cNvPr id="1" name=""/>
        <p:cNvGrpSpPr/>
        <p:nvPr/>
      </p:nvGrpSpPr>
      <p:grpSpPr>
        <a:xfrm>
          <a:off x="0" y="0"/>
          <a:ext cx="0" cy="0"/>
          <a:chOff x="0" y="0"/>
          <a:chExt cx="0" cy="0"/>
        </a:xfrm>
      </p:grpSpPr>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2805720"/>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Основно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623" y="1624"/>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Объект 2" hidden="1"/>
                      <p:cNvPicPr/>
                      <p:nvPr/>
                    </p:nvPicPr>
                    <p:blipFill>
                      <a:blip r:embed="rId4"/>
                      <a:stretch>
                        <a:fillRect/>
                      </a:stretch>
                    </p:blipFill>
                    <p:spPr>
                      <a:xfrm>
                        <a:off x="1623" y="1624"/>
                        <a:ext cx="1619" cy="1619"/>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
        <p:nvSpPr>
          <p:cNvPr id="5" name="Slide Number"/>
          <p:cNvSpPr txBox="1">
            <a:spLocks/>
          </p:cNvSpPr>
          <p:nvPr userDrawn="1"/>
        </p:nvSpPr>
        <p:spPr>
          <a:xfrm>
            <a:off x="8719604"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en-US" sz="1020" smtClean="0"/>
              <a:pPr lvl="0"/>
              <a:t>‹#›</a:t>
            </a:fld>
            <a:endParaRPr lang="en-US" sz="1020" dirty="0"/>
          </a:p>
        </p:txBody>
      </p:sp>
      <p:sp>
        <p:nvSpPr>
          <p:cNvPr id="4" name="Текст 3"/>
          <p:cNvSpPr>
            <a:spLocks noGrp="1"/>
          </p:cNvSpPr>
          <p:nvPr>
            <p:ph type="body" sz="quarter" idx="10" hasCustomPrompt="1"/>
          </p:nvPr>
        </p:nvSpPr>
        <p:spPr>
          <a:xfrm>
            <a:off x="116059" y="6463093"/>
            <a:ext cx="8541896" cy="395672"/>
          </a:xfrm>
          <a:prstGeom prst="rect">
            <a:avLst/>
          </a:prstGeom>
        </p:spPr>
        <p:txBody>
          <a:bodyPr lIns="91430" tIns="45715" rIns="91430" bIns="45715"/>
          <a:lstStyle>
            <a:lvl1pPr>
              <a:defRPr sz="714"/>
            </a:lvl1pPr>
          </a:lstStyle>
          <a:p>
            <a:pPr lvl="0"/>
            <a:r>
              <a:rPr lang="ru-RU" dirty="0"/>
              <a:t>Сноски</a:t>
            </a:r>
          </a:p>
          <a:p>
            <a:pPr lvl="0"/>
            <a:r>
              <a:rPr lang="ru-RU" dirty="0"/>
              <a:t>Источники</a:t>
            </a:r>
          </a:p>
        </p:txBody>
      </p:sp>
    </p:spTree>
    <p:extLst>
      <p:ext uri="{BB962C8B-B14F-4D97-AF65-F5344CB8AC3E}">
        <p14:creationId xmlns:p14="http://schemas.microsoft.com/office/powerpoint/2010/main" val="3937344906"/>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1" y="365129"/>
            <a:ext cx="78867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1" y="1825625"/>
            <a:ext cx="78867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6356355"/>
            <a:ext cx="2057400" cy="365125"/>
          </a:xfrm>
          <a:prstGeom prst="rect">
            <a:avLst/>
          </a:prstGeom>
        </p:spPr>
        <p:txBody>
          <a:bodyPr/>
          <a:lstStyle/>
          <a:p>
            <a:fld id="{651D33E4-8DD2-4FF4-82B3-01F0D7810FD5}" type="datetime1">
              <a:rPr lang="en-US" smtClean="0">
                <a:solidFill>
                  <a:prstClr val="black"/>
                </a:solidFill>
              </a:rPr>
              <a:t>4/24/2023</a:t>
            </a:fld>
            <a:endParaRPr lang="en-US">
              <a:solidFill>
                <a:prstClr val="black"/>
              </a:solidFill>
            </a:endParaRPr>
          </a:p>
        </p:txBody>
      </p:sp>
      <p:sp>
        <p:nvSpPr>
          <p:cNvPr id="5" name="Footer Placeholder 4"/>
          <p:cNvSpPr>
            <a:spLocks noGrp="1"/>
          </p:cNvSpPr>
          <p:nvPr>
            <p:ph type="ftr" sz="quarter" idx="11"/>
          </p:nvPr>
        </p:nvSpPr>
        <p:spPr>
          <a:xfrm>
            <a:off x="3028951" y="6356355"/>
            <a:ext cx="30861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6457950" y="6356355"/>
            <a:ext cx="2057400" cy="365125"/>
          </a:xfrm>
          <a:prstGeom prst="rect">
            <a:avLst/>
          </a:prstGeom>
        </p:spPr>
        <p:txBody>
          <a:bodyPr/>
          <a:lstStyle/>
          <a:p>
            <a:fld id="{7EB84843-3395-A649-965A-DCE2EEB85F5C}"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79977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rtlCol="0"/>
          <a:lstStyle/>
          <a:p>
            <a:pPr rtl="0"/>
            <a:r>
              <a:rPr lang="en"/>
              <a:t>Образец заголовка</a:t>
            </a:r>
            <a:endParaRPr lang="ru-RU"/>
          </a:p>
        </p:txBody>
      </p:sp>
      <p:sp>
        <p:nvSpPr>
          <p:cNvPr id="3" name="Rectangle 2"/>
          <p:cNvSpPr>
            <a:spLocks noGrp="1" noChangeArrowheads="1"/>
          </p:cNvSpPr>
          <p:nvPr>
            <p:ph type="sldNum" sz="quarter" idx="10"/>
          </p:nvPr>
        </p:nvSpPr>
        <p:spPr>
          <a:ln/>
        </p:spPr>
        <p:txBody>
          <a:bodyPr rtlCol="0"/>
          <a:lstStyle>
            <a:lvl1pPr algn="l" rtl="0">
              <a:defRPr/>
            </a:lvl1pPr>
          </a:lstStyle>
          <a:p>
            <a:pPr rtl="0">
              <a:defRPr/>
            </a:pPr>
            <a:fld id="{85D134EE-8B42-487F-8351-0A0C29847FB3}" type="slidenum">
              <a:rPr lang="ru-RU"/>
              <a:pPr>
                <a:defRPr/>
              </a:pPr>
              <a:t>‹#›</a:t>
            </a:fld>
            <a:endParaRPr lang="ru-RU" dirty="0"/>
          </a:p>
        </p:txBody>
      </p:sp>
    </p:spTree>
    <p:extLst>
      <p:ext uri="{BB962C8B-B14F-4D97-AF65-F5344CB8AC3E}">
        <p14:creationId xmlns:p14="http://schemas.microsoft.com/office/powerpoint/2010/main" val="207104975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Заголовок 1"/>
          <p:cNvSpPr txBox="1">
            <a:spLocks/>
          </p:cNvSpPr>
          <p:nvPr/>
        </p:nvSpPr>
        <p:spPr>
          <a:xfrm>
            <a:off x="430128" y="2853733"/>
            <a:ext cx="4429906" cy="1327315"/>
          </a:xfrm>
          <a:prstGeom prst="rect">
            <a:avLst/>
          </a:prstGeom>
        </p:spPr>
        <p:txBody>
          <a:bodyPr vert="horz" lIns="104852" tIns="52426" rIns="104852" bIns="52426" rtlCol="0" anchor="ctr">
            <a:noAutofit/>
          </a:bodyPr>
          <a:lstStyle/>
          <a:p>
            <a:pPr marL="0" marR="0" lvl="0" indent="0" algn="l" defTabSz="844083" rtl="0" eaLnBrk="1" fontAlgn="auto" latinLnBrk="0" hangingPunct="1">
              <a:lnSpc>
                <a:spcPts val="3692"/>
              </a:lnSpc>
              <a:spcBef>
                <a:spcPts val="0"/>
              </a:spcBef>
              <a:spcAft>
                <a:spcPts val="0"/>
              </a:spcAft>
              <a:buClrTx/>
              <a:buSzTx/>
              <a:buFontTx/>
              <a:buNone/>
              <a:tabLst/>
              <a:defRPr/>
            </a:pPr>
            <a:r>
              <a:rPr kumimoji="0" lang="ru-RU" sz="3692"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Тема </a:t>
            </a:r>
          </a:p>
          <a:p>
            <a:pPr marL="0" marR="0" lvl="0" indent="0" algn="l" defTabSz="844083" rtl="0" eaLnBrk="1" fontAlgn="auto" latinLnBrk="0" hangingPunct="1">
              <a:lnSpc>
                <a:spcPts val="3692"/>
              </a:lnSpc>
              <a:spcBef>
                <a:spcPts val="0"/>
              </a:spcBef>
              <a:spcAft>
                <a:spcPts val="0"/>
              </a:spcAft>
              <a:buClrTx/>
              <a:buSzTx/>
              <a:buFontTx/>
              <a:buNone/>
              <a:tabLst/>
              <a:defRPr/>
            </a:pPr>
            <a:r>
              <a:rPr kumimoji="0" lang="ru-RU" sz="3692"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презентации</a:t>
            </a:r>
          </a:p>
        </p:txBody>
      </p:sp>
      <p:sp>
        <p:nvSpPr>
          <p:cNvPr id="8" name="Заголовок 1"/>
          <p:cNvSpPr txBox="1">
            <a:spLocks/>
          </p:cNvSpPr>
          <p:nvPr/>
        </p:nvSpPr>
        <p:spPr>
          <a:xfrm>
            <a:off x="288003" y="5389206"/>
            <a:ext cx="7430039" cy="1508263"/>
          </a:xfrm>
          <a:prstGeom prst="rect">
            <a:avLst/>
          </a:prstGeom>
        </p:spPr>
        <p:txBody>
          <a:bodyPr vert="horz" lIns="244652" tIns="122328" rIns="244652" bIns="122328" rtlCol="0" anchor="ctr">
            <a:noAutofit/>
          </a:bodyPr>
          <a:lstStyle/>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477"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Фамилия Имя Отчество</a:t>
            </a:r>
          </a:p>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477" b="0"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Должность</a:t>
            </a:r>
          </a:p>
        </p:txBody>
      </p:sp>
    </p:spTree>
    <p:extLst>
      <p:ext uri="{BB962C8B-B14F-4D97-AF65-F5344CB8AC3E}">
        <p14:creationId xmlns:p14="http://schemas.microsoft.com/office/powerpoint/2010/main" val="1294909519"/>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2002" y="1920706"/>
            <a:ext cx="4041695" cy="3223662"/>
          </a:xfrm>
          <a:prstGeom prst="rect">
            <a:avLst/>
          </a:prstGeom>
        </p:spPr>
        <p:txBody>
          <a:bodyPr vert="horz" lIns="113552" tIns="56775" rIns="113552" bIns="56775"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Таким образом, начало повседневной работы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от нас системного анализа направлений прогрессивного развития.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С другой стороны выбранный нами инновационный путь играет важную роль в формировании экономической целесообразности принимаемых решений.</a:t>
            </a:r>
          </a:p>
        </p:txBody>
      </p:sp>
      <p:sp>
        <p:nvSpPr>
          <p:cNvPr id="8" name="Прямоугольник 9"/>
          <p:cNvSpPr/>
          <p:nvPr userDrawn="1"/>
        </p:nvSpPr>
        <p:spPr>
          <a:xfrm>
            <a:off x="4825092" y="5639074"/>
            <a:ext cx="382188" cy="72208"/>
          </a:xfrm>
          <a:prstGeom prst="rect">
            <a:avLst/>
          </a:prstGeom>
          <a:solidFill>
            <a:srgbClr val="EF741F"/>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Прямоугольник 10"/>
          <p:cNvSpPr/>
          <p:nvPr userDrawn="1"/>
        </p:nvSpPr>
        <p:spPr>
          <a:xfrm>
            <a:off x="5684573" y="5624834"/>
            <a:ext cx="382188" cy="72208"/>
          </a:xfrm>
          <a:prstGeom prst="rect">
            <a:avLst/>
          </a:prstGeom>
          <a:solidFill>
            <a:srgbClr val="F04E23"/>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Прямоугольник 11"/>
          <p:cNvSpPr/>
          <p:nvPr userDrawn="1"/>
        </p:nvSpPr>
        <p:spPr>
          <a:xfrm>
            <a:off x="6620780" y="5639074"/>
            <a:ext cx="382188" cy="72208"/>
          </a:xfrm>
          <a:prstGeom prst="rect">
            <a:avLst/>
          </a:prstGeom>
          <a:solidFill>
            <a:srgbClr val="B4269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Прямоугольник 12"/>
          <p:cNvSpPr/>
          <p:nvPr userDrawn="1"/>
        </p:nvSpPr>
        <p:spPr>
          <a:xfrm>
            <a:off x="7427956" y="5639074"/>
            <a:ext cx="382188" cy="72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Прямоугольник 13"/>
          <p:cNvSpPr/>
          <p:nvPr userDrawn="1"/>
        </p:nvSpPr>
        <p:spPr>
          <a:xfrm>
            <a:off x="8244322" y="5639074"/>
            <a:ext cx="382188" cy="72208"/>
          </a:xfrm>
          <a:prstGeom prst="rect">
            <a:avLst/>
          </a:prstGeom>
          <a:solidFill>
            <a:srgbClr val="5EAEE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Заголовок 1"/>
          <p:cNvSpPr txBox="1">
            <a:spLocks/>
          </p:cNvSpPr>
          <p:nvPr userDrawn="1"/>
        </p:nvSpPr>
        <p:spPr>
          <a:xfrm>
            <a:off x="4765766" y="5675176"/>
            <a:ext cx="50084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4" name="Заголовок 1"/>
          <p:cNvSpPr txBox="1">
            <a:spLocks/>
          </p:cNvSpPr>
          <p:nvPr userDrawn="1"/>
        </p:nvSpPr>
        <p:spPr>
          <a:xfrm>
            <a:off x="5601693" y="5660937"/>
            <a:ext cx="54795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5" name="Заголовок 1"/>
          <p:cNvSpPr txBox="1">
            <a:spLocks/>
          </p:cNvSpPr>
          <p:nvPr userDrawn="1"/>
        </p:nvSpPr>
        <p:spPr>
          <a:xfrm>
            <a:off x="6527991" y="5675176"/>
            <a:ext cx="56776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6" name="Заголовок 1"/>
          <p:cNvSpPr txBox="1">
            <a:spLocks/>
          </p:cNvSpPr>
          <p:nvPr userDrawn="1"/>
        </p:nvSpPr>
        <p:spPr>
          <a:xfrm>
            <a:off x="7348056" y="5675176"/>
            <a:ext cx="54199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7" name="Заголовок 1"/>
          <p:cNvSpPr txBox="1">
            <a:spLocks/>
          </p:cNvSpPr>
          <p:nvPr userDrawn="1"/>
        </p:nvSpPr>
        <p:spPr>
          <a:xfrm>
            <a:off x="8168017" y="5675176"/>
            <a:ext cx="534800"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graphicFrame>
        <p:nvGraphicFramePr>
          <p:cNvPr id="18" name="Диаграмма 19"/>
          <p:cNvGraphicFramePr/>
          <p:nvPr userDrawn="1"/>
        </p:nvGraphicFramePr>
        <p:xfrm>
          <a:off x="4825094" y="1484156"/>
          <a:ext cx="3714973" cy="3830163"/>
        </p:xfrm>
        <a:graphic>
          <a:graphicData uri="http://schemas.openxmlformats.org/drawingml/2006/chart">
            <c:chart xmlns:c="http://schemas.openxmlformats.org/drawingml/2006/chart" xmlns:r="http://schemas.openxmlformats.org/officeDocument/2006/relationships" r:id="rId2"/>
          </a:graphicData>
        </a:graphic>
      </p:graphicFrame>
      <p:sp>
        <p:nvSpPr>
          <p:cNvPr id="19" name="Номер слайда 3"/>
          <p:cNvSpPr>
            <a:spLocks noGrp="1"/>
          </p:cNvSpPr>
          <p:nvPr>
            <p:ph type="sldNum" sz="quarter" idx="12"/>
          </p:nvPr>
        </p:nvSpPr>
        <p:spPr>
          <a:xfrm>
            <a:off x="6588224" y="6088215"/>
            <a:ext cx="2057400" cy="365125"/>
          </a:xfrm>
          <a:prstGeom prst="rect">
            <a:avLst/>
          </a:prstGeom>
        </p:spPr>
        <p:txBody>
          <a:bodyPr lIns="108000" tIns="108000" rIns="36000"/>
          <a:lstStyle/>
          <a:p>
            <a:pPr algn="r"/>
            <a:r>
              <a:rPr lang="en-US" sz="700">
                <a:solidFill>
                  <a:srgbClr val="333333"/>
                </a:solidFill>
                <a:latin typeface="Arial" charset="0"/>
                <a:ea typeface="Arial" charset="0"/>
                <a:cs typeface="Arial" charset="0"/>
              </a:rPr>
              <a:t>7</a:t>
            </a:r>
            <a:endParaRPr lang="ru-RU" sz="700" dirty="0">
              <a:solidFill>
                <a:srgbClr val="333333"/>
              </a:solidFill>
              <a:latin typeface="Arial" charset="0"/>
              <a:ea typeface="Arial" charset="0"/>
              <a:cs typeface="Arial" charset="0"/>
            </a:endParaRPr>
          </a:p>
        </p:txBody>
      </p:sp>
      <p:sp>
        <p:nvSpPr>
          <p:cNvPr id="20" name="Заголовок 1"/>
          <p:cNvSpPr txBox="1">
            <a:spLocks/>
          </p:cNvSpPr>
          <p:nvPr userDrawn="1"/>
        </p:nvSpPr>
        <p:spPr>
          <a:xfrm>
            <a:off x="323528" y="328782"/>
            <a:ext cx="4144224" cy="795962"/>
          </a:xfrm>
          <a:prstGeom prst="rect">
            <a:avLst/>
          </a:prstGeom>
        </p:spPr>
        <p:txBody>
          <a:bodyPr vert="horz" lIns="208800" tIns="72000" rIns="238502" bIns="119252"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3200" b="1" i="0" u="none" strike="noStrike" kern="1200" cap="none" spc="0" normalizeH="0" baseline="0" noProof="0" dirty="0">
                <a:ln>
                  <a:noFill/>
                </a:ln>
                <a:solidFill>
                  <a:srgbClr val="333333"/>
                </a:solidFill>
                <a:effectLst/>
                <a:uLnTx/>
                <a:uFillTx/>
                <a:latin typeface="Arial" charset="0"/>
                <a:ea typeface="Arial" charset="0"/>
                <a:cs typeface="Arial" charset="0"/>
              </a:rPr>
              <a:t>Заголовок</a:t>
            </a:r>
          </a:p>
        </p:txBody>
      </p:sp>
      <p:sp>
        <p:nvSpPr>
          <p:cNvPr id="21" name="Прямоугольник 7"/>
          <p:cNvSpPr/>
          <p:nvPr userDrawn="1"/>
        </p:nvSpPr>
        <p:spPr>
          <a:xfrm>
            <a:off x="446136" y="6218304"/>
            <a:ext cx="2520280" cy="190600"/>
          </a:xfrm>
          <a:prstGeom prst="rect">
            <a:avLst/>
          </a:prstGeom>
        </p:spPr>
        <p:txBody>
          <a:bodyPr wrap="square" lIns="92153" tIns="36000" rIns="72000" bIns="46077">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33333"/>
                </a:solidFill>
                <a:effectLst/>
                <a:uLnTx/>
                <a:uFillTx/>
                <a:latin typeface="Arial" charset="0"/>
                <a:ea typeface="Arial" charset="0"/>
                <a:cs typeface="Arial" charset="0"/>
              </a:rPr>
              <a:t>Место для указания источников и сносок</a:t>
            </a:r>
          </a:p>
        </p:txBody>
      </p:sp>
    </p:spTree>
    <p:extLst>
      <p:ext uri="{BB962C8B-B14F-4D97-AF65-F5344CB8AC3E}">
        <p14:creationId xmlns:p14="http://schemas.microsoft.com/office/powerpoint/2010/main" val="2988146172"/>
      </p:ext>
    </p:extLst>
  </p:cSld>
  <p:clrMapOvr>
    <a:masterClrMapping/>
  </p:clrMapOvr>
  <p:extLst>
    <p:ext uri="{DCECCB84-F9BA-43D5-87BE-67443E8EF086}">
      <p15:sldGuideLst xmlns:p15="http://schemas.microsoft.com/office/powerpoint/2012/main">
        <p15:guide id="1" pos="500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Слайд с полями">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extLst>
              <p:ext uri="{D42A27DB-BD31-4B8C-83A1-F6EECF244321}">
                <p14:modId xmlns:p14="http://schemas.microsoft.com/office/powerpoint/2010/main" val="219153065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val="0"/>
              </a:ext>
            </a:extLst>
          </a:blip>
          <a:srcRect l="78749" t="6300" r="5501" b="86350"/>
          <a:stretch/>
        </p:blipFill>
        <p:spPr>
          <a:xfrm>
            <a:off x="7696940" y="302955"/>
            <a:ext cx="1329378" cy="504056"/>
          </a:xfrm>
          <a:prstGeom prst="rect">
            <a:avLst/>
          </a:prstGeom>
        </p:spPr>
      </p:pic>
      <p:sp>
        <p:nvSpPr>
          <p:cNvPr id="9"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0"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1823829295"/>
      </p:ext>
    </p:extLst>
  </p:cSld>
  <p:clrMapOvr>
    <a:masterClrMapping/>
  </p:clrMapOvr>
  <p:extLst>
    <p:ext uri="{DCECCB84-F9BA-43D5-87BE-67443E8EF086}">
      <p15:sldGuideLst xmlns:p15="http://schemas.microsoft.com/office/powerpoint/2012/main">
        <p15:guide id="1" pos="75" userDrawn="1">
          <p15:clr>
            <a:srgbClr val="FBAE40"/>
          </p15:clr>
        </p15:guide>
        <p15:guide id="2" pos="5685" userDrawn="1">
          <p15:clr>
            <a:srgbClr val="FBAE40"/>
          </p15:clr>
        </p15:guide>
        <p15:guide id="3" orient="horz" pos="4020" userDrawn="1">
          <p15:clr>
            <a:srgbClr val="FBAE40"/>
          </p15:clr>
        </p15:guide>
        <p15:guide id="4" orient="horz" pos="663" userDrawn="1">
          <p15:clr>
            <a:srgbClr val="FBAE40"/>
          </p15:clr>
        </p15:guide>
        <p15:guide id="5" orient="horz" pos="365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Основно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Объект 2" hidden="1"/>
                      <p:cNvPicPr/>
                      <p:nvPr/>
                    </p:nvPicPr>
                    <p:blipFill>
                      <a:blip r:embed="rId4"/>
                      <a:stretch>
                        <a:fillRect/>
                      </a:stretch>
                    </p:blipFill>
                    <p:spPr>
                      <a:xfrm>
                        <a:off x="1623" y="1625"/>
                        <a:ext cx="1619" cy="1619"/>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
        <p:nvSpPr>
          <p:cNvPr id="5" name="Slide Number"/>
          <p:cNvSpPr txBox="1">
            <a:spLocks/>
          </p:cNvSpPr>
          <p:nvPr userDrawn="1"/>
        </p:nvSpPr>
        <p:spPr>
          <a:xfrm>
            <a:off x="8719605" y="6566446"/>
            <a:ext cx="213008"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en-US" sz="1020" smtClean="0"/>
              <a:pPr lvl="0"/>
              <a:t>‹#›</a:t>
            </a:fld>
            <a:endParaRPr lang="en-US" sz="1020" dirty="0"/>
          </a:p>
        </p:txBody>
      </p:sp>
      <p:sp>
        <p:nvSpPr>
          <p:cNvPr id="4" name="Текст 3"/>
          <p:cNvSpPr>
            <a:spLocks noGrp="1"/>
          </p:cNvSpPr>
          <p:nvPr>
            <p:ph type="body" sz="quarter" idx="10" hasCustomPrompt="1"/>
          </p:nvPr>
        </p:nvSpPr>
        <p:spPr>
          <a:xfrm>
            <a:off x="116059" y="6463093"/>
            <a:ext cx="8541896" cy="395672"/>
          </a:xfrm>
          <a:prstGeom prst="rect">
            <a:avLst/>
          </a:prstGeom>
        </p:spPr>
        <p:txBody>
          <a:bodyPr lIns="91430" tIns="45715" rIns="91430" bIns="45715"/>
          <a:lstStyle>
            <a:lvl1pPr>
              <a:defRPr sz="714"/>
            </a:lvl1pPr>
          </a:lstStyle>
          <a:p>
            <a:pPr lvl="0"/>
            <a:r>
              <a:rPr lang="ru-RU" dirty="0"/>
              <a:t>Сноски</a:t>
            </a:r>
          </a:p>
          <a:p>
            <a:pPr lvl="0"/>
            <a:r>
              <a:rPr lang="ru-RU" dirty="0"/>
              <a:t>Источники</a:t>
            </a:r>
          </a:p>
        </p:txBody>
      </p:sp>
    </p:spTree>
    <p:extLst>
      <p:ext uri="{BB962C8B-B14F-4D97-AF65-F5344CB8AC3E}">
        <p14:creationId xmlns:p14="http://schemas.microsoft.com/office/powerpoint/2010/main" val="2032771390"/>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Основно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623" y="162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Объект 2" hidden="1"/>
                      <p:cNvPicPr/>
                      <p:nvPr/>
                    </p:nvPicPr>
                    <p:blipFill>
                      <a:blip r:embed="rId4"/>
                      <a:stretch>
                        <a:fillRect/>
                      </a:stretch>
                    </p:blipFill>
                    <p:spPr>
                      <a:xfrm>
                        <a:off x="1623" y="1625"/>
                        <a:ext cx="1619" cy="1619"/>
                      </a:xfrm>
                      <a:prstGeom prst="rect">
                        <a:avLst/>
                      </a:prstGeom>
                    </p:spPr>
                  </p:pic>
                </p:oleObj>
              </mc:Fallback>
            </mc:AlternateContent>
          </a:graphicData>
        </a:graphic>
      </p:graphicFrame>
      <p:sp>
        <p:nvSpPr>
          <p:cNvPr id="2" name="Заголовок 1"/>
          <p:cNvSpPr>
            <a:spLocks noGrp="1"/>
          </p:cNvSpPr>
          <p:nvPr>
            <p:ph type="title"/>
          </p:nvPr>
        </p:nvSpPr>
        <p:spPr/>
        <p:txBody>
          <a:bodyPr/>
          <a:lstStyle/>
          <a:p>
            <a:r>
              <a:rPr lang="ru-RU"/>
              <a:t>Образец заголовка</a:t>
            </a:r>
          </a:p>
        </p:txBody>
      </p:sp>
      <p:sp>
        <p:nvSpPr>
          <p:cNvPr id="5" name="Slide Number"/>
          <p:cNvSpPr txBox="1">
            <a:spLocks/>
          </p:cNvSpPr>
          <p:nvPr userDrawn="1"/>
        </p:nvSpPr>
        <p:spPr>
          <a:xfrm>
            <a:off x="8719605" y="6566446"/>
            <a:ext cx="213008"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lvl="0"/>
            <a:fld id="{42C328C1-A84F-4A39-A664-DBA00541A8C6}" type="slidenum">
              <a:rPr lang="en-US" sz="1020" smtClean="0"/>
              <a:pPr lvl="0"/>
              <a:t>‹#›</a:t>
            </a:fld>
            <a:endParaRPr lang="en-US" sz="1020" dirty="0"/>
          </a:p>
        </p:txBody>
      </p:sp>
      <p:sp>
        <p:nvSpPr>
          <p:cNvPr id="4" name="Текст 3"/>
          <p:cNvSpPr>
            <a:spLocks noGrp="1"/>
          </p:cNvSpPr>
          <p:nvPr>
            <p:ph type="body" sz="quarter" idx="10" hasCustomPrompt="1"/>
          </p:nvPr>
        </p:nvSpPr>
        <p:spPr>
          <a:xfrm>
            <a:off x="116059" y="6463093"/>
            <a:ext cx="8541896" cy="395672"/>
          </a:xfrm>
          <a:prstGeom prst="rect">
            <a:avLst/>
          </a:prstGeom>
        </p:spPr>
        <p:txBody>
          <a:bodyPr lIns="91430" tIns="45715" rIns="91430" bIns="45715"/>
          <a:lstStyle>
            <a:lvl1pPr>
              <a:defRPr sz="714"/>
            </a:lvl1pPr>
          </a:lstStyle>
          <a:p>
            <a:pPr lvl="0"/>
            <a:r>
              <a:rPr lang="ru-RU" dirty="0"/>
              <a:t>Сноски</a:t>
            </a:r>
          </a:p>
          <a:p>
            <a:pPr lvl="0"/>
            <a:r>
              <a:rPr lang="ru-RU" dirty="0"/>
              <a:t>Источники</a:t>
            </a:r>
          </a:p>
        </p:txBody>
      </p:sp>
    </p:spTree>
    <p:extLst>
      <p:ext uri="{BB962C8B-B14F-4D97-AF65-F5344CB8AC3E}">
        <p14:creationId xmlns:p14="http://schemas.microsoft.com/office/powerpoint/2010/main" val="692671072"/>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2003" y="1920706"/>
            <a:ext cx="4041695" cy="3223662"/>
          </a:xfrm>
          <a:prstGeom prst="rect">
            <a:avLst/>
          </a:prstGeom>
        </p:spPr>
        <p:txBody>
          <a:bodyPr vert="horz" lIns="104817" tIns="52408" rIns="104817" bIns="52408" rtlCol="0" anchor="ctr">
            <a:noAutofit/>
          </a:bodyPr>
          <a:lstStyle/>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Таким образом, начало повседневной работы </a:t>
            </a:r>
          </a:p>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a:t>
            </a:r>
          </a:p>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от нас системного анализа направлений прогрессивного развития. </a:t>
            </a:r>
          </a:p>
          <a:p>
            <a:pPr marL="0" marR="0" lvl="0" indent="0" algn="l" defTabSz="844083" rtl="0" eaLnBrk="1" fontAlgn="auto" latinLnBrk="0" hangingPunct="1">
              <a:lnSpc>
                <a:spcPct val="100000"/>
              </a:lnSpc>
              <a:spcBef>
                <a:spcPct val="0"/>
              </a:spcBef>
              <a:spcAft>
                <a:spcPts val="0"/>
              </a:spcAft>
              <a:buClrTx/>
              <a:buSzTx/>
              <a:buFontTx/>
              <a:buNone/>
              <a:tabLst/>
              <a:defRPr/>
            </a:pPr>
            <a:endPar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endParaRPr>
          </a:p>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С другой стороны выбранный нами инновационный путь играет важную роль в формировании экономической целесообразности принимаемых решений.</a:t>
            </a:r>
          </a:p>
        </p:txBody>
      </p:sp>
      <p:sp>
        <p:nvSpPr>
          <p:cNvPr id="8" name="Прямоугольник 9"/>
          <p:cNvSpPr/>
          <p:nvPr userDrawn="1"/>
        </p:nvSpPr>
        <p:spPr>
          <a:xfrm>
            <a:off x="4825092" y="5639074"/>
            <a:ext cx="382188" cy="72208"/>
          </a:xfrm>
          <a:prstGeom prst="rect">
            <a:avLst/>
          </a:prstGeom>
          <a:solidFill>
            <a:srgbClr val="EF741F"/>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Прямоугольник 10"/>
          <p:cNvSpPr/>
          <p:nvPr userDrawn="1"/>
        </p:nvSpPr>
        <p:spPr>
          <a:xfrm>
            <a:off x="5684573" y="5624834"/>
            <a:ext cx="382188" cy="72208"/>
          </a:xfrm>
          <a:prstGeom prst="rect">
            <a:avLst/>
          </a:prstGeom>
          <a:solidFill>
            <a:srgbClr val="F04E23"/>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Прямоугольник 11"/>
          <p:cNvSpPr/>
          <p:nvPr userDrawn="1"/>
        </p:nvSpPr>
        <p:spPr>
          <a:xfrm>
            <a:off x="6620781" y="5639074"/>
            <a:ext cx="382188" cy="72208"/>
          </a:xfrm>
          <a:prstGeom prst="rect">
            <a:avLst/>
          </a:prstGeom>
          <a:solidFill>
            <a:srgbClr val="B42690"/>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Прямоугольник 12"/>
          <p:cNvSpPr/>
          <p:nvPr userDrawn="1"/>
        </p:nvSpPr>
        <p:spPr>
          <a:xfrm>
            <a:off x="7427956" y="5639074"/>
            <a:ext cx="382188" cy="72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Прямоугольник 13"/>
          <p:cNvSpPr/>
          <p:nvPr userDrawn="1"/>
        </p:nvSpPr>
        <p:spPr>
          <a:xfrm>
            <a:off x="8244323" y="5639074"/>
            <a:ext cx="382188" cy="72208"/>
          </a:xfrm>
          <a:prstGeom prst="rect">
            <a:avLst/>
          </a:prstGeom>
          <a:solidFill>
            <a:srgbClr val="5EAEE0"/>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Заголовок 1"/>
          <p:cNvSpPr txBox="1">
            <a:spLocks/>
          </p:cNvSpPr>
          <p:nvPr userDrawn="1"/>
        </p:nvSpPr>
        <p:spPr>
          <a:xfrm>
            <a:off x="4765767" y="5675176"/>
            <a:ext cx="500845"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4" name="Заголовок 1"/>
          <p:cNvSpPr txBox="1">
            <a:spLocks/>
          </p:cNvSpPr>
          <p:nvPr userDrawn="1"/>
        </p:nvSpPr>
        <p:spPr>
          <a:xfrm>
            <a:off x="5601693" y="5660937"/>
            <a:ext cx="547955"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5" name="Заголовок 1"/>
          <p:cNvSpPr txBox="1">
            <a:spLocks/>
          </p:cNvSpPr>
          <p:nvPr userDrawn="1"/>
        </p:nvSpPr>
        <p:spPr>
          <a:xfrm>
            <a:off x="6527991" y="5675176"/>
            <a:ext cx="567766"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6" name="Заголовок 1"/>
          <p:cNvSpPr txBox="1">
            <a:spLocks/>
          </p:cNvSpPr>
          <p:nvPr userDrawn="1"/>
        </p:nvSpPr>
        <p:spPr>
          <a:xfrm>
            <a:off x="7348056" y="5675176"/>
            <a:ext cx="541996"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7" name="Заголовок 1"/>
          <p:cNvSpPr txBox="1">
            <a:spLocks/>
          </p:cNvSpPr>
          <p:nvPr userDrawn="1"/>
        </p:nvSpPr>
        <p:spPr>
          <a:xfrm>
            <a:off x="8168017" y="5675176"/>
            <a:ext cx="534800"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graphicFrame>
        <p:nvGraphicFramePr>
          <p:cNvPr id="18" name="Диаграмма 19"/>
          <p:cNvGraphicFramePr/>
          <p:nvPr userDrawn="1"/>
        </p:nvGraphicFramePr>
        <p:xfrm>
          <a:off x="4825095" y="1484158"/>
          <a:ext cx="3714973" cy="3830163"/>
        </p:xfrm>
        <a:graphic>
          <a:graphicData uri="http://schemas.openxmlformats.org/drawingml/2006/chart">
            <c:chart xmlns:c="http://schemas.openxmlformats.org/drawingml/2006/chart" xmlns:r="http://schemas.openxmlformats.org/officeDocument/2006/relationships" r:id="rId2"/>
          </a:graphicData>
        </a:graphic>
      </p:graphicFrame>
      <p:sp>
        <p:nvSpPr>
          <p:cNvPr id="19" name="Номер слайда 3"/>
          <p:cNvSpPr>
            <a:spLocks noGrp="1"/>
          </p:cNvSpPr>
          <p:nvPr>
            <p:ph type="sldNum" sz="quarter" idx="12"/>
          </p:nvPr>
        </p:nvSpPr>
        <p:spPr>
          <a:xfrm>
            <a:off x="6588224" y="6088217"/>
            <a:ext cx="2057400" cy="365125"/>
          </a:xfrm>
          <a:prstGeom prst="rect">
            <a:avLst/>
          </a:prstGeom>
        </p:spPr>
        <p:txBody>
          <a:bodyPr lIns="108000" tIns="108000" rIns="36000"/>
          <a:lstStyle/>
          <a:p>
            <a:pPr algn="r" defTabSz="844083"/>
            <a:r>
              <a:rPr lang="en-US" sz="646">
                <a:solidFill>
                  <a:srgbClr val="333333"/>
                </a:solidFill>
                <a:latin typeface="Arial" charset="0"/>
                <a:ea typeface="Arial" charset="0"/>
                <a:cs typeface="Arial" charset="0"/>
              </a:rPr>
              <a:t>7</a:t>
            </a:r>
            <a:endParaRPr lang="ru-RU" sz="646" dirty="0">
              <a:solidFill>
                <a:srgbClr val="333333"/>
              </a:solidFill>
              <a:latin typeface="Arial" charset="0"/>
              <a:ea typeface="Arial" charset="0"/>
              <a:cs typeface="Arial" charset="0"/>
            </a:endParaRPr>
          </a:p>
        </p:txBody>
      </p:sp>
      <p:sp>
        <p:nvSpPr>
          <p:cNvPr id="20" name="Заголовок 1"/>
          <p:cNvSpPr txBox="1">
            <a:spLocks/>
          </p:cNvSpPr>
          <p:nvPr userDrawn="1"/>
        </p:nvSpPr>
        <p:spPr>
          <a:xfrm>
            <a:off x="323528" y="328782"/>
            <a:ext cx="4144224" cy="795962"/>
          </a:xfrm>
          <a:prstGeom prst="rect">
            <a:avLst/>
          </a:prstGeom>
        </p:spPr>
        <p:txBody>
          <a:bodyPr vert="horz" lIns="192738" tIns="66462" rIns="220156" bIns="110079" rtlCol="0" anchor="ctr">
            <a:noAutofit/>
          </a:bodyPr>
          <a:lstStyle/>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2954" b="1" i="0" u="none" strike="noStrike" kern="1200" cap="none" spc="0" normalizeH="0" baseline="0" noProof="0" dirty="0">
                <a:ln>
                  <a:noFill/>
                </a:ln>
                <a:solidFill>
                  <a:srgbClr val="333333"/>
                </a:solidFill>
                <a:effectLst/>
                <a:uLnTx/>
                <a:uFillTx/>
                <a:latin typeface="Arial" charset="0"/>
                <a:ea typeface="Arial" charset="0"/>
                <a:cs typeface="Arial" charset="0"/>
              </a:rPr>
              <a:t>Заголовок</a:t>
            </a:r>
          </a:p>
        </p:txBody>
      </p:sp>
      <p:sp>
        <p:nvSpPr>
          <p:cNvPr id="21" name="Прямоугольник 7"/>
          <p:cNvSpPr/>
          <p:nvPr userDrawn="1"/>
        </p:nvSpPr>
        <p:spPr>
          <a:xfrm>
            <a:off x="446136" y="6218309"/>
            <a:ext cx="2520280" cy="182265"/>
          </a:xfrm>
          <a:prstGeom prst="rect">
            <a:avLst/>
          </a:prstGeom>
        </p:spPr>
        <p:txBody>
          <a:bodyPr wrap="square" lIns="85064" tIns="33231" rIns="66462" bIns="42533">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ru-RU" sz="646" b="0" i="0" u="none" strike="noStrike" kern="1200" cap="none" spc="0" normalizeH="0" baseline="0" noProof="0" dirty="0">
                <a:ln>
                  <a:noFill/>
                </a:ln>
                <a:solidFill>
                  <a:srgbClr val="333333"/>
                </a:solidFill>
                <a:effectLst/>
                <a:uLnTx/>
                <a:uFillTx/>
                <a:latin typeface="Arial" charset="0"/>
                <a:ea typeface="Arial" charset="0"/>
                <a:cs typeface="Arial" charset="0"/>
              </a:rPr>
              <a:t>Место для указания источников и сносок</a:t>
            </a:r>
          </a:p>
        </p:txBody>
      </p:sp>
    </p:spTree>
    <p:extLst>
      <p:ext uri="{BB962C8B-B14F-4D97-AF65-F5344CB8AC3E}">
        <p14:creationId xmlns:p14="http://schemas.microsoft.com/office/powerpoint/2010/main" val="2158465448"/>
      </p:ext>
    </p:extLst>
  </p:cSld>
  <p:clrMapOvr>
    <a:masterClrMapping/>
  </p:clrMapOvr>
  <p:extLst>
    <p:ext uri="{DCECCB84-F9BA-43D5-87BE-67443E8EF086}">
      <p15:sldGuideLst xmlns:p15="http://schemas.microsoft.com/office/powerpoint/2012/main">
        <p15:guide id="1" pos="5003"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defTabSz="844083"/>
            <a:fld id="{0649A0BD-6450-4A37-A415-C9BD94F79D05}" type="slidenum">
              <a:rPr lang="ru-RU" sz="1662" smtClean="0">
                <a:solidFill>
                  <a:srgbClr val="605D5C"/>
                </a:solidFill>
              </a:rPr>
              <a:pPr defTabSz="844083"/>
              <a:t>‹#›</a:t>
            </a:fld>
            <a:endParaRPr lang="ru-RU" sz="1662" dirty="0">
              <a:solidFill>
                <a:srgbClr val="605D5C"/>
              </a:solidFill>
            </a:endParaRPr>
          </a:p>
        </p:txBody>
      </p:sp>
      <p:sp>
        <p:nvSpPr>
          <p:cNvPr id="4" name="Содержимое 7"/>
          <p:cNvSpPr>
            <a:spLocks noGrp="1"/>
          </p:cNvSpPr>
          <p:nvPr>
            <p:ph sz="quarter" idx="13"/>
          </p:nvPr>
        </p:nvSpPr>
        <p:spPr>
          <a:xfrm>
            <a:off x="182769" y="1414800"/>
            <a:ext cx="8776246" cy="4896000"/>
          </a:xfrm>
        </p:spPr>
        <p:txBody>
          <a:bodyPr/>
          <a:lstStyle/>
          <a:p>
            <a:pPr lvl="0"/>
            <a:r>
              <a:rPr lang="ru-RU" dirty="0"/>
              <a:t>Образец текста</a:t>
            </a:r>
          </a:p>
          <a:p>
            <a:pPr lvl="1"/>
            <a:r>
              <a:rPr lang="ru-RU" dirty="0"/>
              <a:t>Второй уровень</a:t>
            </a:r>
          </a:p>
        </p:txBody>
      </p:sp>
      <p:sp>
        <p:nvSpPr>
          <p:cNvPr id="5" name="Текст 8"/>
          <p:cNvSpPr>
            <a:spLocks noGrp="1"/>
          </p:cNvSpPr>
          <p:nvPr>
            <p:ph type="body" sz="quarter" idx="12"/>
          </p:nvPr>
        </p:nvSpPr>
        <p:spPr>
          <a:xfrm>
            <a:off x="182775" y="6552000"/>
            <a:ext cx="6978462" cy="241200"/>
          </a:xfrm>
        </p:spPr>
        <p:txBody>
          <a:bodyPr lIns="0" tIns="0" rIns="0" bIns="0">
            <a:normAutofit/>
          </a:bodyPr>
          <a:lstStyle>
            <a:lvl1pPr marL="169464" indent="-169464" algn="l">
              <a:spcAft>
                <a:spcPts val="0"/>
              </a:spcAft>
              <a:buFontTx/>
              <a:buNone/>
              <a:defRPr sz="738"/>
            </a:lvl1pPr>
            <a:lvl2pPr>
              <a:defRPr/>
            </a:lvl2pPr>
          </a:lstStyle>
          <a:p>
            <a:pPr lvl="0"/>
            <a:r>
              <a:rPr lang="ru-RU" dirty="0"/>
              <a:t>Образец текста</a:t>
            </a:r>
          </a:p>
        </p:txBody>
      </p:sp>
    </p:spTree>
    <p:extLst>
      <p:ext uri="{BB962C8B-B14F-4D97-AF65-F5344CB8AC3E}">
        <p14:creationId xmlns:p14="http://schemas.microsoft.com/office/powerpoint/2010/main" val="33193329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2002" y="1920706"/>
            <a:ext cx="4041695" cy="3223662"/>
          </a:xfrm>
          <a:prstGeom prst="rect">
            <a:avLst/>
          </a:prstGeom>
        </p:spPr>
        <p:txBody>
          <a:bodyPr vert="horz" lIns="113552" tIns="56775" rIns="113552" bIns="56775"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Таким образом, начало повседневной работы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от нас системного анализа направлений прогрессивного развития. </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200" b="0" i="0" u="none" strike="noStrike" kern="1200" cap="none" spc="0" normalizeH="0" baseline="0" noProof="0" dirty="0">
                <a:ln>
                  <a:noFill/>
                </a:ln>
                <a:solidFill>
                  <a:srgbClr val="333333"/>
                </a:solidFill>
                <a:effectLst/>
                <a:uLnTx/>
                <a:uFillTx/>
                <a:latin typeface="Arial" charset="0"/>
                <a:ea typeface="Arial" charset="0"/>
                <a:cs typeface="Arial" charset="0"/>
              </a:rPr>
              <a:t>С другой стороны выбранный нами инновационный путь играет важную роль в формировании экономической целесообразности принимаемых решений.</a:t>
            </a:r>
          </a:p>
        </p:txBody>
      </p:sp>
      <p:sp>
        <p:nvSpPr>
          <p:cNvPr id="8" name="Прямоугольник 9"/>
          <p:cNvSpPr/>
          <p:nvPr userDrawn="1"/>
        </p:nvSpPr>
        <p:spPr>
          <a:xfrm>
            <a:off x="4825092" y="5639074"/>
            <a:ext cx="382188" cy="72208"/>
          </a:xfrm>
          <a:prstGeom prst="rect">
            <a:avLst/>
          </a:prstGeom>
          <a:solidFill>
            <a:srgbClr val="EF741F"/>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Прямоугольник 10"/>
          <p:cNvSpPr/>
          <p:nvPr userDrawn="1"/>
        </p:nvSpPr>
        <p:spPr>
          <a:xfrm>
            <a:off x="5684573" y="5624834"/>
            <a:ext cx="382188" cy="72208"/>
          </a:xfrm>
          <a:prstGeom prst="rect">
            <a:avLst/>
          </a:prstGeom>
          <a:solidFill>
            <a:srgbClr val="F04E23"/>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Прямоугольник 11"/>
          <p:cNvSpPr/>
          <p:nvPr userDrawn="1"/>
        </p:nvSpPr>
        <p:spPr>
          <a:xfrm>
            <a:off x="6620780" y="5639074"/>
            <a:ext cx="382188" cy="72208"/>
          </a:xfrm>
          <a:prstGeom prst="rect">
            <a:avLst/>
          </a:prstGeom>
          <a:solidFill>
            <a:srgbClr val="B4269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Прямоугольник 12"/>
          <p:cNvSpPr/>
          <p:nvPr userDrawn="1"/>
        </p:nvSpPr>
        <p:spPr>
          <a:xfrm>
            <a:off x="7427956" y="5639074"/>
            <a:ext cx="382188" cy="72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Прямоугольник 13"/>
          <p:cNvSpPr/>
          <p:nvPr userDrawn="1"/>
        </p:nvSpPr>
        <p:spPr>
          <a:xfrm>
            <a:off x="8244322" y="5639074"/>
            <a:ext cx="382188" cy="72208"/>
          </a:xfrm>
          <a:prstGeom prst="rect">
            <a:avLst/>
          </a:prstGeom>
          <a:solidFill>
            <a:srgbClr val="5EAEE0"/>
          </a:solidFill>
          <a:ln>
            <a:noFill/>
          </a:ln>
        </p:spPr>
        <p:style>
          <a:lnRef idx="2">
            <a:schemeClr val="accent1">
              <a:shade val="50000"/>
            </a:schemeClr>
          </a:lnRef>
          <a:fillRef idx="1">
            <a:schemeClr val="accent1"/>
          </a:fillRef>
          <a:effectRef idx="0">
            <a:schemeClr val="accent1"/>
          </a:effectRef>
          <a:fontRef idx="minor">
            <a:schemeClr val="lt1"/>
          </a:fontRef>
        </p:style>
        <p:txBody>
          <a:bodyPr lIns="78195" tIns="39099" rIns="78195" bIns="390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Заголовок 1"/>
          <p:cNvSpPr txBox="1">
            <a:spLocks/>
          </p:cNvSpPr>
          <p:nvPr userDrawn="1"/>
        </p:nvSpPr>
        <p:spPr>
          <a:xfrm>
            <a:off x="4765766" y="5675176"/>
            <a:ext cx="50084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4" name="Заголовок 1"/>
          <p:cNvSpPr txBox="1">
            <a:spLocks/>
          </p:cNvSpPr>
          <p:nvPr userDrawn="1"/>
        </p:nvSpPr>
        <p:spPr>
          <a:xfrm>
            <a:off x="5601693" y="5660937"/>
            <a:ext cx="547955"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5" name="Заголовок 1"/>
          <p:cNvSpPr txBox="1">
            <a:spLocks/>
          </p:cNvSpPr>
          <p:nvPr userDrawn="1"/>
        </p:nvSpPr>
        <p:spPr>
          <a:xfrm>
            <a:off x="6527991" y="5675176"/>
            <a:ext cx="56776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6" name="Заголовок 1"/>
          <p:cNvSpPr txBox="1">
            <a:spLocks/>
          </p:cNvSpPr>
          <p:nvPr userDrawn="1"/>
        </p:nvSpPr>
        <p:spPr>
          <a:xfrm>
            <a:off x="7348056" y="5675176"/>
            <a:ext cx="541996"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7" name="Заголовок 1"/>
          <p:cNvSpPr txBox="1">
            <a:spLocks/>
          </p:cNvSpPr>
          <p:nvPr userDrawn="1"/>
        </p:nvSpPr>
        <p:spPr>
          <a:xfrm>
            <a:off x="8168017" y="5675176"/>
            <a:ext cx="534800" cy="429822"/>
          </a:xfrm>
          <a:prstGeom prst="rect">
            <a:avLst/>
          </a:prstGeom>
        </p:spPr>
        <p:txBody>
          <a:bodyPr vert="horz" lIns="113552" tIns="56775" rIns="113552" bIns="56775"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800"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graphicFrame>
        <p:nvGraphicFramePr>
          <p:cNvPr id="18" name="Диаграмма 19"/>
          <p:cNvGraphicFramePr/>
          <p:nvPr userDrawn="1"/>
        </p:nvGraphicFramePr>
        <p:xfrm>
          <a:off x="4825094" y="1484156"/>
          <a:ext cx="3714973" cy="3830163"/>
        </p:xfrm>
        <a:graphic>
          <a:graphicData uri="http://schemas.openxmlformats.org/drawingml/2006/chart">
            <c:chart xmlns:c="http://schemas.openxmlformats.org/drawingml/2006/chart" xmlns:r="http://schemas.openxmlformats.org/officeDocument/2006/relationships" r:id="rId2"/>
          </a:graphicData>
        </a:graphic>
      </p:graphicFrame>
      <p:sp>
        <p:nvSpPr>
          <p:cNvPr id="19" name="Номер слайда 3"/>
          <p:cNvSpPr>
            <a:spLocks noGrp="1"/>
          </p:cNvSpPr>
          <p:nvPr>
            <p:ph type="sldNum" sz="quarter" idx="12"/>
          </p:nvPr>
        </p:nvSpPr>
        <p:spPr>
          <a:xfrm>
            <a:off x="6588224" y="6088215"/>
            <a:ext cx="2057400" cy="365125"/>
          </a:xfrm>
          <a:prstGeom prst="rect">
            <a:avLst/>
          </a:prstGeom>
        </p:spPr>
        <p:txBody>
          <a:bodyPr lIns="108000" tIns="108000" rIns="36000"/>
          <a:lstStyle/>
          <a:p>
            <a:pPr algn="r"/>
            <a:r>
              <a:rPr lang="en-US" sz="700">
                <a:solidFill>
                  <a:srgbClr val="333333"/>
                </a:solidFill>
                <a:latin typeface="Arial" charset="0"/>
                <a:ea typeface="Arial" charset="0"/>
                <a:cs typeface="Arial" charset="0"/>
              </a:rPr>
              <a:t>7</a:t>
            </a:r>
            <a:endParaRPr lang="ru-RU" sz="700" dirty="0">
              <a:solidFill>
                <a:srgbClr val="333333"/>
              </a:solidFill>
              <a:latin typeface="Arial" charset="0"/>
              <a:ea typeface="Arial" charset="0"/>
              <a:cs typeface="Arial" charset="0"/>
            </a:endParaRPr>
          </a:p>
        </p:txBody>
      </p:sp>
      <p:sp>
        <p:nvSpPr>
          <p:cNvPr id="20" name="Заголовок 1"/>
          <p:cNvSpPr txBox="1">
            <a:spLocks/>
          </p:cNvSpPr>
          <p:nvPr userDrawn="1"/>
        </p:nvSpPr>
        <p:spPr>
          <a:xfrm>
            <a:off x="323528" y="328782"/>
            <a:ext cx="4144224" cy="795962"/>
          </a:xfrm>
          <a:prstGeom prst="rect">
            <a:avLst/>
          </a:prstGeom>
        </p:spPr>
        <p:txBody>
          <a:bodyPr vert="horz" lIns="208800" tIns="72000" rIns="238502" bIns="119252"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3200" b="1" i="0" u="none" strike="noStrike" kern="1200" cap="none" spc="0" normalizeH="0" baseline="0" noProof="0" dirty="0">
                <a:ln>
                  <a:noFill/>
                </a:ln>
                <a:solidFill>
                  <a:srgbClr val="333333"/>
                </a:solidFill>
                <a:effectLst/>
                <a:uLnTx/>
                <a:uFillTx/>
                <a:latin typeface="Arial" charset="0"/>
                <a:ea typeface="Arial" charset="0"/>
                <a:cs typeface="Arial" charset="0"/>
              </a:rPr>
              <a:t>Заголовок</a:t>
            </a:r>
          </a:p>
        </p:txBody>
      </p:sp>
      <p:sp>
        <p:nvSpPr>
          <p:cNvPr id="21" name="Прямоугольник 7"/>
          <p:cNvSpPr/>
          <p:nvPr userDrawn="1"/>
        </p:nvSpPr>
        <p:spPr>
          <a:xfrm>
            <a:off x="446136" y="6218304"/>
            <a:ext cx="2520280" cy="190600"/>
          </a:xfrm>
          <a:prstGeom prst="rect">
            <a:avLst/>
          </a:prstGeom>
        </p:spPr>
        <p:txBody>
          <a:bodyPr wrap="square" lIns="92153" tIns="36000" rIns="72000" bIns="46077">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700" b="0" i="0" u="none" strike="noStrike" kern="1200" cap="none" spc="0" normalizeH="0" baseline="0" noProof="0" dirty="0">
                <a:ln>
                  <a:noFill/>
                </a:ln>
                <a:solidFill>
                  <a:srgbClr val="333333"/>
                </a:solidFill>
                <a:effectLst/>
                <a:uLnTx/>
                <a:uFillTx/>
                <a:latin typeface="Arial" charset="0"/>
                <a:ea typeface="Arial" charset="0"/>
                <a:cs typeface="Arial" charset="0"/>
              </a:rPr>
              <a:t>Место для указания источников и сносок</a:t>
            </a:r>
          </a:p>
        </p:txBody>
      </p:sp>
    </p:spTree>
    <p:extLst>
      <p:ext uri="{BB962C8B-B14F-4D97-AF65-F5344CB8AC3E}">
        <p14:creationId xmlns:p14="http://schemas.microsoft.com/office/powerpoint/2010/main" val="3226134481"/>
      </p:ext>
    </p:extLst>
  </p:cSld>
  <p:clrMapOvr>
    <a:masterClrMapping/>
  </p:clrMapOvr>
  <p:extLst>
    <p:ext uri="{DCECCB84-F9BA-43D5-87BE-67443E8EF086}">
      <p15:sldGuideLst xmlns:p15="http://schemas.microsoft.com/office/powerpoint/2012/main">
        <p15:guide id="1" pos="5003"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Заголовок 1"/>
          <p:cNvSpPr txBox="1">
            <a:spLocks/>
          </p:cNvSpPr>
          <p:nvPr userDrawn="1"/>
        </p:nvSpPr>
        <p:spPr>
          <a:xfrm>
            <a:off x="432003" y="1920706"/>
            <a:ext cx="4041695" cy="3223662"/>
          </a:xfrm>
          <a:prstGeom prst="rect">
            <a:avLst/>
          </a:prstGeom>
        </p:spPr>
        <p:txBody>
          <a:bodyPr vert="horz" lIns="104817" tIns="52408" rIns="104817" bIns="52408" rtlCol="0" anchor="ctr">
            <a:noAutofit/>
          </a:bodyPr>
          <a:lstStyle/>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Таким образом, начало повседневной работы </a:t>
            </a:r>
          </a:p>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по формированию позиции создает предпосылки качественно новых шагов для новых предложений. Соображения высшего порядка, а также дальнейшее развитие различных форм деятельности требует </a:t>
            </a:r>
          </a:p>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от нас системного анализа направлений прогрессивного развития. </a:t>
            </a:r>
          </a:p>
          <a:p>
            <a:pPr marL="0" marR="0" lvl="0" indent="0" algn="l" defTabSz="844083" rtl="0" eaLnBrk="1" fontAlgn="auto" latinLnBrk="0" hangingPunct="1">
              <a:lnSpc>
                <a:spcPct val="100000"/>
              </a:lnSpc>
              <a:spcBef>
                <a:spcPct val="0"/>
              </a:spcBef>
              <a:spcAft>
                <a:spcPts val="0"/>
              </a:spcAft>
              <a:buClrTx/>
              <a:buSzTx/>
              <a:buFontTx/>
              <a:buNone/>
              <a:tabLst/>
              <a:defRPr/>
            </a:pPr>
            <a:endPar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endParaRPr>
          </a:p>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1108" b="0" i="0" u="none" strike="noStrike" kern="1200" cap="none" spc="0" normalizeH="0" baseline="0" noProof="0" dirty="0">
                <a:ln>
                  <a:noFill/>
                </a:ln>
                <a:solidFill>
                  <a:srgbClr val="333333"/>
                </a:solidFill>
                <a:effectLst/>
                <a:uLnTx/>
                <a:uFillTx/>
                <a:latin typeface="Arial" charset="0"/>
                <a:ea typeface="Arial" charset="0"/>
                <a:cs typeface="Arial" charset="0"/>
              </a:rPr>
              <a:t>С другой стороны выбранный нами инновационный путь играет важную роль в формировании экономической целесообразности принимаемых решений.</a:t>
            </a:r>
          </a:p>
        </p:txBody>
      </p:sp>
      <p:sp>
        <p:nvSpPr>
          <p:cNvPr id="8" name="Прямоугольник 9"/>
          <p:cNvSpPr/>
          <p:nvPr userDrawn="1"/>
        </p:nvSpPr>
        <p:spPr>
          <a:xfrm>
            <a:off x="4825092" y="5639074"/>
            <a:ext cx="382188" cy="72208"/>
          </a:xfrm>
          <a:prstGeom prst="rect">
            <a:avLst/>
          </a:prstGeom>
          <a:solidFill>
            <a:srgbClr val="EF741F"/>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Прямоугольник 10"/>
          <p:cNvSpPr/>
          <p:nvPr userDrawn="1"/>
        </p:nvSpPr>
        <p:spPr>
          <a:xfrm>
            <a:off x="5684573" y="5624834"/>
            <a:ext cx="382188" cy="72208"/>
          </a:xfrm>
          <a:prstGeom prst="rect">
            <a:avLst/>
          </a:prstGeom>
          <a:solidFill>
            <a:srgbClr val="F04E23"/>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Прямоугольник 11"/>
          <p:cNvSpPr/>
          <p:nvPr userDrawn="1"/>
        </p:nvSpPr>
        <p:spPr>
          <a:xfrm>
            <a:off x="6620781" y="5639074"/>
            <a:ext cx="382188" cy="72208"/>
          </a:xfrm>
          <a:prstGeom prst="rect">
            <a:avLst/>
          </a:prstGeom>
          <a:solidFill>
            <a:srgbClr val="B42690"/>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Прямоугольник 12"/>
          <p:cNvSpPr/>
          <p:nvPr userDrawn="1"/>
        </p:nvSpPr>
        <p:spPr>
          <a:xfrm>
            <a:off x="7427956" y="5639074"/>
            <a:ext cx="382188" cy="7220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Прямоугольник 13"/>
          <p:cNvSpPr/>
          <p:nvPr userDrawn="1"/>
        </p:nvSpPr>
        <p:spPr>
          <a:xfrm>
            <a:off x="8244323" y="5639074"/>
            <a:ext cx="382188" cy="72208"/>
          </a:xfrm>
          <a:prstGeom prst="rect">
            <a:avLst/>
          </a:prstGeom>
          <a:solidFill>
            <a:srgbClr val="5EAEE0"/>
          </a:solidFill>
          <a:ln>
            <a:noFill/>
          </a:ln>
        </p:spPr>
        <p:style>
          <a:lnRef idx="2">
            <a:schemeClr val="accent1">
              <a:shade val="50000"/>
            </a:schemeClr>
          </a:lnRef>
          <a:fillRef idx="1">
            <a:schemeClr val="accent1"/>
          </a:fillRef>
          <a:effectRef idx="0">
            <a:schemeClr val="accent1"/>
          </a:effectRef>
          <a:fontRef idx="minor">
            <a:schemeClr val="lt1"/>
          </a:fontRef>
        </p:style>
        <p:txBody>
          <a:bodyPr lIns="72180" tIns="36091" rIns="72180" bIns="3609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ru-RU" sz="1662"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Заголовок 1"/>
          <p:cNvSpPr txBox="1">
            <a:spLocks/>
          </p:cNvSpPr>
          <p:nvPr userDrawn="1"/>
        </p:nvSpPr>
        <p:spPr>
          <a:xfrm>
            <a:off x="4765767" y="5675176"/>
            <a:ext cx="500845"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4" name="Заголовок 1"/>
          <p:cNvSpPr txBox="1">
            <a:spLocks/>
          </p:cNvSpPr>
          <p:nvPr userDrawn="1"/>
        </p:nvSpPr>
        <p:spPr>
          <a:xfrm>
            <a:off x="5601693" y="5660937"/>
            <a:ext cx="547955"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5" name="Заголовок 1"/>
          <p:cNvSpPr txBox="1">
            <a:spLocks/>
          </p:cNvSpPr>
          <p:nvPr userDrawn="1"/>
        </p:nvSpPr>
        <p:spPr>
          <a:xfrm>
            <a:off x="6527991" y="5675176"/>
            <a:ext cx="567766"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6" name="Заголовок 1"/>
          <p:cNvSpPr txBox="1">
            <a:spLocks/>
          </p:cNvSpPr>
          <p:nvPr userDrawn="1"/>
        </p:nvSpPr>
        <p:spPr>
          <a:xfrm>
            <a:off x="7348056" y="5675176"/>
            <a:ext cx="541996"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sp>
        <p:nvSpPr>
          <p:cNvPr id="17" name="Заголовок 1"/>
          <p:cNvSpPr txBox="1">
            <a:spLocks/>
          </p:cNvSpPr>
          <p:nvPr userDrawn="1"/>
        </p:nvSpPr>
        <p:spPr>
          <a:xfrm>
            <a:off x="8168017" y="5675176"/>
            <a:ext cx="534800" cy="429822"/>
          </a:xfrm>
          <a:prstGeom prst="rect">
            <a:avLst/>
          </a:prstGeom>
        </p:spPr>
        <p:txBody>
          <a:bodyPr vert="horz" lIns="104817" tIns="52408" rIns="104817" bIns="52408" rtlCol="0" anchor="ctr">
            <a:normAutofit/>
          </a:bodyPr>
          <a:lstStyle/>
          <a:p>
            <a:pPr marL="0" marR="0" lvl="0" indent="0" algn="ctr" defTabSz="844083" rtl="0" eaLnBrk="1" fontAlgn="auto" latinLnBrk="0" hangingPunct="1">
              <a:lnSpc>
                <a:spcPct val="100000"/>
              </a:lnSpc>
              <a:spcBef>
                <a:spcPct val="0"/>
              </a:spcBef>
              <a:spcAft>
                <a:spcPts val="0"/>
              </a:spcAft>
              <a:buClrTx/>
              <a:buSzTx/>
              <a:buFontTx/>
              <a:buNone/>
              <a:tabLst/>
              <a:defRPr/>
            </a:pPr>
            <a:r>
              <a:rPr kumimoji="0" lang="en-US" sz="738" b="0" i="0" u="none" strike="noStrike" kern="1200" cap="none" spc="0" normalizeH="0" baseline="0" noProof="0" dirty="0">
                <a:ln>
                  <a:noFill/>
                </a:ln>
                <a:solidFill>
                  <a:srgbClr val="333333"/>
                </a:solidFill>
                <a:effectLst/>
                <a:uLnTx/>
                <a:uFillTx/>
                <a:latin typeface="Arial" charset="0"/>
                <a:ea typeface="Arial" charset="0"/>
                <a:cs typeface="Arial" charset="0"/>
              </a:rPr>
              <a:t>1000</a:t>
            </a:r>
            <a:endParaRPr kumimoji="0" lang="ru-RU" sz="738" b="0" i="0" u="none" strike="noStrike" kern="1200" cap="none" spc="0" normalizeH="0" baseline="0" noProof="0" dirty="0">
              <a:ln>
                <a:noFill/>
              </a:ln>
              <a:solidFill>
                <a:srgbClr val="333333"/>
              </a:solidFill>
              <a:effectLst/>
              <a:uLnTx/>
              <a:uFillTx/>
              <a:latin typeface="Arial" charset="0"/>
              <a:ea typeface="Arial" charset="0"/>
              <a:cs typeface="Arial" charset="0"/>
            </a:endParaRPr>
          </a:p>
        </p:txBody>
      </p:sp>
      <p:graphicFrame>
        <p:nvGraphicFramePr>
          <p:cNvPr id="18" name="Диаграмма 19"/>
          <p:cNvGraphicFramePr/>
          <p:nvPr userDrawn="1"/>
        </p:nvGraphicFramePr>
        <p:xfrm>
          <a:off x="4825095" y="1484158"/>
          <a:ext cx="3714973" cy="3830163"/>
        </p:xfrm>
        <a:graphic>
          <a:graphicData uri="http://schemas.openxmlformats.org/drawingml/2006/chart">
            <c:chart xmlns:c="http://schemas.openxmlformats.org/drawingml/2006/chart" xmlns:r="http://schemas.openxmlformats.org/officeDocument/2006/relationships" r:id="rId2"/>
          </a:graphicData>
        </a:graphic>
      </p:graphicFrame>
      <p:sp>
        <p:nvSpPr>
          <p:cNvPr id="19" name="Номер слайда 3"/>
          <p:cNvSpPr>
            <a:spLocks noGrp="1"/>
          </p:cNvSpPr>
          <p:nvPr>
            <p:ph type="sldNum" sz="quarter" idx="12"/>
          </p:nvPr>
        </p:nvSpPr>
        <p:spPr>
          <a:xfrm>
            <a:off x="6588224" y="6088217"/>
            <a:ext cx="2057400" cy="365125"/>
          </a:xfrm>
          <a:prstGeom prst="rect">
            <a:avLst/>
          </a:prstGeom>
        </p:spPr>
        <p:txBody>
          <a:bodyPr lIns="108000" tIns="108000" rIns="36000"/>
          <a:lstStyle/>
          <a:p>
            <a:pPr algn="r" defTabSz="844083"/>
            <a:r>
              <a:rPr lang="en-US" sz="646">
                <a:solidFill>
                  <a:srgbClr val="333333"/>
                </a:solidFill>
                <a:latin typeface="Arial" charset="0"/>
                <a:ea typeface="Arial" charset="0"/>
                <a:cs typeface="Arial" charset="0"/>
              </a:rPr>
              <a:t>7</a:t>
            </a:r>
            <a:endParaRPr lang="ru-RU" sz="646" dirty="0">
              <a:solidFill>
                <a:srgbClr val="333333"/>
              </a:solidFill>
              <a:latin typeface="Arial" charset="0"/>
              <a:ea typeface="Arial" charset="0"/>
              <a:cs typeface="Arial" charset="0"/>
            </a:endParaRPr>
          </a:p>
        </p:txBody>
      </p:sp>
      <p:sp>
        <p:nvSpPr>
          <p:cNvPr id="20" name="Заголовок 1"/>
          <p:cNvSpPr txBox="1">
            <a:spLocks/>
          </p:cNvSpPr>
          <p:nvPr userDrawn="1"/>
        </p:nvSpPr>
        <p:spPr>
          <a:xfrm>
            <a:off x="323528" y="328782"/>
            <a:ext cx="4144224" cy="795962"/>
          </a:xfrm>
          <a:prstGeom prst="rect">
            <a:avLst/>
          </a:prstGeom>
        </p:spPr>
        <p:txBody>
          <a:bodyPr vert="horz" lIns="192738" tIns="66462" rIns="220156" bIns="110079" rtlCol="0" anchor="ctr">
            <a:noAutofit/>
          </a:bodyPr>
          <a:lstStyle/>
          <a:p>
            <a:pPr marL="0" marR="0" lvl="0" indent="0" algn="l" defTabSz="844083" rtl="0" eaLnBrk="1" fontAlgn="auto" latinLnBrk="0" hangingPunct="1">
              <a:lnSpc>
                <a:spcPct val="100000"/>
              </a:lnSpc>
              <a:spcBef>
                <a:spcPct val="0"/>
              </a:spcBef>
              <a:spcAft>
                <a:spcPts val="0"/>
              </a:spcAft>
              <a:buClrTx/>
              <a:buSzTx/>
              <a:buFontTx/>
              <a:buNone/>
              <a:tabLst/>
              <a:defRPr/>
            </a:pPr>
            <a:r>
              <a:rPr kumimoji="0" lang="ru-RU" sz="2954" b="1" i="0" u="none" strike="noStrike" kern="1200" cap="none" spc="0" normalizeH="0" baseline="0" noProof="0" dirty="0">
                <a:ln>
                  <a:noFill/>
                </a:ln>
                <a:solidFill>
                  <a:srgbClr val="333333"/>
                </a:solidFill>
                <a:effectLst/>
                <a:uLnTx/>
                <a:uFillTx/>
                <a:latin typeface="Arial" charset="0"/>
                <a:ea typeface="Arial" charset="0"/>
                <a:cs typeface="Arial" charset="0"/>
              </a:rPr>
              <a:t>Заголовок</a:t>
            </a:r>
          </a:p>
        </p:txBody>
      </p:sp>
      <p:sp>
        <p:nvSpPr>
          <p:cNvPr id="21" name="Прямоугольник 7"/>
          <p:cNvSpPr/>
          <p:nvPr userDrawn="1"/>
        </p:nvSpPr>
        <p:spPr>
          <a:xfrm>
            <a:off x="446136" y="6218309"/>
            <a:ext cx="2520280" cy="182265"/>
          </a:xfrm>
          <a:prstGeom prst="rect">
            <a:avLst/>
          </a:prstGeom>
        </p:spPr>
        <p:txBody>
          <a:bodyPr wrap="square" lIns="85064" tIns="33231" rIns="66462" bIns="42533">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ru-RU" sz="646" b="0" i="0" u="none" strike="noStrike" kern="1200" cap="none" spc="0" normalizeH="0" baseline="0" noProof="0" dirty="0">
                <a:ln>
                  <a:noFill/>
                </a:ln>
                <a:solidFill>
                  <a:srgbClr val="333333"/>
                </a:solidFill>
                <a:effectLst/>
                <a:uLnTx/>
                <a:uFillTx/>
                <a:latin typeface="Arial" charset="0"/>
                <a:ea typeface="Arial" charset="0"/>
                <a:cs typeface="Arial" charset="0"/>
              </a:rPr>
              <a:t>Место для указания источников и сносок</a:t>
            </a:r>
          </a:p>
        </p:txBody>
      </p:sp>
    </p:spTree>
    <p:extLst>
      <p:ext uri="{BB962C8B-B14F-4D97-AF65-F5344CB8AC3E}">
        <p14:creationId xmlns:p14="http://schemas.microsoft.com/office/powerpoint/2010/main" val="3099751180"/>
      </p:ext>
    </p:extLst>
  </p:cSld>
  <p:clrMapOvr>
    <a:masterClrMapping/>
  </p:clrMapOvr>
  <p:extLst>
    <p:ext uri="{DCECCB84-F9BA-43D5-87BE-67443E8EF086}">
      <p15:sldGuideLst xmlns:p15="http://schemas.microsoft.com/office/powerpoint/2012/main">
        <p15:guide id="1" pos="5003"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Номер слайда 2"/>
          <p:cNvSpPr>
            <a:spLocks noGrp="1"/>
          </p:cNvSpPr>
          <p:nvPr>
            <p:ph type="sldNum" sz="quarter" idx="10"/>
          </p:nvPr>
        </p:nvSpPr>
        <p:spPr/>
        <p:txBody>
          <a:bodyPr/>
          <a:lstStyle/>
          <a:p>
            <a:pPr defTabSz="844083"/>
            <a:fld id="{0649A0BD-6450-4A37-A415-C9BD94F79D05}" type="slidenum">
              <a:rPr lang="ru-RU" sz="1662" smtClean="0">
                <a:solidFill>
                  <a:srgbClr val="605D5C"/>
                </a:solidFill>
              </a:rPr>
              <a:pPr defTabSz="844083"/>
              <a:t>‹#›</a:t>
            </a:fld>
            <a:endParaRPr lang="ru-RU" sz="1662" dirty="0">
              <a:solidFill>
                <a:srgbClr val="605D5C"/>
              </a:solidFill>
            </a:endParaRPr>
          </a:p>
        </p:txBody>
      </p:sp>
      <p:sp>
        <p:nvSpPr>
          <p:cNvPr id="4" name="Содержимое 7"/>
          <p:cNvSpPr>
            <a:spLocks noGrp="1"/>
          </p:cNvSpPr>
          <p:nvPr>
            <p:ph sz="quarter" idx="13"/>
          </p:nvPr>
        </p:nvSpPr>
        <p:spPr>
          <a:xfrm>
            <a:off x="182769" y="1414800"/>
            <a:ext cx="8776246" cy="4896000"/>
          </a:xfrm>
        </p:spPr>
        <p:txBody>
          <a:bodyPr/>
          <a:lstStyle/>
          <a:p>
            <a:pPr lvl="0"/>
            <a:r>
              <a:rPr lang="ru-RU" dirty="0"/>
              <a:t>Образец текста</a:t>
            </a:r>
          </a:p>
          <a:p>
            <a:pPr lvl="1"/>
            <a:r>
              <a:rPr lang="ru-RU" dirty="0"/>
              <a:t>Второй уровень</a:t>
            </a:r>
          </a:p>
        </p:txBody>
      </p:sp>
      <p:sp>
        <p:nvSpPr>
          <p:cNvPr id="5" name="Текст 8"/>
          <p:cNvSpPr>
            <a:spLocks noGrp="1"/>
          </p:cNvSpPr>
          <p:nvPr>
            <p:ph type="body" sz="quarter" idx="12"/>
          </p:nvPr>
        </p:nvSpPr>
        <p:spPr>
          <a:xfrm>
            <a:off x="182775" y="6552000"/>
            <a:ext cx="6978462" cy="241200"/>
          </a:xfrm>
        </p:spPr>
        <p:txBody>
          <a:bodyPr lIns="0" tIns="0" rIns="0" bIns="0">
            <a:normAutofit/>
          </a:bodyPr>
          <a:lstStyle>
            <a:lvl1pPr marL="169464" indent="-169464" algn="l">
              <a:spcAft>
                <a:spcPts val="0"/>
              </a:spcAft>
              <a:buFontTx/>
              <a:buNone/>
              <a:defRPr sz="738"/>
            </a:lvl1pPr>
            <a:lvl2pPr>
              <a:defRPr/>
            </a:lvl2pPr>
          </a:lstStyle>
          <a:p>
            <a:pPr lvl="0"/>
            <a:r>
              <a:rPr lang="ru-RU" dirty="0"/>
              <a:t>Образец текста</a:t>
            </a:r>
          </a:p>
        </p:txBody>
      </p:sp>
    </p:spTree>
    <p:extLst>
      <p:ext uri="{BB962C8B-B14F-4D97-AF65-F5344CB8AC3E}">
        <p14:creationId xmlns:p14="http://schemas.microsoft.com/office/powerpoint/2010/main" val="2692106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7" name="Заголовок 1"/>
          <p:cNvSpPr txBox="1">
            <a:spLocks/>
          </p:cNvSpPr>
          <p:nvPr/>
        </p:nvSpPr>
        <p:spPr>
          <a:xfrm>
            <a:off x="430127" y="2853732"/>
            <a:ext cx="4429906" cy="1327315"/>
          </a:xfrm>
          <a:prstGeom prst="rect">
            <a:avLst/>
          </a:prstGeom>
        </p:spPr>
        <p:txBody>
          <a:bodyPr vert="horz" lIns="113590" tIns="56795" rIns="113590" bIns="56795" rtlCol="0" anchor="ctr">
            <a:no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ru-RU" sz="4000"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Тема </a:t>
            </a:r>
          </a:p>
          <a:p>
            <a:pPr marL="0" marR="0" lvl="0" indent="0" algn="l" defTabSz="914400" rtl="0" eaLnBrk="1" fontAlgn="auto" latinLnBrk="0" hangingPunct="1">
              <a:lnSpc>
                <a:spcPts val="4000"/>
              </a:lnSpc>
              <a:spcBef>
                <a:spcPts val="0"/>
              </a:spcBef>
              <a:spcAft>
                <a:spcPts val="0"/>
              </a:spcAft>
              <a:buClrTx/>
              <a:buSzTx/>
              <a:buFontTx/>
              <a:buNone/>
              <a:tabLst/>
              <a:defRPr/>
            </a:pPr>
            <a:r>
              <a:rPr kumimoji="0" lang="ru-RU" sz="4000"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презентации</a:t>
            </a:r>
          </a:p>
        </p:txBody>
      </p:sp>
      <p:sp>
        <p:nvSpPr>
          <p:cNvPr id="8" name="Заголовок 1"/>
          <p:cNvSpPr txBox="1">
            <a:spLocks/>
          </p:cNvSpPr>
          <p:nvPr/>
        </p:nvSpPr>
        <p:spPr>
          <a:xfrm>
            <a:off x="288001" y="5389202"/>
            <a:ext cx="7430039" cy="1508263"/>
          </a:xfrm>
          <a:prstGeom prst="rect">
            <a:avLst/>
          </a:prstGeom>
        </p:spPr>
        <p:txBody>
          <a:bodyPr vert="horz" lIns="265040" tIns="132522" rIns="265040" bIns="132522"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600" b="1"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Фамилия Имя Отчество</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1600" b="0" i="0" u="none" strike="noStrike" kern="1200" cap="none" spc="0" normalizeH="0" baseline="0" noProof="0" dirty="0">
                <a:ln>
                  <a:noFill/>
                </a:ln>
                <a:solidFill>
                  <a:srgbClr val="333333"/>
                </a:solidFill>
                <a:effectLst/>
                <a:uLnTx/>
                <a:uFillTx/>
                <a:latin typeface="Arial" pitchFamily="34" charset="0"/>
                <a:ea typeface="Rosatom Light" pitchFamily="34" charset="-52"/>
                <a:cs typeface="Arial" pitchFamily="34" charset="0"/>
              </a:rPr>
              <a:t>Должность</a:t>
            </a:r>
          </a:p>
        </p:txBody>
      </p:sp>
    </p:spTree>
    <p:extLst>
      <p:ext uri="{BB962C8B-B14F-4D97-AF65-F5344CB8AC3E}">
        <p14:creationId xmlns:p14="http://schemas.microsoft.com/office/powerpoint/2010/main" val="166246515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8867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6356353"/>
            <a:ext cx="2057400" cy="365125"/>
          </a:xfrm>
          <a:prstGeom prst="rect">
            <a:avLst/>
          </a:prstGeom>
        </p:spPr>
        <p:txBody>
          <a:bodyPr/>
          <a:lstStyle/>
          <a:p>
            <a:pPr>
              <a:defRPr/>
            </a:pPr>
            <a:fld id="{AB78C01C-1931-CF4F-A9E6-B5B2D4CC313B}" type="datetimeFigureOut">
              <a:rPr lang="en-US" smtClean="0">
                <a:solidFill>
                  <a:prstClr val="black"/>
                </a:solidFill>
              </a:rPr>
              <a:pPr>
                <a:defRPr/>
              </a:pPr>
              <a:t>4/24/2023</a:t>
            </a:fld>
            <a:endParaRPr lang="en-US">
              <a:solidFill>
                <a:prstClr val="black"/>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pPr>
              <a:defRPr/>
            </a:pPr>
            <a:endParaRPr lang="en-US">
              <a:solidFill>
                <a:prstClr val="black"/>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pPr>
              <a:defRPr/>
            </a:pPr>
            <a:fld id="{7EB84843-3395-A649-965A-DCE2EEB85F5C}"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23326238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Слайд без пол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extLst>
              <p:ext uri="{D42A27DB-BD31-4B8C-83A1-F6EECF244321}">
                <p14:modId xmlns:p14="http://schemas.microsoft.com/office/powerpoint/2010/main" val="64608532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07024" y="197323"/>
            <a:ext cx="519294" cy="720000"/>
          </a:xfrm>
          <a:prstGeom prst="rect">
            <a:avLst/>
          </a:prstGeom>
        </p:spPr>
      </p:pic>
      <p:sp>
        <p:nvSpPr>
          <p:cNvPr id="12"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3"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324120951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Слайд с полями">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extLst>
              <p:ext uri="{D42A27DB-BD31-4B8C-83A1-F6EECF244321}">
                <p14:modId xmlns:p14="http://schemas.microsoft.com/office/powerpoint/2010/main" val="7912550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07024" y="197323"/>
            <a:ext cx="519294" cy="720000"/>
          </a:xfrm>
          <a:prstGeom prst="rect">
            <a:avLst/>
          </a:prstGeom>
        </p:spPr>
      </p:pic>
      <p:sp>
        <p:nvSpPr>
          <p:cNvPr id="12"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3"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3716187578"/>
      </p:ext>
    </p:extLst>
  </p:cSld>
  <p:clrMapOvr>
    <a:masterClrMapping/>
  </p:clrMapOvr>
  <p:extLst>
    <p:ext uri="{DCECCB84-F9BA-43D5-87BE-67443E8EF086}">
      <p15:sldGuideLst xmlns:p15="http://schemas.microsoft.com/office/powerpoint/2012/main">
        <p15:guide id="1" pos="75" userDrawn="1">
          <p15:clr>
            <a:srgbClr val="FBAE40"/>
          </p15:clr>
        </p15:guide>
        <p15:guide id="2" pos="5685" userDrawn="1">
          <p15:clr>
            <a:srgbClr val="FBAE40"/>
          </p15:clr>
        </p15:guide>
        <p15:guide id="3" orient="horz" pos="4020" userDrawn="1">
          <p15:clr>
            <a:srgbClr val="FBAE40"/>
          </p15:clr>
        </p15:guide>
        <p15:guide id="4" orient="horz" pos="663" userDrawn="1">
          <p15:clr>
            <a:srgbClr val="FBAE40"/>
          </p15:clr>
        </p15:guide>
        <p15:guide id="5" orient="horz" pos="365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Завершающий слайд (Final slide)">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extLst>
              <p:ext uri="{D42A27DB-BD31-4B8C-83A1-F6EECF244321}">
                <p14:modId xmlns:p14="http://schemas.microsoft.com/office/powerpoint/2010/main" val="255686108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Text Placeholder 7"/>
          <p:cNvSpPr>
            <a:spLocks noGrp="1"/>
          </p:cNvSpPr>
          <p:nvPr>
            <p:ph type="body" sz="quarter" idx="11" hasCustomPrompt="1"/>
          </p:nvPr>
        </p:nvSpPr>
        <p:spPr>
          <a:xfrm>
            <a:off x="466281" y="2190666"/>
            <a:ext cx="4211638" cy="1242451"/>
          </a:xfrm>
          <a:prstGeom prst="rect">
            <a:avLst/>
          </a:prstGeom>
        </p:spPr>
        <p:txBody>
          <a:bodyPr lIns="72000" tIns="36000" rIns="72000" bIns="36000" anchor="ctr"/>
          <a:lstStyle>
            <a:lvl1pPr marL="0" indent="0">
              <a:lnSpc>
                <a:spcPct val="100000"/>
              </a:lnSpc>
              <a:spcBef>
                <a:spcPts val="0"/>
              </a:spcBef>
              <a:buFontTx/>
              <a:buNone/>
              <a:defRPr lang="en-US" sz="4000" b="1" kern="1200" dirty="0">
                <a:solidFill>
                  <a:srgbClr val="333333"/>
                </a:solidFill>
                <a:latin typeface="Arial" pitchFamily="34" charset="0"/>
                <a:ea typeface="Rosatom Light" pitchFamily="34" charset="-52"/>
                <a:cs typeface="Arial" pitchFamily="34" charset="0"/>
              </a:defRPr>
            </a:lvl1pPr>
          </a:lstStyle>
          <a:p>
            <a:pPr lvl="0"/>
            <a:r>
              <a:rPr lang="ru-RU" dirty="0"/>
              <a:t>Спасибо</a:t>
            </a:r>
            <a:br>
              <a:rPr lang="ru-RU" dirty="0"/>
            </a:br>
            <a:r>
              <a:rPr lang="ru-RU" dirty="0"/>
              <a:t>за внимание</a:t>
            </a:r>
            <a:endParaRPr lang="en-US" dirty="0"/>
          </a:p>
        </p:txBody>
      </p:sp>
      <p:sp>
        <p:nvSpPr>
          <p:cNvPr id="8" name="Text Placeholder 7"/>
          <p:cNvSpPr>
            <a:spLocks noGrp="1"/>
          </p:cNvSpPr>
          <p:nvPr>
            <p:ph type="body" sz="quarter" idx="10" hasCustomPrompt="1"/>
          </p:nvPr>
        </p:nvSpPr>
        <p:spPr>
          <a:xfrm>
            <a:off x="466287" y="4427823"/>
            <a:ext cx="3164266" cy="284683"/>
          </a:xfrm>
          <a:prstGeom prst="rect">
            <a:avLst/>
          </a:prstGeom>
        </p:spPr>
        <p:txBody>
          <a:bodyPr lIns="72000" tIns="36000" rIns="72000" bIns="36000" anchor="ctr"/>
          <a:lstStyle>
            <a:lvl1pPr marL="0" indent="0">
              <a:lnSpc>
                <a:spcPct val="100000"/>
              </a:lnSpc>
              <a:spcBef>
                <a:spcPts val="0"/>
              </a:spcBef>
              <a:buFontTx/>
              <a:buNone/>
              <a:defRPr lang="en-US" sz="1600" b="1" kern="1200" dirty="0">
                <a:solidFill>
                  <a:srgbClr val="333333"/>
                </a:solidFill>
                <a:latin typeface="Arial" panose="020B0604020202020204" pitchFamily="34" charset="0"/>
                <a:ea typeface="+mn-ea"/>
                <a:cs typeface="Arial" panose="020B0604020202020204" pitchFamily="34" charset="0"/>
              </a:defRPr>
            </a:lvl1pPr>
          </a:lstStyle>
          <a:p>
            <a:pPr lvl="0"/>
            <a:r>
              <a:rPr lang="ru-RU" dirty="0"/>
              <a:t>ФИО</a:t>
            </a:r>
            <a:endParaRPr lang="en-US" dirty="0"/>
          </a:p>
        </p:txBody>
      </p:sp>
      <p:sp>
        <p:nvSpPr>
          <p:cNvPr id="9" name="Text Placeholder 7"/>
          <p:cNvSpPr>
            <a:spLocks noGrp="1"/>
          </p:cNvSpPr>
          <p:nvPr>
            <p:ph type="body" sz="quarter" idx="12" hasCustomPrompt="1"/>
          </p:nvPr>
        </p:nvSpPr>
        <p:spPr>
          <a:xfrm>
            <a:off x="466287" y="4685404"/>
            <a:ext cx="3164266" cy="284683"/>
          </a:xfrm>
          <a:prstGeom prst="rect">
            <a:avLst/>
          </a:prstGeom>
        </p:spPr>
        <p:txBody>
          <a:bodyPr lIns="72000" tIns="36000" rIns="72000" bIns="36000" anchor="ctr"/>
          <a:lstStyle>
            <a:lvl1pPr marL="0" indent="0">
              <a:lnSpc>
                <a:spcPct val="100000"/>
              </a:lnSpc>
              <a:spcBef>
                <a:spcPts val="0"/>
              </a:spcBef>
              <a:buFontTx/>
              <a:buNone/>
              <a:defRPr lang="en-US" sz="1600" kern="1200" dirty="0">
                <a:solidFill>
                  <a:srgbClr val="333333"/>
                </a:solidFill>
                <a:latin typeface="Arial" panose="020B0604020202020204" pitchFamily="34" charset="0"/>
                <a:ea typeface="+mn-ea"/>
                <a:cs typeface="Arial" panose="020B0604020202020204" pitchFamily="34" charset="0"/>
              </a:defRPr>
            </a:lvl1pPr>
          </a:lstStyle>
          <a:p>
            <a:pPr lvl="0"/>
            <a:r>
              <a:rPr lang="ru-RU" dirty="0"/>
              <a:t>Должность</a:t>
            </a:r>
            <a:endParaRPr lang="en-US" dirty="0"/>
          </a:p>
        </p:txBody>
      </p:sp>
      <p:sp>
        <p:nvSpPr>
          <p:cNvPr id="10" name="Text Placeholder 7"/>
          <p:cNvSpPr>
            <a:spLocks noGrp="1"/>
          </p:cNvSpPr>
          <p:nvPr>
            <p:ph type="body" sz="quarter" idx="13" hasCustomPrompt="1"/>
          </p:nvPr>
        </p:nvSpPr>
        <p:spPr>
          <a:xfrm>
            <a:off x="473643" y="5157210"/>
            <a:ext cx="3164266" cy="760523"/>
          </a:xfrm>
          <a:prstGeom prst="rect">
            <a:avLst/>
          </a:prstGeom>
        </p:spPr>
        <p:txBody>
          <a:bodyPr lIns="72000" tIns="36000" rIns="72000" bIns="36000" anchor="ctr"/>
          <a:lstStyle>
            <a:lvl1pPr marL="0" indent="0">
              <a:lnSpc>
                <a:spcPct val="100000"/>
              </a:lnSpc>
              <a:spcBef>
                <a:spcPts val="0"/>
              </a:spcBef>
              <a:buFontTx/>
              <a:buNone/>
              <a:defRPr lang="en-US" sz="1200" kern="1200" dirty="0">
                <a:solidFill>
                  <a:srgbClr val="333333"/>
                </a:solidFill>
                <a:latin typeface="Arial" panose="020B0604020202020204" pitchFamily="34" charset="0"/>
                <a:ea typeface="+mn-ea"/>
                <a:cs typeface="Arial" panose="020B0604020202020204" pitchFamily="34" charset="0"/>
              </a:defRPr>
            </a:lvl1pPr>
          </a:lstStyle>
          <a:p>
            <a:r>
              <a:rPr lang="ru-RU" sz="1300" dirty="0">
                <a:solidFill>
                  <a:srgbClr val="333333"/>
                </a:solidFill>
                <a:latin typeface="Arial" panose="020B0604020202020204" pitchFamily="34" charset="0"/>
                <a:cs typeface="Arial" panose="020B0604020202020204" pitchFamily="34" charset="0"/>
              </a:rPr>
              <a:t>Тел.: +7 (000) 000 00 00, доб. 0000</a:t>
            </a:r>
          </a:p>
          <a:p>
            <a:r>
              <a:rPr lang="ru-RU" sz="1300" dirty="0">
                <a:solidFill>
                  <a:srgbClr val="333333"/>
                </a:solidFill>
                <a:latin typeface="Arial" panose="020B0604020202020204" pitchFamily="34" charset="0"/>
                <a:cs typeface="Arial" panose="020B0604020202020204" pitchFamily="34" charset="0"/>
              </a:rPr>
              <a:t>Моб. тел.: +7 (000) 000 00 00</a:t>
            </a:r>
          </a:p>
          <a:p>
            <a:r>
              <a:rPr lang="ru-RU" sz="1300" dirty="0">
                <a:solidFill>
                  <a:srgbClr val="333333"/>
                </a:solidFill>
                <a:latin typeface="Arial" panose="020B0604020202020204" pitchFamily="34" charset="0"/>
                <a:cs typeface="Arial" panose="020B0604020202020204" pitchFamily="34" charset="0"/>
              </a:rPr>
              <a:t>E-</a:t>
            </a:r>
            <a:r>
              <a:rPr lang="ru-RU" sz="1300" dirty="0" err="1">
                <a:solidFill>
                  <a:srgbClr val="333333"/>
                </a:solidFill>
                <a:latin typeface="Arial" panose="020B0604020202020204" pitchFamily="34" charset="0"/>
                <a:cs typeface="Arial" panose="020B0604020202020204" pitchFamily="34" charset="0"/>
              </a:rPr>
              <a:t>mail</a:t>
            </a:r>
            <a:r>
              <a:rPr lang="ru-RU" sz="1300" dirty="0">
                <a:solidFill>
                  <a:srgbClr val="333333"/>
                </a:solidFill>
                <a:latin typeface="Arial" panose="020B0604020202020204" pitchFamily="34" charset="0"/>
                <a:cs typeface="Arial" panose="020B0604020202020204" pitchFamily="34" charset="0"/>
              </a:rPr>
              <a:t>: </a:t>
            </a:r>
            <a:r>
              <a:rPr lang="ru-RU" sz="1300" dirty="0" err="1">
                <a:solidFill>
                  <a:srgbClr val="333333"/>
                </a:solidFill>
                <a:latin typeface="Arial" panose="020B0604020202020204" pitchFamily="34" charset="0"/>
                <a:cs typeface="Arial" panose="020B0604020202020204" pitchFamily="34" charset="0"/>
              </a:rPr>
              <a:t>namesurname</a:t>
            </a:r>
            <a:r>
              <a:rPr lang="ru-RU" sz="1300" dirty="0">
                <a:solidFill>
                  <a:srgbClr val="333333"/>
                </a:solidFill>
                <a:latin typeface="Arial" panose="020B0604020202020204" pitchFamily="34" charset="0"/>
                <a:cs typeface="Arial" panose="020B0604020202020204" pitchFamily="34" charset="0"/>
              </a:rPr>
              <a:t>@</a:t>
            </a:r>
            <a:r>
              <a:rPr lang="en-US" sz="1300" dirty="0" err="1">
                <a:solidFill>
                  <a:srgbClr val="333333"/>
                </a:solidFill>
                <a:latin typeface="Arial" panose="020B0604020202020204" pitchFamily="34" charset="0"/>
                <a:cs typeface="Arial" panose="020B0604020202020204" pitchFamily="34" charset="0"/>
              </a:rPr>
              <a:t>rosatom</a:t>
            </a:r>
            <a:r>
              <a:rPr lang="en-US" sz="1300" dirty="0">
                <a:solidFill>
                  <a:srgbClr val="333333"/>
                </a:solidFill>
                <a:latin typeface="Arial" panose="020B0604020202020204" pitchFamily="34" charset="0"/>
                <a:cs typeface="Arial" panose="020B0604020202020204" pitchFamily="34" charset="0"/>
              </a:rPr>
              <a:t>.</a:t>
            </a:r>
            <a:r>
              <a:rPr lang="ru-RU" sz="1300" dirty="0" err="1">
                <a:solidFill>
                  <a:srgbClr val="333333"/>
                </a:solidFill>
                <a:latin typeface="Arial" panose="020B0604020202020204" pitchFamily="34" charset="0"/>
                <a:cs typeface="Arial" panose="020B0604020202020204" pitchFamily="34" charset="0"/>
              </a:rPr>
              <a:t>ru</a:t>
            </a:r>
            <a:endParaRPr lang="ru-RU" sz="1300" dirty="0">
              <a:solidFill>
                <a:srgbClr val="333333"/>
              </a:solidFill>
              <a:latin typeface="Arial" panose="020B0604020202020204" pitchFamily="34" charset="0"/>
              <a:cs typeface="Arial" panose="020B0604020202020204" pitchFamily="34" charset="0"/>
            </a:endParaRPr>
          </a:p>
          <a:p>
            <a:r>
              <a:rPr lang="ru-RU" sz="1300" dirty="0" err="1">
                <a:solidFill>
                  <a:srgbClr val="333333"/>
                </a:solidFill>
                <a:latin typeface="Arial" panose="020B0604020202020204" pitchFamily="34" charset="0"/>
                <a:cs typeface="Arial" panose="020B0604020202020204" pitchFamily="34" charset="0"/>
              </a:rPr>
              <a:t>www</a:t>
            </a:r>
            <a:r>
              <a:rPr lang="ru-RU" sz="1300" dirty="0">
                <a:solidFill>
                  <a:srgbClr val="333333"/>
                </a:solidFill>
                <a:latin typeface="Arial" panose="020B0604020202020204" pitchFamily="34" charset="0"/>
                <a:cs typeface="Arial" panose="020B0604020202020204" pitchFamily="34" charset="0"/>
              </a:rPr>
              <a:t>.</a:t>
            </a:r>
            <a:r>
              <a:rPr lang="en-US" sz="1300" dirty="0" err="1">
                <a:solidFill>
                  <a:srgbClr val="333333"/>
                </a:solidFill>
                <a:latin typeface="Arial" panose="020B0604020202020204" pitchFamily="34" charset="0"/>
                <a:cs typeface="Arial" panose="020B0604020202020204" pitchFamily="34" charset="0"/>
              </a:rPr>
              <a:t>rosatom</a:t>
            </a:r>
            <a:r>
              <a:rPr lang="ru-RU" sz="1300" dirty="0">
                <a:solidFill>
                  <a:srgbClr val="333333"/>
                </a:solidFill>
                <a:latin typeface="Arial" panose="020B0604020202020204" pitchFamily="34" charset="0"/>
                <a:cs typeface="Arial" panose="020B0604020202020204" pitchFamily="34" charset="0"/>
              </a:rPr>
              <a:t>.</a:t>
            </a:r>
            <a:r>
              <a:rPr lang="ru-RU" sz="1300" dirty="0" err="1">
                <a:solidFill>
                  <a:srgbClr val="333333"/>
                </a:solidFill>
                <a:latin typeface="Arial" panose="020B0604020202020204" pitchFamily="34" charset="0"/>
                <a:cs typeface="Arial" panose="020B0604020202020204" pitchFamily="34" charset="0"/>
              </a:rPr>
              <a:t>ru</a:t>
            </a:r>
            <a:endParaRPr lang="ru-RU" sz="1300" dirty="0">
              <a:solidFill>
                <a:srgbClr val="333333"/>
              </a:solidFill>
              <a:latin typeface="Arial" panose="020B0604020202020204" pitchFamily="34" charset="0"/>
              <a:cs typeface="Arial" panose="020B0604020202020204" pitchFamily="34" charset="0"/>
            </a:endParaRPr>
          </a:p>
        </p:txBody>
      </p:sp>
      <p:sp>
        <p:nvSpPr>
          <p:cNvPr id="11" name="Text Placeholder 7"/>
          <p:cNvSpPr>
            <a:spLocks noGrp="1"/>
          </p:cNvSpPr>
          <p:nvPr>
            <p:ph type="body" sz="quarter" idx="14" hasCustomPrompt="1"/>
          </p:nvPr>
        </p:nvSpPr>
        <p:spPr>
          <a:xfrm>
            <a:off x="473643" y="6092569"/>
            <a:ext cx="3164266" cy="284683"/>
          </a:xfrm>
          <a:prstGeom prst="rect">
            <a:avLst/>
          </a:prstGeom>
        </p:spPr>
        <p:txBody>
          <a:bodyPr lIns="72000" tIns="36000" rIns="72000" bIns="36000" anchor="ctr"/>
          <a:lstStyle>
            <a:lvl1pPr marL="0" indent="0">
              <a:lnSpc>
                <a:spcPct val="100000"/>
              </a:lnSpc>
              <a:spcBef>
                <a:spcPts val="0"/>
              </a:spcBef>
              <a:buFontTx/>
              <a:buNone/>
              <a:defRPr lang="en-US" sz="1200" b="1" kern="1200" dirty="0">
                <a:solidFill>
                  <a:srgbClr val="333333"/>
                </a:solidFill>
                <a:latin typeface="Arial" panose="020B0604020202020204" pitchFamily="34" charset="0"/>
                <a:ea typeface="+mn-ea"/>
                <a:cs typeface="Arial" panose="020B0604020202020204" pitchFamily="34" charset="0"/>
              </a:defRPr>
            </a:lvl1pPr>
          </a:lstStyle>
          <a:p>
            <a:pPr lvl="0"/>
            <a:r>
              <a:rPr lang="ru-RU" dirty="0"/>
              <a:t>Дата</a:t>
            </a:r>
            <a:endParaRPr lang="en-US" dirty="0"/>
          </a:p>
        </p:txBody>
      </p:sp>
    </p:spTree>
    <p:extLst>
      <p:ext uri="{BB962C8B-B14F-4D97-AF65-F5344CB8AC3E}">
        <p14:creationId xmlns:p14="http://schemas.microsoft.com/office/powerpoint/2010/main" val="23682483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Слайд без пол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14" name="Picture 6"/>
          <p:cNvPicPr>
            <a:picLocks noChangeAspect="1"/>
          </p:cNvPicPr>
          <p:nvPr userDrawn="1"/>
        </p:nvPicPr>
        <p:blipFill rotWithShape="1">
          <a:blip r:embed="rId5" cstate="print">
            <a:extLst>
              <a:ext uri="{28A0092B-C50C-407E-A947-70E740481C1C}">
                <a14:useLocalDpi xmlns:a14="http://schemas.microsoft.com/office/drawing/2010/main" val="0"/>
              </a:ext>
            </a:extLst>
          </a:blip>
          <a:srcRect l="78749" t="6300" r="5501" b="86350"/>
          <a:stretch/>
        </p:blipFill>
        <p:spPr>
          <a:xfrm>
            <a:off x="7696940" y="302955"/>
            <a:ext cx="1329378" cy="504056"/>
          </a:xfrm>
          <a:prstGeom prst="rect">
            <a:avLst/>
          </a:prstGeom>
        </p:spPr>
      </p:pic>
      <p:sp>
        <p:nvSpPr>
          <p:cNvPr id="17"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8"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231060476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Слайд с полями">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2" name="Объект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1" name="Заголовок 1"/>
          <p:cNvSpPr>
            <a:spLocks noGrp="1"/>
          </p:cNvSpPr>
          <p:nvPr>
            <p:ph type="title" hasCustomPrompt="1"/>
          </p:nvPr>
        </p:nvSpPr>
        <p:spPr>
          <a:xfrm>
            <a:off x="120456" y="133591"/>
            <a:ext cx="7194828" cy="847501"/>
          </a:xfrm>
          <a:prstGeom prst="rect">
            <a:avLst/>
          </a:prstGeom>
        </p:spPr>
        <p:txBody>
          <a:bodyPr vert="horz" lIns="72000" tIns="36000" rIns="72000" bIns="36000" rtlCol="0" anchor="ctr">
            <a:noAutofit/>
          </a:bodyPr>
          <a:lstStyle>
            <a:lvl1pPr>
              <a:lnSpc>
                <a:spcPct val="100000"/>
              </a:lnSpc>
              <a:defRPr lang="ru-RU" sz="2000" b="1" dirty="0">
                <a:latin typeface="Arial" panose="020B0604020202020204" pitchFamily="34" charset="0"/>
                <a:ea typeface="+mn-ea"/>
                <a:cs typeface="Arial" panose="020B0604020202020204" pitchFamily="34" charset="0"/>
              </a:defRPr>
            </a:lvl1pPr>
          </a:lstStyle>
          <a:p>
            <a:pPr marL="0" lvl="0"/>
            <a:r>
              <a:rPr lang="ru-RU" dirty="0"/>
              <a:t>Заголовок</a:t>
            </a: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val="0"/>
              </a:ext>
            </a:extLst>
          </a:blip>
          <a:srcRect l="78749" t="6300" r="5501" b="86350"/>
          <a:stretch/>
        </p:blipFill>
        <p:spPr>
          <a:xfrm>
            <a:off x="7696940" y="302955"/>
            <a:ext cx="1329378" cy="504056"/>
          </a:xfrm>
          <a:prstGeom prst="rect">
            <a:avLst/>
          </a:prstGeom>
        </p:spPr>
      </p:pic>
      <p:sp>
        <p:nvSpPr>
          <p:cNvPr id="9" name="Text Placeholder 7"/>
          <p:cNvSpPr>
            <a:spLocks noGrp="1"/>
          </p:cNvSpPr>
          <p:nvPr>
            <p:ph type="body" sz="quarter" idx="14" hasCustomPrompt="1"/>
          </p:nvPr>
        </p:nvSpPr>
        <p:spPr>
          <a:xfrm>
            <a:off x="123382" y="6455244"/>
            <a:ext cx="7569834" cy="274097"/>
          </a:xfrm>
          <a:prstGeom prst="rect">
            <a:avLst/>
          </a:prstGeom>
        </p:spPr>
        <p:txBody>
          <a:bodyPr lIns="72000" tIns="36000" rIns="72000" bIns="36000"/>
          <a:lstStyle>
            <a:lvl1pPr marL="0" marR="0" indent="0" algn="l" defTabSz="914400" rtl="0" eaLnBrk="1" fontAlgn="auto" latinLnBrk="0" hangingPunct="1">
              <a:lnSpc>
                <a:spcPct val="100000"/>
              </a:lnSpc>
              <a:spcBef>
                <a:spcPts val="0"/>
              </a:spcBef>
              <a:spcAft>
                <a:spcPts val="0"/>
              </a:spcAft>
              <a:buClrTx/>
              <a:buSzTx/>
              <a:buFontTx/>
              <a:buNone/>
              <a:tabLst/>
              <a:defRPr sz="700">
                <a:solidFill>
                  <a:srgbClr val="333333"/>
                </a:solidFill>
                <a:latin typeface="Arial" charset="0"/>
                <a:ea typeface="Arial" charset="0"/>
                <a:cs typeface="Arial" charset="0"/>
              </a:defRPr>
            </a:lvl1pPr>
          </a:lstStyle>
          <a:p>
            <a:pPr marL="0" marR="0" lvl="0" indent="0" algn="l" defTabSz="914400" rtl="0" eaLnBrk="1" fontAlgn="auto" latinLnBrk="0" hangingPunct="1">
              <a:lnSpc>
                <a:spcPct val="90000"/>
              </a:lnSpc>
              <a:spcBef>
                <a:spcPts val="1000"/>
              </a:spcBef>
              <a:spcAft>
                <a:spcPts val="0"/>
              </a:spcAft>
              <a:buClrTx/>
              <a:buSzTx/>
              <a:buFontTx/>
              <a:buNone/>
              <a:tabLst/>
              <a:defRPr/>
            </a:pPr>
            <a:r>
              <a:rPr lang="ru-RU" sz="700" dirty="0">
                <a:solidFill>
                  <a:srgbClr val="333333"/>
                </a:solidFill>
                <a:latin typeface="Arial" charset="0"/>
                <a:ea typeface="Arial" charset="0"/>
                <a:cs typeface="Arial" charset="0"/>
              </a:rPr>
              <a:t>Место для указания источников и сносок</a:t>
            </a:r>
          </a:p>
        </p:txBody>
      </p:sp>
      <p:sp>
        <p:nvSpPr>
          <p:cNvPr id="10" name="Slide Number Placeholder 4"/>
          <p:cNvSpPr>
            <a:spLocks noGrp="1"/>
          </p:cNvSpPr>
          <p:nvPr>
            <p:ph type="sldNum" sz="quarter" idx="4"/>
          </p:nvPr>
        </p:nvSpPr>
        <p:spPr>
          <a:xfrm>
            <a:off x="8688523" y="6455244"/>
            <a:ext cx="338095" cy="274891"/>
          </a:xfrm>
          <a:prstGeom prst="rect">
            <a:avLst/>
          </a:prstGeom>
        </p:spPr>
        <p:txBody>
          <a:bodyPr vert="horz" lIns="72000" tIns="36000" rIns="72000" bIns="36000" rtlCol="0" anchor="ctr"/>
          <a:lstStyle>
            <a:lvl1pPr algn="r">
              <a:defRPr sz="700">
                <a:solidFill>
                  <a:srgbClr val="333333"/>
                </a:solidFill>
                <a:latin typeface="Arial" charset="0"/>
                <a:ea typeface="Arial" charset="0"/>
                <a:cs typeface="Arial" charset="0"/>
              </a:defRPr>
            </a:lvl1pPr>
          </a:lstStyle>
          <a:p>
            <a:fld id="{DA377419-A741-7245-993E-16AB5DF5D657}" type="slidenum">
              <a:rPr lang="en-US" smtClean="0"/>
              <a:pPr/>
              <a:t>‹#›</a:t>
            </a:fld>
            <a:endParaRPr lang="en-US" dirty="0"/>
          </a:p>
        </p:txBody>
      </p:sp>
    </p:spTree>
    <p:extLst>
      <p:ext uri="{BB962C8B-B14F-4D97-AF65-F5344CB8AC3E}">
        <p14:creationId xmlns:p14="http://schemas.microsoft.com/office/powerpoint/2010/main" val="2507552385"/>
      </p:ext>
    </p:extLst>
  </p:cSld>
  <p:clrMapOvr>
    <a:masterClrMapping/>
  </p:clrMapOvr>
  <p:extLst>
    <p:ext uri="{DCECCB84-F9BA-43D5-87BE-67443E8EF086}">
      <p15:sldGuideLst xmlns:p15="http://schemas.microsoft.com/office/powerpoint/2012/main">
        <p15:guide id="1" pos="75" userDrawn="1">
          <p15:clr>
            <a:srgbClr val="FBAE40"/>
          </p15:clr>
        </p15:guide>
        <p15:guide id="2" pos="5685" userDrawn="1">
          <p15:clr>
            <a:srgbClr val="FBAE40"/>
          </p15:clr>
        </p15:guide>
        <p15:guide id="3" orient="horz" pos="4020" userDrawn="1">
          <p15:clr>
            <a:srgbClr val="FBAE40"/>
          </p15:clr>
        </p15:guide>
        <p15:guide id="4" orient="horz" pos="663" userDrawn="1">
          <p15:clr>
            <a:srgbClr val="FBAE40"/>
          </p15:clr>
        </p15:guide>
        <p15:guide id="5" orient="horz" pos="3657"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theme" Target="../theme/theme10.xml"/><Relationship Id="rId1" Type="http://schemas.openxmlformats.org/officeDocument/2006/relationships/slideLayout" Target="../slideLayouts/slideLayout3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18.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1.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12.xml"/><Relationship Id="rId1" Type="http://schemas.openxmlformats.org/officeDocument/2006/relationships/slideLayout" Target="../slideLayouts/slideLayout38.xml"/><Relationship Id="rId4" Type="http://schemas.openxmlformats.org/officeDocument/2006/relationships/image" Target="../media/image17.png"/></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slideLayout" Target="../slideLayouts/slideLayout40.xml"/><Relationship Id="rId1" Type="http://schemas.openxmlformats.org/officeDocument/2006/relationships/slideLayout" Target="../slideLayouts/slideLayout39.xml"/><Relationship Id="rId5" Type="http://schemas.openxmlformats.org/officeDocument/2006/relationships/image" Target="../media/image18.png"/><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4" Type="http://schemas.openxmlformats.org/officeDocument/2006/relationships/image" Target="../media/image18.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theme" Target="../theme/theme15.xml"/><Relationship Id="rId1" Type="http://schemas.openxmlformats.org/officeDocument/2006/relationships/slideLayout" Target="../slideLayouts/slideLayout44.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4" Type="http://schemas.openxmlformats.org/officeDocument/2006/relationships/image" Target="../media/image18.png"/></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48.xml"/><Relationship Id="rId1" Type="http://schemas.openxmlformats.org/officeDocument/2006/relationships/slideLayout" Target="../slideLayouts/slideLayout47.xml"/><Relationship Id="rId5" Type="http://schemas.openxmlformats.org/officeDocument/2006/relationships/image" Target="../media/image17.png"/><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6.xml"/><Relationship Id="rId5" Type="http://schemas.openxmlformats.org/officeDocument/2006/relationships/theme" Target="../theme/theme3.xml"/><Relationship Id="rId4"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heme" Target="../theme/theme4.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12.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13.xml"/><Relationship Id="rId5" Type="http://schemas.openxmlformats.org/officeDocument/2006/relationships/theme" Target="../theme/theme5.xml"/><Relationship Id="rId4"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7.bin"/><Relationship Id="rId3" Type="http://schemas.openxmlformats.org/officeDocument/2006/relationships/slideLayout" Target="../slideLayouts/slideLayout14.xml"/><Relationship Id="rId21" Type="http://schemas.openxmlformats.org/officeDocument/2006/relationships/image" Target="../media/image9.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6.jpeg"/><Relationship Id="rId2" Type="http://schemas.openxmlformats.org/officeDocument/2006/relationships/slideLayout" Target="../slideLayouts/slideLayout13.xml"/><Relationship Id="rId16" Type="http://schemas.openxmlformats.org/officeDocument/2006/relationships/tags" Target="../tags/tag19.xml"/><Relationship Id="rId20" Type="http://schemas.openxmlformats.org/officeDocument/2006/relationships/image" Target="../media/image8.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8.xml"/><Relationship Id="rId10" Type="http://schemas.openxmlformats.org/officeDocument/2006/relationships/slideLayout" Target="../slideLayouts/slideLayout21.xml"/><Relationship Id="rId19" Type="http://schemas.openxmlformats.org/officeDocument/2006/relationships/image" Target="../media/image7.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6.xml"/><Relationship Id="rId22" Type="http://schemas.openxmlformats.org/officeDocument/2006/relationships/image" Target="../media/image10.png"/></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7" Type="http://schemas.openxmlformats.org/officeDocument/2006/relationships/image" Target="../media/image15.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4.emf"/><Relationship Id="rId5" Type="http://schemas.openxmlformats.org/officeDocument/2006/relationships/oleObject" Target="../embeddings/oleObject20.bin"/><Relationship Id="rId4" Type="http://schemas.openxmlformats.org/officeDocument/2006/relationships/tags" Target="../tags/tag22.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29.xml"/><Relationship Id="rId7" Type="http://schemas.openxmlformats.org/officeDocument/2006/relationships/oleObject" Target="../embeddings/oleObject23.bin"/><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ags" Target="../tags/tag25.xml"/><Relationship Id="rId5" Type="http://schemas.openxmlformats.org/officeDocument/2006/relationships/theme" Target="../theme/theme8.xml"/><Relationship Id="rId4" Type="http://schemas.openxmlformats.org/officeDocument/2006/relationships/slideLayout" Target="../slideLayouts/slideLayout30.xml"/><Relationship Id="rId9" Type="http://schemas.openxmlformats.org/officeDocument/2006/relationships/image" Target="../media/image15.pn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9.xml"/><Relationship Id="rId1" Type="http://schemas.openxmlformats.org/officeDocument/2006/relationships/slideLayout" Target="../slideLayouts/slideLayout31.xml"/><Relationship Id="rId4"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p:custDataLst>
              <p:tags r:id="rId2"/>
            </p:custDataLst>
            <p:extLst>
              <p:ext uri="{D42A27DB-BD31-4B8C-83A1-F6EECF244321}">
                <p14:modId xmlns:p14="http://schemas.microsoft.com/office/powerpoint/2010/main" val="388348192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0" name=""/>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1"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8232" y="548676"/>
            <a:ext cx="1030154" cy="1428316"/>
          </a:xfrm>
          <a:prstGeom prst="rect">
            <a:avLst/>
          </a:prstGeom>
        </p:spPr>
      </p:pic>
    </p:spTree>
    <p:extLst>
      <p:ext uri="{BB962C8B-B14F-4D97-AF65-F5344CB8AC3E}">
        <p14:creationId xmlns:p14="http://schemas.microsoft.com/office/powerpoint/2010/main" val="80907329"/>
      </p:ext>
    </p:extLst>
  </p:cSld>
  <p:clrMap bg1="lt1" tx1="dk1" bg2="lt2" tx2="dk2" accent1="accent1" accent2="accent2" accent3="accent3" accent4="accent4" accent5="accent5" accent6="accent6" hlink="hlink" folHlink="folHlink"/>
  <p:hf hdr="0" dt="0"/>
  <p:txStyles>
    <p:titleStyle>
      <a:lvl1pPr algn="l" defTabSz="990584" rtl="0" eaLnBrk="1" latinLnBrk="0" hangingPunct="1">
        <a:lnSpc>
          <a:spcPct val="90000"/>
        </a:lnSpc>
        <a:spcBef>
          <a:spcPct val="0"/>
        </a:spcBef>
        <a:buNone/>
        <a:defRPr sz="4768" kern="1200">
          <a:solidFill>
            <a:schemeClr val="tx1"/>
          </a:solidFill>
          <a:latin typeface="+mj-lt"/>
          <a:ea typeface="+mj-ea"/>
          <a:cs typeface="+mj-cs"/>
        </a:defRPr>
      </a:lvl1pPr>
    </p:titleStyle>
    <p:bodyStyle>
      <a:lvl1pPr marL="247645" indent="-247645" algn="l" defTabSz="990584" rtl="0" eaLnBrk="1" latinLnBrk="0" hangingPunct="1">
        <a:lnSpc>
          <a:spcPct val="90000"/>
        </a:lnSpc>
        <a:spcBef>
          <a:spcPts val="1083"/>
        </a:spcBef>
        <a:buFont typeface="Arial" panose="020B0604020202020204" pitchFamily="34" charset="0"/>
        <a:buChar char="•"/>
        <a:defRPr sz="3033" kern="1200">
          <a:solidFill>
            <a:schemeClr val="tx1"/>
          </a:solidFill>
          <a:latin typeface="+mn-lt"/>
          <a:ea typeface="+mn-ea"/>
          <a:cs typeface="+mn-cs"/>
        </a:defRPr>
      </a:lvl1pPr>
      <a:lvl2pPr marL="742937" indent="-247645" algn="l" defTabSz="990584" rtl="0" eaLnBrk="1" latinLnBrk="0" hangingPunct="1">
        <a:lnSpc>
          <a:spcPct val="90000"/>
        </a:lnSpc>
        <a:spcBef>
          <a:spcPts val="542"/>
        </a:spcBef>
        <a:buFont typeface="Arial" panose="020B0604020202020204" pitchFamily="34" charset="0"/>
        <a:buChar char="•"/>
        <a:defRPr sz="2600" kern="1200">
          <a:solidFill>
            <a:schemeClr val="tx1"/>
          </a:solidFill>
          <a:latin typeface="+mn-lt"/>
          <a:ea typeface="+mn-ea"/>
          <a:cs typeface="+mn-cs"/>
        </a:defRPr>
      </a:lvl2pPr>
      <a:lvl3pPr marL="1238227" indent="-247645" algn="l" defTabSz="990584" rtl="0" eaLnBrk="1" latinLnBrk="0" hangingPunct="1">
        <a:lnSpc>
          <a:spcPct val="90000"/>
        </a:lnSpc>
        <a:spcBef>
          <a:spcPts val="542"/>
        </a:spcBef>
        <a:buFont typeface="Arial" panose="020B0604020202020204" pitchFamily="34" charset="0"/>
        <a:buChar char="•"/>
        <a:defRPr sz="2167" kern="1200">
          <a:solidFill>
            <a:schemeClr val="tx1"/>
          </a:solidFill>
          <a:latin typeface="+mn-lt"/>
          <a:ea typeface="+mn-ea"/>
          <a:cs typeface="+mn-cs"/>
        </a:defRPr>
      </a:lvl3pPr>
      <a:lvl4pPr marL="1733520"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4pPr>
      <a:lvl5pPr marL="2228811"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5pPr>
      <a:lvl6pPr marL="2724103"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6pPr>
      <a:lvl7pPr marL="3219395"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7pPr>
      <a:lvl8pPr marL="3714686"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8pPr>
      <a:lvl9pPr marL="4209978"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9pPr>
    </p:bodyStyle>
    <p:otherStyle>
      <a:defPPr>
        <a:defRPr lang="en-US"/>
      </a:defPPr>
      <a:lvl1pPr marL="0" algn="l" defTabSz="990584" rtl="0" eaLnBrk="1" latinLnBrk="0" hangingPunct="1">
        <a:defRPr sz="1950" kern="1200">
          <a:solidFill>
            <a:schemeClr val="tx1"/>
          </a:solidFill>
          <a:latin typeface="+mn-lt"/>
          <a:ea typeface="+mn-ea"/>
          <a:cs typeface="+mn-cs"/>
        </a:defRPr>
      </a:lvl1pPr>
      <a:lvl2pPr marL="495293" algn="l" defTabSz="990584" rtl="0" eaLnBrk="1" latinLnBrk="0" hangingPunct="1">
        <a:defRPr sz="1950" kern="1200">
          <a:solidFill>
            <a:schemeClr val="tx1"/>
          </a:solidFill>
          <a:latin typeface="+mn-lt"/>
          <a:ea typeface="+mn-ea"/>
          <a:cs typeface="+mn-cs"/>
        </a:defRPr>
      </a:lvl2pPr>
      <a:lvl3pPr marL="990584" algn="l" defTabSz="990584" rtl="0" eaLnBrk="1" latinLnBrk="0" hangingPunct="1">
        <a:defRPr sz="1950" kern="1200">
          <a:solidFill>
            <a:schemeClr val="tx1"/>
          </a:solidFill>
          <a:latin typeface="+mn-lt"/>
          <a:ea typeface="+mn-ea"/>
          <a:cs typeface="+mn-cs"/>
        </a:defRPr>
      </a:lvl3pPr>
      <a:lvl4pPr marL="1485875" algn="l" defTabSz="990584" rtl="0" eaLnBrk="1" latinLnBrk="0" hangingPunct="1">
        <a:defRPr sz="1950" kern="1200">
          <a:solidFill>
            <a:schemeClr val="tx1"/>
          </a:solidFill>
          <a:latin typeface="+mn-lt"/>
          <a:ea typeface="+mn-ea"/>
          <a:cs typeface="+mn-cs"/>
        </a:defRPr>
      </a:lvl4pPr>
      <a:lvl5pPr marL="1981165" algn="l" defTabSz="990584" rtl="0" eaLnBrk="1" latinLnBrk="0" hangingPunct="1">
        <a:defRPr sz="1950" kern="1200">
          <a:solidFill>
            <a:schemeClr val="tx1"/>
          </a:solidFill>
          <a:latin typeface="+mn-lt"/>
          <a:ea typeface="+mn-ea"/>
          <a:cs typeface="+mn-cs"/>
        </a:defRPr>
      </a:lvl5pPr>
      <a:lvl6pPr marL="2476457" algn="l" defTabSz="990584" rtl="0" eaLnBrk="1" latinLnBrk="0" hangingPunct="1">
        <a:defRPr sz="1950" kern="1200">
          <a:solidFill>
            <a:schemeClr val="tx1"/>
          </a:solidFill>
          <a:latin typeface="+mn-lt"/>
          <a:ea typeface="+mn-ea"/>
          <a:cs typeface="+mn-cs"/>
        </a:defRPr>
      </a:lvl6pPr>
      <a:lvl7pPr marL="2971749" algn="l" defTabSz="990584" rtl="0" eaLnBrk="1" latinLnBrk="0" hangingPunct="1">
        <a:defRPr sz="1950" kern="1200">
          <a:solidFill>
            <a:schemeClr val="tx1"/>
          </a:solidFill>
          <a:latin typeface="+mn-lt"/>
          <a:ea typeface="+mn-ea"/>
          <a:cs typeface="+mn-cs"/>
        </a:defRPr>
      </a:lvl7pPr>
      <a:lvl8pPr marL="3467040" algn="l" defTabSz="990584" rtl="0" eaLnBrk="1" latinLnBrk="0" hangingPunct="1">
        <a:defRPr sz="1950" kern="1200">
          <a:solidFill>
            <a:schemeClr val="tx1"/>
          </a:solidFill>
          <a:latin typeface="+mn-lt"/>
          <a:ea typeface="+mn-ea"/>
          <a:cs typeface="+mn-cs"/>
        </a:defRPr>
      </a:lvl8pPr>
      <a:lvl9pPr marL="3962331" algn="l" defTabSz="990584" rtl="0" eaLnBrk="1" latinLnBrk="0" hangingPunct="1">
        <a:defRPr sz="19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283670"/>
            <a:ext cx="1368152" cy="625050"/>
          </a:xfrm>
          <a:prstGeom prst="rect">
            <a:avLst/>
          </a:prstGeom>
        </p:spPr>
      </p:pic>
    </p:spTree>
    <p:extLst>
      <p:ext uri="{BB962C8B-B14F-4D97-AF65-F5344CB8AC3E}">
        <p14:creationId xmlns:p14="http://schemas.microsoft.com/office/powerpoint/2010/main" val="2883912487"/>
      </p:ext>
    </p:extLst>
  </p:cSld>
  <p:clrMap bg1="lt1" tx1="dk1" bg2="lt2" tx2="dk2" accent1="accent1" accent2="accent2" accent3="accent3" accent4="accent4" accent5="accent5" accent6="accent6" hlink="hlink" folHlink="folHlink"/>
  <p:sldLayoutIdLst>
    <p:sldLayoutId id="214748380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24328" y="283670"/>
            <a:ext cx="1368152" cy="625050"/>
          </a:xfrm>
          <a:prstGeom prst="rect">
            <a:avLst/>
          </a:prstGeom>
        </p:spPr>
      </p:pic>
    </p:spTree>
    <p:extLst>
      <p:ext uri="{BB962C8B-B14F-4D97-AF65-F5344CB8AC3E}">
        <p14:creationId xmlns:p14="http://schemas.microsoft.com/office/powerpoint/2010/main" val="282231480"/>
      </p:ext>
    </p:extLst>
  </p:cSld>
  <p:clrMap bg1="lt1" tx1="dk1" bg2="lt2" tx2="dk2" accent1="accent1" accent2="accent2" accent3="accent3" accent4="accent4" accent5="accent5" accent6="accent6" hlink="hlink" folHlink="folHlink"/>
  <p:sldLayoutIdLst>
    <p:sldLayoutId id="2147483805" r:id="rId1"/>
    <p:sldLayoutId id="2147483809" r:id="rId2"/>
    <p:sldLayoutId id="2147483832" r:id="rId3"/>
    <p:sldLayoutId id="2147483837" r:id="rId4"/>
    <p:sldLayoutId id="2147483839"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 name="Рисунок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9751" y="620175"/>
            <a:ext cx="1892528" cy="864615"/>
          </a:xfrm>
          <a:prstGeom prst="rect">
            <a:avLst/>
          </a:prstGeom>
        </p:spPr>
      </p:pic>
    </p:spTree>
    <p:extLst>
      <p:ext uri="{BB962C8B-B14F-4D97-AF65-F5344CB8AC3E}">
        <p14:creationId xmlns:p14="http://schemas.microsoft.com/office/powerpoint/2010/main" val="4024103927"/>
      </p:ext>
    </p:extLst>
  </p:cSld>
  <p:clrMap bg1="lt1" tx1="dk1" bg2="lt2" tx2="dk2" accent1="accent1" accent2="accent2" accent3="accent3" accent4="accent4" accent5="accent5" accent6="accent6" hlink="hlink" folHlink="folHlink"/>
  <p:sldLayoutIdLst>
    <p:sldLayoutId id="2147483814" r:id="rId1"/>
  </p:sldLayoutIdLst>
  <p:hf hdr="0" ftr="0" dt="0"/>
  <p:txStyles>
    <p:titleStyle>
      <a:lvl1pPr algn="l" defTabSz="844083" rtl="0" eaLnBrk="1" latinLnBrk="0" hangingPunct="1">
        <a:lnSpc>
          <a:spcPct val="90000"/>
        </a:lnSpc>
        <a:spcBef>
          <a:spcPct val="0"/>
        </a:spcBef>
        <a:buNone/>
        <a:defRPr sz="4062" kern="1200">
          <a:solidFill>
            <a:schemeClr val="tx1"/>
          </a:solidFill>
          <a:latin typeface="+mj-lt"/>
          <a:ea typeface="+mj-ea"/>
          <a:cs typeface="+mj-cs"/>
        </a:defRPr>
      </a:lvl1pPr>
    </p:titleStyle>
    <p:bodyStyle>
      <a:lvl1pPr marL="211021" indent="-211021" algn="l" defTabSz="844083" rtl="0" eaLnBrk="1" latinLnBrk="0" hangingPunct="1">
        <a:lnSpc>
          <a:spcPct val="90000"/>
        </a:lnSpc>
        <a:spcBef>
          <a:spcPts val="923"/>
        </a:spcBef>
        <a:buFont typeface="Arial" panose="020B0604020202020204" pitchFamily="34" charset="0"/>
        <a:buChar char="•"/>
        <a:defRPr sz="2585" kern="1200">
          <a:solidFill>
            <a:schemeClr val="tx1"/>
          </a:solidFill>
          <a:latin typeface="+mn-lt"/>
          <a:ea typeface="+mn-ea"/>
          <a:cs typeface="+mn-cs"/>
        </a:defRPr>
      </a:lvl1pPr>
      <a:lvl2pPr marL="633062" indent="-211021" algn="l" defTabSz="844083" rtl="0" eaLnBrk="1" latinLnBrk="0" hangingPunct="1">
        <a:lnSpc>
          <a:spcPct val="90000"/>
        </a:lnSpc>
        <a:spcBef>
          <a:spcPts val="462"/>
        </a:spcBef>
        <a:buFont typeface="Arial" panose="020B0604020202020204" pitchFamily="34" charset="0"/>
        <a:buChar char="•"/>
        <a:defRPr sz="2215" kern="1200">
          <a:solidFill>
            <a:schemeClr val="tx1"/>
          </a:solidFill>
          <a:latin typeface="+mn-lt"/>
          <a:ea typeface="+mn-ea"/>
          <a:cs typeface="+mn-cs"/>
        </a:defRPr>
      </a:lvl2pPr>
      <a:lvl3pPr marL="1055103" indent="-211021" algn="l" defTabSz="844083" rtl="0" eaLnBrk="1" latinLnBrk="0" hangingPunct="1">
        <a:lnSpc>
          <a:spcPct val="90000"/>
        </a:lnSpc>
        <a:spcBef>
          <a:spcPts val="462"/>
        </a:spcBef>
        <a:buFont typeface="Arial" panose="020B0604020202020204" pitchFamily="34" charset="0"/>
        <a:buChar char="•"/>
        <a:defRPr sz="1846" kern="1200">
          <a:solidFill>
            <a:schemeClr val="tx1"/>
          </a:solidFill>
          <a:latin typeface="+mn-lt"/>
          <a:ea typeface="+mn-ea"/>
          <a:cs typeface="+mn-cs"/>
        </a:defRPr>
      </a:lvl3pPr>
      <a:lvl4pPr marL="1477145"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4pPr>
      <a:lvl5pPr marL="1899186"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524328" y="283670"/>
            <a:ext cx="1368152" cy="625050"/>
          </a:xfrm>
          <a:prstGeom prst="rect">
            <a:avLst/>
          </a:prstGeom>
        </p:spPr>
      </p:pic>
    </p:spTree>
    <p:extLst>
      <p:ext uri="{BB962C8B-B14F-4D97-AF65-F5344CB8AC3E}">
        <p14:creationId xmlns:p14="http://schemas.microsoft.com/office/powerpoint/2010/main" val="2592363679"/>
      </p:ext>
    </p:extLst>
  </p:cSld>
  <p:clrMap bg1="lt1" tx1="dk1" bg2="lt2" tx2="dk2" accent1="accent1" accent2="accent2" accent3="accent3" accent4="accent4" accent5="accent5" accent6="accent6" hlink="hlink" folHlink="folHlink"/>
  <p:sldLayoutIdLst>
    <p:sldLayoutId id="2147483817" r:id="rId1"/>
    <p:sldLayoutId id="2147483830" r:id="rId2"/>
    <p:sldLayoutId id="214748383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524328" y="283670"/>
            <a:ext cx="1368152" cy="625050"/>
          </a:xfrm>
          <a:prstGeom prst="rect">
            <a:avLst/>
          </a:prstGeom>
        </p:spPr>
      </p:pic>
    </p:spTree>
    <p:extLst>
      <p:ext uri="{BB962C8B-B14F-4D97-AF65-F5344CB8AC3E}">
        <p14:creationId xmlns:p14="http://schemas.microsoft.com/office/powerpoint/2010/main" val="3075103354"/>
      </p:ext>
    </p:extLst>
  </p:cSld>
  <p:clrMap bg1="lt1" tx1="dk1" bg2="lt2" tx2="dk2" accent1="accent1" accent2="accent2" accent3="accent3" accent4="accent4" accent5="accent5" accent6="accent6" hlink="hlink" folHlink="folHlink"/>
  <p:sldLayoutIdLst>
    <p:sldLayoutId id="2147483820" r:id="rId1"/>
    <p:sldLayoutId id="2147483822" r:id="rId2"/>
  </p:sldLayoutIdLst>
  <p:txStyles>
    <p:titleStyle>
      <a:lvl1pPr algn="l" defTabSz="844083" rtl="0" eaLnBrk="1" latinLnBrk="0" hangingPunct="1">
        <a:lnSpc>
          <a:spcPct val="90000"/>
        </a:lnSpc>
        <a:spcBef>
          <a:spcPct val="0"/>
        </a:spcBef>
        <a:buNone/>
        <a:defRPr sz="4062" kern="1200">
          <a:solidFill>
            <a:schemeClr val="tx1"/>
          </a:solidFill>
          <a:latin typeface="+mj-lt"/>
          <a:ea typeface="+mj-ea"/>
          <a:cs typeface="+mj-cs"/>
        </a:defRPr>
      </a:lvl1pPr>
    </p:titleStyle>
    <p:bodyStyle>
      <a:lvl1pPr marL="211021" indent="-211021" algn="l" defTabSz="844083" rtl="0" eaLnBrk="1" latinLnBrk="0" hangingPunct="1">
        <a:lnSpc>
          <a:spcPct val="90000"/>
        </a:lnSpc>
        <a:spcBef>
          <a:spcPts val="923"/>
        </a:spcBef>
        <a:buFont typeface="Arial"/>
        <a:buChar char="•"/>
        <a:defRPr sz="2585" kern="1200">
          <a:solidFill>
            <a:schemeClr val="tx1"/>
          </a:solidFill>
          <a:latin typeface="+mn-lt"/>
          <a:ea typeface="+mn-ea"/>
          <a:cs typeface="+mn-cs"/>
        </a:defRPr>
      </a:lvl1pPr>
      <a:lvl2pPr marL="633062" indent="-211021" algn="l" defTabSz="844083" rtl="0" eaLnBrk="1" latinLnBrk="0" hangingPunct="1">
        <a:lnSpc>
          <a:spcPct val="90000"/>
        </a:lnSpc>
        <a:spcBef>
          <a:spcPts val="462"/>
        </a:spcBef>
        <a:buFont typeface="Arial"/>
        <a:buChar char="•"/>
        <a:defRPr sz="2215" kern="1200">
          <a:solidFill>
            <a:schemeClr val="tx1"/>
          </a:solidFill>
          <a:latin typeface="+mn-lt"/>
          <a:ea typeface="+mn-ea"/>
          <a:cs typeface="+mn-cs"/>
        </a:defRPr>
      </a:lvl2pPr>
      <a:lvl3pPr marL="1055103" indent="-211021" algn="l" defTabSz="844083" rtl="0" eaLnBrk="1" latinLnBrk="0" hangingPunct="1">
        <a:lnSpc>
          <a:spcPct val="90000"/>
        </a:lnSpc>
        <a:spcBef>
          <a:spcPts val="462"/>
        </a:spcBef>
        <a:buFont typeface="Arial"/>
        <a:buChar char="•"/>
        <a:defRPr sz="1846" kern="1200">
          <a:solidFill>
            <a:schemeClr val="tx1"/>
          </a:solidFill>
          <a:latin typeface="+mn-lt"/>
          <a:ea typeface="+mn-ea"/>
          <a:cs typeface="+mn-cs"/>
        </a:defRPr>
      </a:lvl3pPr>
      <a:lvl4pPr marL="1477145"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4pPr>
      <a:lvl5pPr marL="1899186"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4328" y="283670"/>
            <a:ext cx="1368152" cy="625050"/>
          </a:xfrm>
          <a:prstGeom prst="rect">
            <a:avLst/>
          </a:prstGeom>
        </p:spPr>
      </p:pic>
    </p:spTree>
    <p:extLst>
      <p:ext uri="{BB962C8B-B14F-4D97-AF65-F5344CB8AC3E}">
        <p14:creationId xmlns:p14="http://schemas.microsoft.com/office/powerpoint/2010/main" val="4107061662"/>
      </p:ext>
    </p:extLst>
  </p:cSld>
  <p:clrMap bg1="lt1" tx1="dk1" bg2="lt2" tx2="dk2" accent1="accent1" accent2="accent2" accent3="accent3" accent4="accent4" accent5="accent5" accent6="accent6" hlink="hlink" folHlink="folHlink"/>
  <p:sldLayoutIdLst>
    <p:sldLayoutId id="214748382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524328" y="283670"/>
            <a:ext cx="1368152" cy="625050"/>
          </a:xfrm>
          <a:prstGeom prst="rect">
            <a:avLst/>
          </a:prstGeom>
        </p:spPr>
      </p:pic>
    </p:spTree>
    <p:extLst>
      <p:ext uri="{BB962C8B-B14F-4D97-AF65-F5344CB8AC3E}">
        <p14:creationId xmlns:p14="http://schemas.microsoft.com/office/powerpoint/2010/main" val="4062649190"/>
      </p:ext>
    </p:extLst>
  </p:cSld>
  <p:clrMap bg1="lt1" tx1="dk1" bg2="lt2" tx2="dk2" accent1="accent1" accent2="accent2" accent3="accent3" accent4="accent4" accent5="accent5" accent6="accent6" hlink="hlink" folHlink="folHlink"/>
  <p:sldLayoutIdLst>
    <p:sldLayoutId id="2147483827" r:id="rId1"/>
    <p:sldLayoutId id="2147483829" r:id="rId2"/>
  </p:sldLayoutIdLst>
  <p:txStyles>
    <p:titleStyle>
      <a:lvl1pPr algn="l" defTabSz="844083" rtl="0" eaLnBrk="1" latinLnBrk="0" hangingPunct="1">
        <a:lnSpc>
          <a:spcPct val="90000"/>
        </a:lnSpc>
        <a:spcBef>
          <a:spcPct val="0"/>
        </a:spcBef>
        <a:buNone/>
        <a:defRPr sz="4062" kern="1200">
          <a:solidFill>
            <a:schemeClr val="tx1"/>
          </a:solidFill>
          <a:latin typeface="+mj-lt"/>
          <a:ea typeface="+mj-ea"/>
          <a:cs typeface="+mj-cs"/>
        </a:defRPr>
      </a:lvl1pPr>
    </p:titleStyle>
    <p:bodyStyle>
      <a:lvl1pPr marL="211021" indent="-211021" algn="l" defTabSz="844083" rtl="0" eaLnBrk="1" latinLnBrk="0" hangingPunct="1">
        <a:lnSpc>
          <a:spcPct val="90000"/>
        </a:lnSpc>
        <a:spcBef>
          <a:spcPts val="923"/>
        </a:spcBef>
        <a:buFont typeface="Arial"/>
        <a:buChar char="•"/>
        <a:defRPr sz="2585" kern="1200">
          <a:solidFill>
            <a:schemeClr val="tx1"/>
          </a:solidFill>
          <a:latin typeface="+mn-lt"/>
          <a:ea typeface="+mn-ea"/>
          <a:cs typeface="+mn-cs"/>
        </a:defRPr>
      </a:lvl1pPr>
      <a:lvl2pPr marL="633062" indent="-211021" algn="l" defTabSz="844083" rtl="0" eaLnBrk="1" latinLnBrk="0" hangingPunct="1">
        <a:lnSpc>
          <a:spcPct val="90000"/>
        </a:lnSpc>
        <a:spcBef>
          <a:spcPts val="462"/>
        </a:spcBef>
        <a:buFont typeface="Arial"/>
        <a:buChar char="•"/>
        <a:defRPr sz="2215" kern="1200">
          <a:solidFill>
            <a:schemeClr val="tx1"/>
          </a:solidFill>
          <a:latin typeface="+mn-lt"/>
          <a:ea typeface="+mn-ea"/>
          <a:cs typeface="+mn-cs"/>
        </a:defRPr>
      </a:lvl2pPr>
      <a:lvl3pPr marL="1055103" indent="-211021" algn="l" defTabSz="844083" rtl="0" eaLnBrk="1" latinLnBrk="0" hangingPunct="1">
        <a:lnSpc>
          <a:spcPct val="90000"/>
        </a:lnSpc>
        <a:spcBef>
          <a:spcPts val="462"/>
        </a:spcBef>
        <a:buFont typeface="Arial"/>
        <a:buChar char="•"/>
        <a:defRPr sz="1846" kern="1200">
          <a:solidFill>
            <a:schemeClr val="tx1"/>
          </a:solidFill>
          <a:latin typeface="+mn-lt"/>
          <a:ea typeface="+mn-ea"/>
          <a:cs typeface="+mn-cs"/>
        </a:defRPr>
      </a:lvl3pPr>
      <a:lvl4pPr marL="1477145"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4pPr>
      <a:lvl5pPr marL="1899186"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5pPr>
      <a:lvl6pPr marL="2321227"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 name="Рисунок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39751" y="620171"/>
            <a:ext cx="1892528" cy="864615"/>
          </a:xfrm>
          <a:prstGeom prst="rect">
            <a:avLst/>
          </a:prstGeom>
        </p:spPr>
      </p:pic>
    </p:spTree>
    <p:extLst>
      <p:ext uri="{BB962C8B-B14F-4D97-AF65-F5344CB8AC3E}">
        <p14:creationId xmlns:p14="http://schemas.microsoft.com/office/powerpoint/2010/main" val="707543371"/>
      </p:ext>
    </p:extLst>
  </p:cSld>
  <p:clrMap bg1="lt1" tx1="dk1" bg2="lt2" tx2="dk2" accent1="accent1" accent2="accent2" accent3="accent3" accent4="accent4" accent5="accent5" accent6="accent6" hlink="hlink" folHlink="folHlink"/>
  <p:sldLayoutIdLst>
    <p:sldLayoutId id="2147483835" r:id="rId1"/>
    <p:sldLayoutId id="2147483836"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extLst>
              <p:ext uri="{D42A27DB-BD31-4B8C-83A1-F6EECF244321}">
                <p14:modId xmlns:p14="http://schemas.microsoft.com/office/powerpoint/2010/main" val="404187329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5" imgW="498" imgH="499" progId="TCLayout.ActiveDocument.1">
                  <p:embed/>
                </p:oleObj>
              </mc:Choice>
              <mc:Fallback>
                <p:oleObj name="think-cell Slide" r:id="rId5" imgW="498" imgH="499"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852517841"/>
      </p:ext>
    </p:extLst>
  </p:cSld>
  <p:clrMap bg1="lt1" tx1="dk1" bg2="lt2" tx2="dk2" accent1="accent1" accent2="accent2" accent3="accent3" accent4="accent4" accent5="accent5" accent6="accent6" hlink="hlink" folHlink="folHlink"/>
  <p:sldLayoutIdLst>
    <p:sldLayoutId id="2147483728" r:id="rId1"/>
    <p:sldLayoutId id="2147483764" r:id="rId2"/>
  </p:sldLayoutIdLst>
  <p:hf hdr="0" dt="0"/>
  <p:txStyles>
    <p:titleStyle>
      <a:lvl1pPr algn="l" defTabSz="990584" rtl="0" eaLnBrk="1" latinLnBrk="0" hangingPunct="1">
        <a:lnSpc>
          <a:spcPct val="90000"/>
        </a:lnSpc>
        <a:spcBef>
          <a:spcPct val="0"/>
        </a:spcBef>
        <a:buNone/>
        <a:defRPr sz="4768" kern="1200">
          <a:solidFill>
            <a:schemeClr val="tx1"/>
          </a:solidFill>
          <a:latin typeface="+mj-lt"/>
          <a:ea typeface="+mj-ea"/>
          <a:cs typeface="+mj-cs"/>
        </a:defRPr>
      </a:lvl1pPr>
    </p:titleStyle>
    <p:bodyStyle>
      <a:lvl1pPr marL="247645" indent="-247645" algn="l" defTabSz="990584" rtl="0" eaLnBrk="1" latinLnBrk="0" hangingPunct="1">
        <a:lnSpc>
          <a:spcPct val="90000"/>
        </a:lnSpc>
        <a:spcBef>
          <a:spcPts val="1083"/>
        </a:spcBef>
        <a:buFont typeface="Arial"/>
        <a:buChar char="•"/>
        <a:defRPr sz="3033" kern="1200">
          <a:solidFill>
            <a:schemeClr val="tx1"/>
          </a:solidFill>
          <a:latin typeface="+mn-lt"/>
          <a:ea typeface="+mn-ea"/>
          <a:cs typeface="+mn-cs"/>
        </a:defRPr>
      </a:lvl1pPr>
      <a:lvl2pPr marL="742937" indent="-247645" algn="l" defTabSz="990584" rtl="0" eaLnBrk="1" latinLnBrk="0" hangingPunct="1">
        <a:lnSpc>
          <a:spcPct val="90000"/>
        </a:lnSpc>
        <a:spcBef>
          <a:spcPts val="542"/>
        </a:spcBef>
        <a:buFont typeface="Arial"/>
        <a:buChar char="•"/>
        <a:defRPr sz="2600" kern="1200">
          <a:solidFill>
            <a:schemeClr val="tx1"/>
          </a:solidFill>
          <a:latin typeface="+mn-lt"/>
          <a:ea typeface="+mn-ea"/>
          <a:cs typeface="+mn-cs"/>
        </a:defRPr>
      </a:lvl2pPr>
      <a:lvl3pPr marL="1238227" indent="-247645" algn="l" defTabSz="990584" rtl="0" eaLnBrk="1" latinLnBrk="0" hangingPunct="1">
        <a:lnSpc>
          <a:spcPct val="90000"/>
        </a:lnSpc>
        <a:spcBef>
          <a:spcPts val="542"/>
        </a:spcBef>
        <a:buFont typeface="Arial"/>
        <a:buChar char="•"/>
        <a:defRPr sz="2167" kern="1200">
          <a:solidFill>
            <a:schemeClr val="tx1"/>
          </a:solidFill>
          <a:latin typeface="+mn-lt"/>
          <a:ea typeface="+mn-ea"/>
          <a:cs typeface="+mn-cs"/>
        </a:defRPr>
      </a:lvl3pPr>
      <a:lvl4pPr marL="1733520" indent="-247645" algn="l" defTabSz="990584" rtl="0" eaLnBrk="1" latinLnBrk="0" hangingPunct="1">
        <a:lnSpc>
          <a:spcPct val="90000"/>
        </a:lnSpc>
        <a:spcBef>
          <a:spcPts val="542"/>
        </a:spcBef>
        <a:buFont typeface="Arial"/>
        <a:buChar char="•"/>
        <a:defRPr sz="1950" kern="1200">
          <a:solidFill>
            <a:schemeClr val="tx1"/>
          </a:solidFill>
          <a:latin typeface="+mn-lt"/>
          <a:ea typeface="+mn-ea"/>
          <a:cs typeface="+mn-cs"/>
        </a:defRPr>
      </a:lvl4pPr>
      <a:lvl5pPr marL="2228811" indent="-247645" algn="l" defTabSz="990584" rtl="0" eaLnBrk="1" latinLnBrk="0" hangingPunct="1">
        <a:lnSpc>
          <a:spcPct val="90000"/>
        </a:lnSpc>
        <a:spcBef>
          <a:spcPts val="542"/>
        </a:spcBef>
        <a:buFont typeface="Arial"/>
        <a:buChar char="•"/>
        <a:defRPr sz="1950" kern="1200">
          <a:solidFill>
            <a:schemeClr val="tx1"/>
          </a:solidFill>
          <a:latin typeface="+mn-lt"/>
          <a:ea typeface="+mn-ea"/>
          <a:cs typeface="+mn-cs"/>
        </a:defRPr>
      </a:lvl5pPr>
      <a:lvl6pPr marL="2724103" indent="-247645" algn="l" defTabSz="990584" rtl="0" eaLnBrk="1" latinLnBrk="0" hangingPunct="1">
        <a:lnSpc>
          <a:spcPct val="90000"/>
        </a:lnSpc>
        <a:spcBef>
          <a:spcPts val="542"/>
        </a:spcBef>
        <a:buFont typeface="Arial"/>
        <a:buChar char="•"/>
        <a:defRPr sz="1950" kern="1200">
          <a:solidFill>
            <a:schemeClr val="tx1"/>
          </a:solidFill>
          <a:latin typeface="+mn-lt"/>
          <a:ea typeface="+mn-ea"/>
          <a:cs typeface="+mn-cs"/>
        </a:defRPr>
      </a:lvl6pPr>
      <a:lvl7pPr marL="3219395" indent="-247645" algn="l" defTabSz="990584" rtl="0" eaLnBrk="1" latinLnBrk="0" hangingPunct="1">
        <a:lnSpc>
          <a:spcPct val="90000"/>
        </a:lnSpc>
        <a:spcBef>
          <a:spcPts val="542"/>
        </a:spcBef>
        <a:buFont typeface="Arial"/>
        <a:buChar char="•"/>
        <a:defRPr sz="1950" kern="1200">
          <a:solidFill>
            <a:schemeClr val="tx1"/>
          </a:solidFill>
          <a:latin typeface="+mn-lt"/>
          <a:ea typeface="+mn-ea"/>
          <a:cs typeface="+mn-cs"/>
        </a:defRPr>
      </a:lvl7pPr>
      <a:lvl8pPr marL="3714686" indent="-247645" algn="l" defTabSz="990584" rtl="0" eaLnBrk="1" latinLnBrk="0" hangingPunct="1">
        <a:lnSpc>
          <a:spcPct val="90000"/>
        </a:lnSpc>
        <a:spcBef>
          <a:spcPts val="542"/>
        </a:spcBef>
        <a:buFont typeface="Arial"/>
        <a:buChar char="•"/>
        <a:defRPr sz="1950" kern="1200">
          <a:solidFill>
            <a:schemeClr val="tx1"/>
          </a:solidFill>
          <a:latin typeface="+mn-lt"/>
          <a:ea typeface="+mn-ea"/>
          <a:cs typeface="+mn-cs"/>
        </a:defRPr>
      </a:lvl8pPr>
      <a:lvl9pPr marL="4209978" indent="-247645" algn="l" defTabSz="990584" rtl="0" eaLnBrk="1" latinLnBrk="0" hangingPunct="1">
        <a:lnSpc>
          <a:spcPct val="90000"/>
        </a:lnSpc>
        <a:spcBef>
          <a:spcPts val="542"/>
        </a:spcBef>
        <a:buFont typeface="Arial"/>
        <a:buChar char="•"/>
        <a:defRPr sz="1950" kern="1200">
          <a:solidFill>
            <a:schemeClr val="tx1"/>
          </a:solidFill>
          <a:latin typeface="+mn-lt"/>
          <a:ea typeface="+mn-ea"/>
          <a:cs typeface="+mn-cs"/>
        </a:defRPr>
      </a:lvl9pPr>
    </p:bodyStyle>
    <p:otherStyle>
      <a:defPPr>
        <a:defRPr lang="en-US"/>
      </a:defPPr>
      <a:lvl1pPr marL="0" algn="l" defTabSz="990584" rtl="0" eaLnBrk="1" latinLnBrk="0" hangingPunct="1">
        <a:defRPr sz="1950" kern="1200">
          <a:solidFill>
            <a:schemeClr val="tx1"/>
          </a:solidFill>
          <a:latin typeface="+mn-lt"/>
          <a:ea typeface="+mn-ea"/>
          <a:cs typeface="+mn-cs"/>
        </a:defRPr>
      </a:lvl1pPr>
      <a:lvl2pPr marL="495293" algn="l" defTabSz="990584" rtl="0" eaLnBrk="1" latinLnBrk="0" hangingPunct="1">
        <a:defRPr sz="1950" kern="1200">
          <a:solidFill>
            <a:schemeClr val="tx1"/>
          </a:solidFill>
          <a:latin typeface="+mn-lt"/>
          <a:ea typeface="+mn-ea"/>
          <a:cs typeface="+mn-cs"/>
        </a:defRPr>
      </a:lvl2pPr>
      <a:lvl3pPr marL="990584" algn="l" defTabSz="990584" rtl="0" eaLnBrk="1" latinLnBrk="0" hangingPunct="1">
        <a:defRPr sz="1950" kern="1200">
          <a:solidFill>
            <a:schemeClr val="tx1"/>
          </a:solidFill>
          <a:latin typeface="+mn-lt"/>
          <a:ea typeface="+mn-ea"/>
          <a:cs typeface="+mn-cs"/>
        </a:defRPr>
      </a:lvl3pPr>
      <a:lvl4pPr marL="1485875" algn="l" defTabSz="990584" rtl="0" eaLnBrk="1" latinLnBrk="0" hangingPunct="1">
        <a:defRPr sz="1950" kern="1200">
          <a:solidFill>
            <a:schemeClr val="tx1"/>
          </a:solidFill>
          <a:latin typeface="+mn-lt"/>
          <a:ea typeface="+mn-ea"/>
          <a:cs typeface="+mn-cs"/>
        </a:defRPr>
      </a:lvl4pPr>
      <a:lvl5pPr marL="1981165" algn="l" defTabSz="990584" rtl="0" eaLnBrk="1" latinLnBrk="0" hangingPunct="1">
        <a:defRPr sz="1950" kern="1200">
          <a:solidFill>
            <a:schemeClr val="tx1"/>
          </a:solidFill>
          <a:latin typeface="+mn-lt"/>
          <a:ea typeface="+mn-ea"/>
          <a:cs typeface="+mn-cs"/>
        </a:defRPr>
      </a:lvl5pPr>
      <a:lvl6pPr marL="2476457" algn="l" defTabSz="990584" rtl="0" eaLnBrk="1" latinLnBrk="0" hangingPunct="1">
        <a:defRPr sz="1950" kern="1200">
          <a:solidFill>
            <a:schemeClr val="tx1"/>
          </a:solidFill>
          <a:latin typeface="+mn-lt"/>
          <a:ea typeface="+mn-ea"/>
          <a:cs typeface="+mn-cs"/>
        </a:defRPr>
      </a:lvl6pPr>
      <a:lvl7pPr marL="2971749" algn="l" defTabSz="990584" rtl="0" eaLnBrk="1" latinLnBrk="0" hangingPunct="1">
        <a:defRPr sz="1950" kern="1200">
          <a:solidFill>
            <a:schemeClr val="tx1"/>
          </a:solidFill>
          <a:latin typeface="+mn-lt"/>
          <a:ea typeface="+mn-ea"/>
          <a:cs typeface="+mn-cs"/>
        </a:defRPr>
      </a:lvl7pPr>
      <a:lvl8pPr marL="3467040" algn="l" defTabSz="990584" rtl="0" eaLnBrk="1" latinLnBrk="0" hangingPunct="1">
        <a:defRPr sz="1950" kern="1200">
          <a:solidFill>
            <a:schemeClr val="tx1"/>
          </a:solidFill>
          <a:latin typeface="+mn-lt"/>
          <a:ea typeface="+mn-ea"/>
          <a:cs typeface="+mn-cs"/>
        </a:defRPr>
      </a:lvl8pPr>
      <a:lvl9pPr marL="3962331" algn="l" defTabSz="990584" rtl="0" eaLnBrk="1" latinLnBrk="0" hangingPunct="1">
        <a:defRPr sz="19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6"/>
            </p:custDataLst>
            <p:extLst>
              <p:ext uri="{D42A27DB-BD31-4B8C-83A1-F6EECF244321}">
                <p14:modId xmlns:p14="http://schemas.microsoft.com/office/powerpoint/2010/main" val="354235719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498" imgH="499" progId="TCLayout.ActiveDocument.1">
                  <p:embed/>
                </p:oleObj>
              </mc:Choice>
              <mc:Fallback>
                <p:oleObj name="think-cell Slide" r:id="rId7" imgW="498" imgH="499" progId="TCLayout.ActiveDocument.1">
                  <p:embed/>
                  <p:pic>
                    <p:nvPicPr>
                      <p:cNvPr id="0" name=""/>
                      <p:cNvPicPr/>
                      <p:nvPr/>
                    </p:nvPicPr>
                    <p:blipFill>
                      <a:blip r:embed="rId8"/>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433114864"/>
      </p:ext>
    </p:extLst>
  </p:cSld>
  <p:clrMap bg1="lt1" tx1="dk1" bg2="lt2" tx2="dk2" accent1="accent1" accent2="accent2" accent3="accent3" accent4="accent4" accent5="accent5" accent6="accent6" hlink="hlink" folHlink="folHlink"/>
  <p:sldLayoutIdLst>
    <p:sldLayoutId id="2147483724" r:id="rId1"/>
    <p:sldLayoutId id="2147483760" r:id="rId2"/>
    <p:sldLayoutId id="2147483761" r:id="rId3"/>
    <p:sldLayoutId id="2147483762" r:id="rId4"/>
  </p:sldLayoutIdLst>
  <p:hf hdr="0" dt="0"/>
  <p:txStyles>
    <p:titleStyle>
      <a:lvl1pPr algn="l" defTabSz="990584" rtl="0" eaLnBrk="1" latinLnBrk="0" hangingPunct="1">
        <a:lnSpc>
          <a:spcPct val="90000"/>
        </a:lnSpc>
        <a:spcBef>
          <a:spcPct val="0"/>
        </a:spcBef>
        <a:buNone/>
        <a:defRPr sz="4768" kern="1200">
          <a:solidFill>
            <a:schemeClr val="tx1"/>
          </a:solidFill>
          <a:latin typeface="+mj-lt"/>
          <a:ea typeface="+mj-ea"/>
          <a:cs typeface="+mj-cs"/>
        </a:defRPr>
      </a:lvl1pPr>
    </p:titleStyle>
    <p:bodyStyle>
      <a:lvl1pPr marL="247645" indent="-247645" algn="l" defTabSz="990584" rtl="0" eaLnBrk="1" latinLnBrk="0" hangingPunct="1">
        <a:lnSpc>
          <a:spcPct val="90000"/>
        </a:lnSpc>
        <a:spcBef>
          <a:spcPts val="1083"/>
        </a:spcBef>
        <a:buFont typeface="Arial" panose="020B0604020202020204" pitchFamily="34" charset="0"/>
        <a:buChar char="•"/>
        <a:defRPr sz="3033" kern="1200">
          <a:solidFill>
            <a:schemeClr val="tx1"/>
          </a:solidFill>
          <a:latin typeface="+mn-lt"/>
          <a:ea typeface="+mn-ea"/>
          <a:cs typeface="+mn-cs"/>
        </a:defRPr>
      </a:lvl1pPr>
      <a:lvl2pPr marL="742937" indent="-247645" algn="l" defTabSz="990584" rtl="0" eaLnBrk="1" latinLnBrk="0" hangingPunct="1">
        <a:lnSpc>
          <a:spcPct val="90000"/>
        </a:lnSpc>
        <a:spcBef>
          <a:spcPts val="542"/>
        </a:spcBef>
        <a:buFont typeface="Arial" panose="020B0604020202020204" pitchFamily="34" charset="0"/>
        <a:buChar char="•"/>
        <a:defRPr sz="2600" kern="1200">
          <a:solidFill>
            <a:schemeClr val="tx1"/>
          </a:solidFill>
          <a:latin typeface="+mn-lt"/>
          <a:ea typeface="+mn-ea"/>
          <a:cs typeface="+mn-cs"/>
        </a:defRPr>
      </a:lvl2pPr>
      <a:lvl3pPr marL="1238227" indent="-247645" algn="l" defTabSz="990584" rtl="0" eaLnBrk="1" latinLnBrk="0" hangingPunct="1">
        <a:lnSpc>
          <a:spcPct val="90000"/>
        </a:lnSpc>
        <a:spcBef>
          <a:spcPts val="542"/>
        </a:spcBef>
        <a:buFont typeface="Arial" panose="020B0604020202020204" pitchFamily="34" charset="0"/>
        <a:buChar char="•"/>
        <a:defRPr sz="2167" kern="1200">
          <a:solidFill>
            <a:schemeClr val="tx1"/>
          </a:solidFill>
          <a:latin typeface="+mn-lt"/>
          <a:ea typeface="+mn-ea"/>
          <a:cs typeface="+mn-cs"/>
        </a:defRPr>
      </a:lvl3pPr>
      <a:lvl4pPr marL="1733520"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4pPr>
      <a:lvl5pPr marL="2228811"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5pPr>
      <a:lvl6pPr marL="2724103"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6pPr>
      <a:lvl7pPr marL="3219395"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7pPr>
      <a:lvl8pPr marL="3714686"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8pPr>
      <a:lvl9pPr marL="4209978"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9pPr>
    </p:bodyStyle>
    <p:otherStyle>
      <a:defPPr>
        <a:defRPr lang="ru-RU"/>
      </a:defPPr>
      <a:lvl1pPr marL="0" algn="l" defTabSz="990584" rtl="0" eaLnBrk="1" latinLnBrk="0" hangingPunct="1">
        <a:defRPr sz="1950" kern="1200">
          <a:solidFill>
            <a:schemeClr val="tx1"/>
          </a:solidFill>
          <a:latin typeface="+mn-lt"/>
          <a:ea typeface="+mn-ea"/>
          <a:cs typeface="+mn-cs"/>
        </a:defRPr>
      </a:lvl1pPr>
      <a:lvl2pPr marL="495293" algn="l" defTabSz="990584" rtl="0" eaLnBrk="1" latinLnBrk="0" hangingPunct="1">
        <a:defRPr sz="1950" kern="1200">
          <a:solidFill>
            <a:schemeClr val="tx1"/>
          </a:solidFill>
          <a:latin typeface="+mn-lt"/>
          <a:ea typeface="+mn-ea"/>
          <a:cs typeface="+mn-cs"/>
        </a:defRPr>
      </a:lvl2pPr>
      <a:lvl3pPr marL="990584" algn="l" defTabSz="990584" rtl="0" eaLnBrk="1" latinLnBrk="0" hangingPunct="1">
        <a:defRPr sz="1950" kern="1200">
          <a:solidFill>
            <a:schemeClr val="tx1"/>
          </a:solidFill>
          <a:latin typeface="+mn-lt"/>
          <a:ea typeface="+mn-ea"/>
          <a:cs typeface="+mn-cs"/>
        </a:defRPr>
      </a:lvl3pPr>
      <a:lvl4pPr marL="1485875" algn="l" defTabSz="990584" rtl="0" eaLnBrk="1" latinLnBrk="0" hangingPunct="1">
        <a:defRPr sz="1950" kern="1200">
          <a:solidFill>
            <a:schemeClr val="tx1"/>
          </a:solidFill>
          <a:latin typeface="+mn-lt"/>
          <a:ea typeface="+mn-ea"/>
          <a:cs typeface="+mn-cs"/>
        </a:defRPr>
      </a:lvl4pPr>
      <a:lvl5pPr marL="1981165" algn="l" defTabSz="990584" rtl="0" eaLnBrk="1" latinLnBrk="0" hangingPunct="1">
        <a:defRPr sz="1950" kern="1200">
          <a:solidFill>
            <a:schemeClr val="tx1"/>
          </a:solidFill>
          <a:latin typeface="+mn-lt"/>
          <a:ea typeface="+mn-ea"/>
          <a:cs typeface="+mn-cs"/>
        </a:defRPr>
      </a:lvl5pPr>
      <a:lvl6pPr marL="2476457" algn="l" defTabSz="990584" rtl="0" eaLnBrk="1" latinLnBrk="0" hangingPunct="1">
        <a:defRPr sz="1950" kern="1200">
          <a:solidFill>
            <a:schemeClr val="tx1"/>
          </a:solidFill>
          <a:latin typeface="+mn-lt"/>
          <a:ea typeface="+mn-ea"/>
          <a:cs typeface="+mn-cs"/>
        </a:defRPr>
      </a:lvl6pPr>
      <a:lvl7pPr marL="2971749" algn="l" defTabSz="990584" rtl="0" eaLnBrk="1" latinLnBrk="0" hangingPunct="1">
        <a:defRPr sz="1950" kern="1200">
          <a:solidFill>
            <a:schemeClr val="tx1"/>
          </a:solidFill>
          <a:latin typeface="+mn-lt"/>
          <a:ea typeface="+mn-ea"/>
          <a:cs typeface="+mn-cs"/>
        </a:defRPr>
      </a:lvl7pPr>
      <a:lvl8pPr marL="3467040" algn="l" defTabSz="990584" rtl="0" eaLnBrk="1" latinLnBrk="0" hangingPunct="1">
        <a:defRPr sz="1950" kern="1200">
          <a:solidFill>
            <a:schemeClr val="tx1"/>
          </a:solidFill>
          <a:latin typeface="+mn-lt"/>
          <a:ea typeface="+mn-ea"/>
          <a:cs typeface="+mn-cs"/>
        </a:defRPr>
      </a:lvl8pPr>
      <a:lvl9pPr marL="3962331" algn="l" defTabSz="990584" rtl="0" eaLnBrk="1" latinLnBrk="0" hangingPunct="1">
        <a:defRPr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3"/>
            </p:custDataLst>
            <p:extLst>
              <p:ext uri="{D42A27DB-BD31-4B8C-83A1-F6EECF244321}">
                <p14:modId xmlns:p14="http://schemas.microsoft.com/office/powerpoint/2010/main" val="420294731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0" name=""/>
                      <p:cNvPicPr/>
                      <p:nvPr/>
                    </p:nvPicPr>
                    <p:blipFill>
                      <a:blip r:embed="rId5"/>
                      <a:stretch>
                        <a:fillRect/>
                      </a:stretch>
                    </p:blipFill>
                    <p:spPr>
                      <a:xfrm>
                        <a:off x="1589" y="1588"/>
                        <a:ext cx="1588" cy="1588"/>
                      </a:xfrm>
                      <a:prstGeom prst="rect">
                        <a:avLst/>
                      </a:prstGeom>
                    </p:spPr>
                  </p:pic>
                </p:oleObj>
              </mc:Fallback>
            </mc:AlternateContent>
          </a:graphicData>
        </a:graphic>
      </p:graphicFrame>
      <p:pic>
        <p:nvPicPr>
          <p:cNvPr id="9"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35770024"/>
      </p:ext>
    </p:extLst>
  </p:cSld>
  <p:clrMap bg1="lt1" tx1="dk1" bg2="lt2" tx2="dk2" accent1="accent1" accent2="accent2" accent3="accent3" accent4="accent4" accent5="accent5" accent6="accent6" hlink="hlink" folHlink="folHlink"/>
  <p:sldLayoutIdLst>
    <p:sldLayoutId id="2147483711" r:id="rId1"/>
  </p:sldLayoutIdLst>
  <p:hf hdr="0" dt="0"/>
  <p:txStyles>
    <p:titleStyle>
      <a:lvl1pPr algn="l" defTabSz="990584" rtl="0" eaLnBrk="1" latinLnBrk="0" hangingPunct="1">
        <a:lnSpc>
          <a:spcPct val="90000"/>
        </a:lnSpc>
        <a:spcBef>
          <a:spcPct val="0"/>
        </a:spcBef>
        <a:buNone/>
        <a:defRPr sz="4768" kern="1200">
          <a:solidFill>
            <a:schemeClr val="tx1"/>
          </a:solidFill>
          <a:latin typeface="+mj-lt"/>
          <a:ea typeface="+mj-ea"/>
          <a:cs typeface="+mj-cs"/>
        </a:defRPr>
      </a:lvl1pPr>
    </p:titleStyle>
    <p:bodyStyle>
      <a:lvl1pPr marL="247645" indent="-247645" algn="l" defTabSz="990584" rtl="0" eaLnBrk="1" latinLnBrk="0" hangingPunct="1">
        <a:lnSpc>
          <a:spcPct val="90000"/>
        </a:lnSpc>
        <a:spcBef>
          <a:spcPts val="1083"/>
        </a:spcBef>
        <a:buFont typeface="Arial" panose="020B0604020202020204" pitchFamily="34" charset="0"/>
        <a:buChar char="•"/>
        <a:defRPr sz="3033" kern="1200">
          <a:solidFill>
            <a:schemeClr val="tx1"/>
          </a:solidFill>
          <a:latin typeface="+mn-lt"/>
          <a:ea typeface="+mn-ea"/>
          <a:cs typeface="+mn-cs"/>
        </a:defRPr>
      </a:lvl1pPr>
      <a:lvl2pPr marL="742937" indent="-247645" algn="l" defTabSz="990584" rtl="0" eaLnBrk="1" latinLnBrk="0" hangingPunct="1">
        <a:lnSpc>
          <a:spcPct val="90000"/>
        </a:lnSpc>
        <a:spcBef>
          <a:spcPts val="542"/>
        </a:spcBef>
        <a:buFont typeface="Arial" panose="020B0604020202020204" pitchFamily="34" charset="0"/>
        <a:buChar char="•"/>
        <a:defRPr sz="2600" kern="1200">
          <a:solidFill>
            <a:schemeClr val="tx1"/>
          </a:solidFill>
          <a:latin typeface="+mn-lt"/>
          <a:ea typeface="+mn-ea"/>
          <a:cs typeface="+mn-cs"/>
        </a:defRPr>
      </a:lvl2pPr>
      <a:lvl3pPr marL="1238227" indent="-247645" algn="l" defTabSz="990584" rtl="0" eaLnBrk="1" latinLnBrk="0" hangingPunct="1">
        <a:lnSpc>
          <a:spcPct val="90000"/>
        </a:lnSpc>
        <a:spcBef>
          <a:spcPts val="542"/>
        </a:spcBef>
        <a:buFont typeface="Arial" panose="020B0604020202020204" pitchFamily="34" charset="0"/>
        <a:buChar char="•"/>
        <a:defRPr sz="2167" kern="1200">
          <a:solidFill>
            <a:schemeClr val="tx1"/>
          </a:solidFill>
          <a:latin typeface="+mn-lt"/>
          <a:ea typeface="+mn-ea"/>
          <a:cs typeface="+mn-cs"/>
        </a:defRPr>
      </a:lvl3pPr>
      <a:lvl4pPr marL="1733520"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4pPr>
      <a:lvl5pPr marL="2228811"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5pPr>
      <a:lvl6pPr marL="2724103"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6pPr>
      <a:lvl7pPr marL="3219395"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7pPr>
      <a:lvl8pPr marL="3714686"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8pPr>
      <a:lvl9pPr marL="4209978"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9pPr>
    </p:bodyStyle>
    <p:otherStyle>
      <a:defPPr>
        <a:defRPr lang="ru-RU"/>
      </a:defPPr>
      <a:lvl1pPr marL="0" algn="l" defTabSz="990584" rtl="0" eaLnBrk="1" latinLnBrk="0" hangingPunct="1">
        <a:defRPr sz="1950" kern="1200">
          <a:solidFill>
            <a:schemeClr val="tx1"/>
          </a:solidFill>
          <a:latin typeface="+mn-lt"/>
          <a:ea typeface="+mn-ea"/>
          <a:cs typeface="+mn-cs"/>
        </a:defRPr>
      </a:lvl1pPr>
      <a:lvl2pPr marL="495293" algn="l" defTabSz="990584" rtl="0" eaLnBrk="1" latinLnBrk="0" hangingPunct="1">
        <a:defRPr sz="1950" kern="1200">
          <a:solidFill>
            <a:schemeClr val="tx1"/>
          </a:solidFill>
          <a:latin typeface="+mn-lt"/>
          <a:ea typeface="+mn-ea"/>
          <a:cs typeface="+mn-cs"/>
        </a:defRPr>
      </a:lvl2pPr>
      <a:lvl3pPr marL="990584" algn="l" defTabSz="990584" rtl="0" eaLnBrk="1" latinLnBrk="0" hangingPunct="1">
        <a:defRPr sz="1950" kern="1200">
          <a:solidFill>
            <a:schemeClr val="tx1"/>
          </a:solidFill>
          <a:latin typeface="+mn-lt"/>
          <a:ea typeface="+mn-ea"/>
          <a:cs typeface="+mn-cs"/>
        </a:defRPr>
      </a:lvl3pPr>
      <a:lvl4pPr marL="1485875" algn="l" defTabSz="990584" rtl="0" eaLnBrk="1" latinLnBrk="0" hangingPunct="1">
        <a:defRPr sz="1950" kern="1200">
          <a:solidFill>
            <a:schemeClr val="tx1"/>
          </a:solidFill>
          <a:latin typeface="+mn-lt"/>
          <a:ea typeface="+mn-ea"/>
          <a:cs typeface="+mn-cs"/>
        </a:defRPr>
      </a:lvl4pPr>
      <a:lvl5pPr marL="1981165" algn="l" defTabSz="990584" rtl="0" eaLnBrk="1" latinLnBrk="0" hangingPunct="1">
        <a:defRPr sz="1950" kern="1200">
          <a:solidFill>
            <a:schemeClr val="tx1"/>
          </a:solidFill>
          <a:latin typeface="+mn-lt"/>
          <a:ea typeface="+mn-ea"/>
          <a:cs typeface="+mn-cs"/>
        </a:defRPr>
      </a:lvl5pPr>
      <a:lvl6pPr marL="2476457" algn="l" defTabSz="990584" rtl="0" eaLnBrk="1" latinLnBrk="0" hangingPunct="1">
        <a:defRPr sz="1950" kern="1200">
          <a:solidFill>
            <a:schemeClr val="tx1"/>
          </a:solidFill>
          <a:latin typeface="+mn-lt"/>
          <a:ea typeface="+mn-ea"/>
          <a:cs typeface="+mn-cs"/>
        </a:defRPr>
      </a:lvl6pPr>
      <a:lvl7pPr marL="2971749" algn="l" defTabSz="990584" rtl="0" eaLnBrk="1" latinLnBrk="0" hangingPunct="1">
        <a:defRPr sz="1950" kern="1200">
          <a:solidFill>
            <a:schemeClr val="tx1"/>
          </a:solidFill>
          <a:latin typeface="+mn-lt"/>
          <a:ea typeface="+mn-ea"/>
          <a:cs typeface="+mn-cs"/>
        </a:defRPr>
      </a:lvl7pPr>
      <a:lvl8pPr marL="3467040" algn="l" defTabSz="990584" rtl="0" eaLnBrk="1" latinLnBrk="0" hangingPunct="1">
        <a:defRPr sz="1950" kern="1200">
          <a:solidFill>
            <a:schemeClr val="tx1"/>
          </a:solidFill>
          <a:latin typeface="+mn-lt"/>
          <a:ea typeface="+mn-ea"/>
          <a:cs typeface="+mn-cs"/>
        </a:defRPr>
      </a:lvl8pPr>
      <a:lvl9pPr marL="3962331" algn="l" defTabSz="990584" rtl="0" eaLnBrk="1" latinLnBrk="0" hangingPunct="1">
        <a:defRPr sz="19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6"/>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7" imgW="498" imgH="499" progId="TCLayout.ActiveDocument.1">
                  <p:embed/>
                </p:oleObj>
              </mc:Choice>
              <mc:Fallback>
                <p:oleObj name="think-cell Slide" r:id="rId7" imgW="498" imgH="499" progId="TCLayout.ActiveDocument.1">
                  <p:embed/>
                  <p:pic>
                    <p:nvPicPr>
                      <p:cNvPr id="2" name="Объект 1" hidden="1"/>
                      <p:cNvPicPr/>
                      <p:nvPr/>
                    </p:nvPicPr>
                    <p:blipFill>
                      <a:blip r:embed="rId8"/>
                      <a:stretch>
                        <a:fillRect/>
                      </a:stretch>
                    </p:blipFill>
                    <p:spPr>
                      <a:xfrm>
                        <a:off x="1589"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32286920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Lst>
  <p:hf hdr="0" dt="0"/>
  <p:txStyles>
    <p:titleStyle>
      <a:lvl1pPr algn="l" defTabSz="990584" rtl="0" eaLnBrk="1" latinLnBrk="0" hangingPunct="1">
        <a:lnSpc>
          <a:spcPct val="90000"/>
        </a:lnSpc>
        <a:spcBef>
          <a:spcPct val="0"/>
        </a:spcBef>
        <a:buNone/>
        <a:defRPr sz="4768" kern="1200">
          <a:solidFill>
            <a:schemeClr val="tx1"/>
          </a:solidFill>
          <a:latin typeface="+mj-lt"/>
          <a:ea typeface="+mj-ea"/>
          <a:cs typeface="+mj-cs"/>
        </a:defRPr>
      </a:lvl1pPr>
    </p:titleStyle>
    <p:bodyStyle>
      <a:lvl1pPr marL="247645" indent="-247645" algn="l" defTabSz="990584" rtl="0" eaLnBrk="1" latinLnBrk="0" hangingPunct="1">
        <a:lnSpc>
          <a:spcPct val="90000"/>
        </a:lnSpc>
        <a:spcBef>
          <a:spcPts val="1083"/>
        </a:spcBef>
        <a:buFont typeface="Arial" panose="020B0604020202020204" pitchFamily="34" charset="0"/>
        <a:buChar char="•"/>
        <a:defRPr sz="3033" kern="1200">
          <a:solidFill>
            <a:schemeClr val="tx1"/>
          </a:solidFill>
          <a:latin typeface="+mn-lt"/>
          <a:ea typeface="+mn-ea"/>
          <a:cs typeface="+mn-cs"/>
        </a:defRPr>
      </a:lvl1pPr>
      <a:lvl2pPr marL="742937" indent="-247645" algn="l" defTabSz="990584" rtl="0" eaLnBrk="1" latinLnBrk="0" hangingPunct="1">
        <a:lnSpc>
          <a:spcPct val="90000"/>
        </a:lnSpc>
        <a:spcBef>
          <a:spcPts val="542"/>
        </a:spcBef>
        <a:buFont typeface="Arial" panose="020B0604020202020204" pitchFamily="34" charset="0"/>
        <a:buChar char="•"/>
        <a:defRPr sz="2600" kern="1200">
          <a:solidFill>
            <a:schemeClr val="tx1"/>
          </a:solidFill>
          <a:latin typeface="+mn-lt"/>
          <a:ea typeface="+mn-ea"/>
          <a:cs typeface="+mn-cs"/>
        </a:defRPr>
      </a:lvl2pPr>
      <a:lvl3pPr marL="1238227" indent="-247645" algn="l" defTabSz="990584" rtl="0" eaLnBrk="1" latinLnBrk="0" hangingPunct="1">
        <a:lnSpc>
          <a:spcPct val="90000"/>
        </a:lnSpc>
        <a:spcBef>
          <a:spcPts val="542"/>
        </a:spcBef>
        <a:buFont typeface="Arial" panose="020B0604020202020204" pitchFamily="34" charset="0"/>
        <a:buChar char="•"/>
        <a:defRPr sz="2167" kern="1200">
          <a:solidFill>
            <a:schemeClr val="tx1"/>
          </a:solidFill>
          <a:latin typeface="+mn-lt"/>
          <a:ea typeface="+mn-ea"/>
          <a:cs typeface="+mn-cs"/>
        </a:defRPr>
      </a:lvl3pPr>
      <a:lvl4pPr marL="1733520"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4pPr>
      <a:lvl5pPr marL="2228811"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5pPr>
      <a:lvl6pPr marL="2724103"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6pPr>
      <a:lvl7pPr marL="3219395"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7pPr>
      <a:lvl8pPr marL="3714686"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8pPr>
      <a:lvl9pPr marL="4209978" indent="-247645" algn="l" defTabSz="990584" rtl="0" eaLnBrk="1" latinLnBrk="0" hangingPunct="1">
        <a:lnSpc>
          <a:spcPct val="90000"/>
        </a:lnSpc>
        <a:spcBef>
          <a:spcPts val="542"/>
        </a:spcBef>
        <a:buFont typeface="Arial" panose="020B0604020202020204" pitchFamily="34" charset="0"/>
        <a:buChar char="•"/>
        <a:defRPr sz="1950" kern="1200">
          <a:solidFill>
            <a:schemeClr val="tx1"/>
          </a:solidFill>
          <a:latin typeface="+mn-lt"/>
          <a:ea typeface="+mn-ea"/>
          <a:cs typeface="+mn-cs"/>
        </a:defRPr>
      </a:lvl9pPr>
    </p:bodyStyle>
    <p:otherStyle>
      <a:defPPr>
        <a:defRPr lang="ru-RU"/>
      </a:defPPr>
      <a:lvl1pPr marL="0" algn="l" defTabSz="990584" rtl="0" eaLnBrk="1" latinLnBrk="0" hangingPunct="1">
        <a:defRPr sz="1950" kern="1200">
          <a:solidFill>
            <a:schemeClr val="tx1"/>
          </a:solidFill>
          <a:latin typeface="+mn-lt"/>
          <a:ea typeface="+mn-ea"/>
          <a:cs typeface="+mn-cs"/>
        </a:defRPr>
      </a:lvl1pPr>
      <a:lvl2pPr marL="495293" algn="l" defTabSz="990584" rtl="0" eaLnBrk="1" latinLnBrk="0" hangingPunct="1">
        <a:defRPr sz="1950" kern="1200">
          <a:solidFill>
            <a:schemeClr val="tx1"/>
          </a:solidFill>
          <a:latin typeface="+mn-lt"/>
          <a:ea typeface="+mn-ea"/>
          <a:cs typeface="+mn-cs"/>
        </a:defRPr>
      </a:lvl2pPr>
      <a:lvl3pPr marL="990584" algn="l" defTabSz="990584" rtl="0" eaLnBrk="1" latinLnBrk="0" hangingPunct="1">
        <a:defRPr sz="1950" kern="1200">
          <a:solidFill>
            <a:schemeClr val="tx1"/>
          </a:solidFill>
          <a:latin typeface="+mn-lt"/>
          <a:ea typeface="+mn-ea"/>
          <a:cs typeface="+mn-cs"/>
        </a:defRPr>
      </a:lvl3pPr>
      <a:lvl4pPr marL="1485875" algn="l" defTabSz="990584" rtl="0" eaLnBrk="1" latinLnBrk="0" hangingPunct="1">
        <a:defRPr sz="1950" kern="1200">
          <a:solidFill>
            <a:schemeClr val="tx1"/>
          </a:solidFill>
          <a:latin typeface="+mn-lt"/>
          <a:ea typeface="+mn-ea"/>
          <a:cs typeface="+mn-cs"/>
        </a:defRPr>
      </a:lvl4pPr>
      <a:lvl5pPr marL="1981165" algn="l" defTabSz="990584" rtl="0" eaLnBrk="1" latinLnBrk="0" hangingPunct="1">
        <a:defRPr sz="1950" kern="1200">
          <a:solidFill>
            <a:schemeClr val="tx1"/>
          </a:solidFill>
          <a:latin typeface="+mn-lt"/>
          <a:ea typeface="+mn-ea"/>
          <a:cs typeface="+mn-cs"/>
        </a:defRPr>
      </a:lvl5pPr>
      <a:lvl6pPr marL="2476457" algn="l" defTabSz="990584" rtl="0" eaLnBrk="1" latinLnBrk="0" hangingPunct="1">
        <a:defRPr sz="1950" kern="1200">
          <a:solidFill>
            <a:schemeClr val="tx1"/>
          </a:solidFill>
          <a:latin typeface="+mn-lt"/>
          <a:ea typeface="+mn-ea"/>
          <a:cs typeface="+mn-cs"/>
        </a:defRPr>
      </a:lvl6pPr>
      <a:lvl7pPr marL="2971749" algn="l" defTabSz="990584" rtl="0" eaLnBrk="1" latinLnBrk="0" hangingPunct="1">
        <a:defRPr sz="1950" kern="1200">
          <a:solidFill>
            <a:schemeClr val="tx1"/>
          </a:solidFill>
          <a:latin typeface="+mn-lt"/>
          <a:ea typeface="+mn-ea"/>
          <a:cs typeface="+mn-cs"/>
        </a:defRPr>
      </a:lvl7pPr>
      <a:lvl8pPr marL="3467040" algn="l" defTabSz="990584" rtl="0" eaLnBrk="1" latinLnBrk="0" hangingPunct="1">
        <a:defRPr sz="1950" kern="1200">
          <a:solidFill>
            <a:schemeClr val="tx1"/>
          </a:solidFill>
          <a:latin typeface="+mn-lt"/>
          <a:ea typeface="+mn-ea"/>
          <a:cs typeface="+mn-cs"/>
        </a:defRPr>
      </a:lvl8pPr>
      <a:lvl9pPr marL="3962331" algn="l" defTabSz="990584" rtl="0" eaLnBrk="1" latinLnBrk="0" hangingPunct="1">
        <a:defRPr sz="19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7"/>
          <a:srcRect/>
          <a:stretch>
            <a:fillRect/>
          </a:stretch>
        </a:blip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5"/>
            </p:custDataLst>
            <p:extLst>
              <p:ext uri="{D42A27DB-BD31-4B8C-83A1-F6EECF244321}">
                <p14:modId xmlns:p14="http://schemas.microsoft.com/office/powerpoint/2010/main" val="57198320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8" imgW="306" imgH="306" progId="TCLayout.ActiveDocument.1">
                  <p:embed/>
                </p:oleObj>
              </mc:Choice>
              <mc:Fallback>
                <p:oleObj name="think-cell Slide" r:id="rId18" imgW="306" imgH="306" progId="TCLayout.ActiveDocument.1">
                  <p:embed/>
                  <p:pic>
                    <p:nvPicPr>
                      <p:cNvPr id="3" name="Объект 2" hidden="1"/>
                      <p:cNvPicPr/>
                      <p:nvPr/>
                    </p:nvPicPr>
                    <p:blipFill>
                      <a:blip r:embed="rId19"/>
                      <a:stretch>
                        <a:fillRect/>
                      </a:stretch>
                    </p:blipFill>
                    <p:spPr>
                      <a:xfrm>
                        <a:off x="1589" y="1588"/>
                        <a:ext cx="1588" cy="1588"/>
                      </a:xfrm>
                      <a:prstGeom prst="rect">
                        <a:avLst/>
                      </a:prstGeom>
                    </p:spPr>
                  </p:pic>
                </p:oleObj>
              </mc:Fallback>
            </mc:AlternateContent>
          </a:graphicData>
        </a:graphic>
      </p:graphicFrame>
      <p:sp>
        <p:nvSpPr>
          <p:cNvPr id="2" name="Прямоугольник 1" hidden="1"/>
          <p:cNvSpPr/>
          <p:nvPr userDrawn="1">
            <p:custDataLst>
              <p:tags r:id="rId16"/>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0"/>
            <a:endParaRPr lang="ru-RU"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050" name="Rectangle 2"/>
          <p:cNvSpPr>
            <a:spLocks noGrp="1" noChangeArrowheads="1"/>
          </p:cNvSpPr>
          <p:nvPr>
            <p:ph type="sldNum" sz="quarter" idx="4"/>
          </p:nvPr>
        </p:nvSpPr>
        <p:spPr bwMode="auto">
          <a:xfrm>
            <a:off x="8259766" y="6448431"/>
            <a:ext cx="627062" cy="377825"/>
          </a:xfrm>
          <a:prstGeom prst="rect">
            <a:avLst/>
          </a:prstGeom>
          <a:noFill/>
          <a:ln w="9525">
            <a:noFill/>
            <a:miter lim="800000"/>
            <a:headEnd/>
            <a:tailEnd/>
          </a:ln>
          <a:effectLst/>
        </p:spPr>
        <p:txBody>
          <a:bodyPr vert="horz" wrap="square" lIns="0" tIns="0" rIns="0" bIns="0" numCol="1" anchor="ctr" anchorCtr="1" compatLnSpc="1">
            <a:prstTxWarp prst="textNoShape">
              <a:avLst/>
            </a:prstTxWarp>
          </a:bodyPr>
          <a:lstStyle>
            <a:lvl1pPr algn="r" eaLnBrk="1" hangingPunct="1">
              <a:defRPr sz="2200" b="1" smtClean="0">
                <a:solidFill>
                  <a:srgbClr val="003274"/>
                </a:solidFill>
              </a:defRPr>
            </a:lvl1pPr>
          </a:lstStyle>
          <a:p>
            <a:pPr>
              <a:defRPr/>
            </a:pPr>
            <a:fld id="{A9A1C6A2-0718-4B41-9327-889A5F9A733A}" type="slidenum">
              <a:rPr lang="ru-RU" altLang="ru-RU"/>
              <a:pPr>
                <a:defRPr/>
              </a:pPr>
              <a:t>‹#›</a:t>
            </a:fld>
            <a:endParaRPr lang="ru-RU" altLang="ru-RU"/>
          </a:p>
        </p:txBody>
      </p:sp>
      <p:sp>
        <p:nvSpPr>
          <p:cNvPr id="7171" name="Rectangle 3"/>
          <p:cNvSpPr>
            <a:spLocks noGrp="1" noChangeArrowheads="1"/>
          </p:cNvSpPr>
          <p:nvPr>
            <p:ph type="body" idx="1"/>
          </p:nvPr>
        </p:nvSpPr>
        <p:spPr bwMode="auto">
          <a:xfrm>
            <a:off x="468315" y="1125539"/>
            <a:ext cx="8424863" cy="5148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ru-RU" altLang="ru-RU"/>
              <a:t>Образец текста</a:t>
            </a:r>
          </a:p>
          <a:p>
            <a:pPr lvl="1"/>
            <a:r>
              <a:rPr lang="ru-RU" altLang="ru-RU"/>
              <a:t>Второй уровень</a:t>
            </a:r>
          </a:p>
        </p:txBody>
      </p:sp>
      <p:sp>
        <p:nvSpPr>
          <p:cNvPr id="7172" name="Rectangle 4"/>
          <p:cNvSpPr>
            <a:spLocks noGrp="1" noChangeArrowheads="1"/>
          </p:cNvSpPr>
          <p:nvPr>
            <p:ph type="title"/>
          </p:nvPr>
        </p:nvSpPr>
        <p:spPr bwMode="auto">
          <a:xfrm>
            <a:off x="468315" y="0"/>
            <a:ext cx="76327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ru-RU"/>
              <a:t>Образец заголовка</a:t>
            </a:r>
          </a:p>
        </p:txBody>
      </p:sp>
      <p:pic>
        <p:nvPicPr>
          <p:cNvPr id="7173" name="navigation8" descr="ujkm,"/>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8005766" y="106363"/>
            <a:ext cx="88741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6588688"/>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Lst>
  <p:transition/>
  <p:hf hdr="0" ftr="0" dt="0"/>
  <p:txStyles>
    <p:titleStyle>
      <a:lvl1pPr algn="l" rtl="0" eaLnBrk="0" fontAlgn="base" hangingPunct="0">
        <a:spcBef>
          <a:spcPct val="0"/>
        </a:spcBef>
        <a:spcAft>
          <a:spcPct val="0"/>
        </a:spcAft>
        <a:defRPr sz="2000" b="1">
          <a:solidFill>
            <a:schemeClr val="hlink"/>
          </a:solidFill>
          <a:latin typeface="+mj-lt"/>
          <a:ea typeface="+mj-ea"/>
          <a:cs typeface="+mj-cs"/>
        </a:defRPr>
      </a:lvl1pPr>
      <a:lvl2pPr algn="l" rtl="0" eaLnBrk="0" fontAlgn="base" hangingPunct="0">
        <a:spcBef>
          <a:spcPct val="0"/>
        </a:spcBef>
        <a:spcAft>
          <a:spcPct val="0"/>
        </a:spcAft>
        <a:defRPr sz="2000" b="1">
          <a:solidFill>
            <a:schemeClr val="hlink"/>
          </a:solidFill>
          <a:latin typeface="Arial" charset="0"/>
          <a:cs typeface="Arial" charset="0"/>
        </a:defRPr>
      </a:lvl2pPr>
      <a:lvl3pPr algn="l" rtl="0" eaLnBrk="0" fontAlgn="base" hangingPunct="0">
        <a:spcBef>
          <a:spcPct val="0"/>
        </a:spcBef>
        <a:spcAft>
          <a:spcPct val="0"/>
        </a:spcAft>
        <a:defRPr sz="2000" b="1">
          <a:solidFill>
            <a:schemeClr val="hlink"/>
          </a:solidFill>
          <a:latin typeface="Arial" charset="0"/>
          <a:cs typeface="Arial" charset="0"/>
        </a:defRPr>
      </a:lvl3pPr>
      <a:lvl4pPr algn="l" rtl="0" eaLnBrk="0" fontAlgn="base" hangingPunct="0">
        <a:spcBef>
          <a:spcPct val="0"/>
        </a:spcBef>
        <a:spcAft>
          <a:spcPct val="0"/>
        </a:spcAft>
        <a:defRPr sz="2000" b="1">
          <a:solidFill>
            <a:schemeClr val="hlink"/>
          </a:solidFill>
          <a:latin typeface="Arial" charset="0"/>
          <a:cs typeface="Arial" charset="0"/>
        </a:defRPr>
      </a:lvl4pPr>
      <a:lvl5pPr algn="l" rtl="0" eaLnBrk="0" fontAlgn="base" hangingPunct="0">
        <a:spcBef>
          <a:spcPct val="0"/>
        </a:spcBef>
        <a:spcAft>
          <a:spcPct val="0"/>
        </a:spcAft>
        <a:defRPr sz="2000" b="1">
          <a:solidFill>
            <a:schemeClr val="hlink"/>
          </a:solidFill>
          <a:latin typeface="Arial" charset="0"/>
          <a:cs typeface="Arial" charset="0"/>
        </a:defRPr>
      </a:lvl5pPr>
      <a:lvl6pPr marL="456864" algn="l" rtl="0" fontAlgn="base">
        <a:spcBef>
          <a:spcPct val="0"/>
        </a:spcBef>
        <a:spcAft>
          <a:spcPct val="0"/>
        </a:spcAft>
        <a:defRPr sz="2000" b="1">
          <a:solidFill>
            <a:schemeClr val="hlink"/>
          </a:solidFill>
          <a:latin typeface="Arial" charset="0"/>
          <a:cs typeface="Arial" charset="0"/>
        </a:defRPr>
      </a:lvl6pPr>
      <a:lvl7pPr marL="913722" algn="l" rtl="0" fontAlgn="base">
        <a:spcBef>
          <a:spcPct val="0"/>
        </a:spcBef>
        <a:spcAft>
          <a:spcPct val="0"/>
        </a:spcAft>
        <a:defRPr sz="2000" b="1">
          <a:solidFill>
            <a:schemeClr val="hlink"/>
          </a:solidFill>
          <a:latin typeface="Arial" charset="0"/>
          <a:cs typeface="Arial" charset="0"/>
        </a:defRPr>
      </a:lvl7pPr>
      <a:lvl8pPr marL="1370584" algn="l" rtl="0" fontAlgn="base">
        <a:spcBef>
          <a:spcPct val="0"/>
        </a:spcBef>
        <a:spcAft>
          <a:spcPct val="0"/>
        </a:spcAft>
        <a:defRPr sz="2000" b="1">
          <a:solidFill>
            <a:schemeClr val="hlink"/>
          </a:solidFill>
          <a:latin typeface="Arial" charset="0"/>
          <a:cs typeface="Arial" charset="0"/>
        </a:defRPr>
      </a:lvl8pPr>
      <a:lvl9pPr marL="1827444" algn="l" rtl="0" fontAlgn="base">
        <a:spcBef>
          <a:spcPct val="0"/>
        </a:spcBef>
        <a:spcAft>
          <a:spcPct val="0"/>
        </a:spcAft>
        <a:defRPr sz="2000" b="1">
          <a:solidFill>
            <a:schemeClr val="hlink"/>
          </a:solidFill>
          <a:latin typeface="Arial" charset="0"/>
          <a:cs typeface="Arial" charset="0"/>
        </a:defRPr>
      </a:lvl9pPr>
    </p:titleStyle>
    <p:bodyStyle>
      <a:lvl1pPr marL="179369" indent="-179369" algn="l" rtl="0" eaLnBrk="0" fontAlgn="base" hangingPunct="0">
        <a:lnSpc>
          <a:spcPct val="110000"/>
        </a:lnSpc>
        <a:spcBef>
          <a:spcPct val="40000"/>
        </a:spcBef>
        <a:spcAft>
          <a:spcPct val="20000"/>
        </a:spcAft>
        <a:buBlip>
          <a:blip r:embed="rId21"/>
        </a:buBlip>
        <a:defRPr sz="1600">
          <a:solidFill>
            <a:schemeClr val="tx1"/>
          </a:solidFill>
          <a:latin typeface="+mn-lt"/>
          <a:ea typeface="+mn-ea"/>
          <a:cs typeface="+mn-cs"/>
        </a:defRPr>
      </a:lvl1pPr>
      <a:lvl2pPr marL="358737" indent="-176195" algn="l" rtl="0" eaLnBrk="0" fontAlgn="base" hangingPunct="0">
        <a:lnSpc>
          <a:spcPct val="110000"/>
        </a:lnSpc>
        <a:spcBef>
          <a:spcPct val="0"/>
        </a:spcBef>
        <a:spcAft>
          <a:spcPct val="20000"/>
        </a:spcAft>
        <a:buBlip>
          <a:blip r:embed="rId22"/>
        </a:buBlip>
        <a:defRPr sz="1400">
          <a:solidFill>
            <a:schemeClr val="tx1"/>
          </a:solidFill>
          <a:latin typeface="+mn-lt"/>
          <a:cs typeface="+mn-cs"/>
        </a:defRPr>
      </a:lvl2pPr>
      <a:lvl3pPr marL="1160340" indent="-266672" algn="l" rtl="0" eaLnBrk="0" fontAlgn="base" hangingPunct="0">
        <a:spcBef>
          <a:spcPct val="0"/>
        </a:spcBef>
        <a:spcAft>
          <a:spcPct val="30000"/>
        </a:spcAft>
        <a:buBlip>
          <a:blip r:embed="rId22"/>
        </a:buBlip>
        <a:defRPr sz="2200">
          <a:solidFill>
            <a:schemeClr val="tx1"/>
          </a:solidFill>
          <a:latin typeface="+mn-lt"/>
          <a:cs typeface="+mn-cs"/>
        </a:defRPr>
      </a:lvl3pPr>
      <a:lvl4pPr marL="1663524" indent="-226989" algn="l" rtl="0" eaLnBrk="0" fontAlgn="base" hangingPunct="0">
        <a:spcBef>
          <a:spcPct val="20000"/>
        </a:spcBef>
        <a:spcAft>
          <a:spcPct val="0"/>
        </a:spcAft>
        <a:buChar char="–"/>
        <a:defRPr sz="2000">
          <a:solidFill>
            <a:schemeClr val="tx1"/>
          </a:solidFill>
          <a:latin typeface="+mn-lt"/>
          <a:cs typeface="+mn-cs"/>
        </a:defRPr>
      </a:lvl4pPr>
      <a:lvl5pPr marL="2071468" indent="-226989" algn="l" rtl="0" eaLnBrk="0" fontAlgn="base" hangingPunct="0">
        <a:spcBef>
          <a:spcPct val="20000"/>
        </a:spcBef>
        <a:spcAft>
          <a:spcPct val="0"/>
        </a:spcAft>
        <a:buChar char="»"/>
        <a:defRPr sz="2000">
          <a:solidFill>
            <a:schemeClr val="tx1"/>
          </a:solidFill>
          <a:latin typeface="+mn-lt"/>
          <a:cs typeface="+mn-cs"/>
        </a:defRPr>
      </a:lvl5pPr>
      <a:lvl6pPr marL="2528599" indent="-228429" algn="l" rtl="0" fontAlgn="base">
        <a:spcBef>
          <a:spcPct val="20000"/>
        </a:spcBef>
        <a:spcAft>
          <a:spcPct val="0"/>
        </a:spcAft>
        <a:buChar char="»"/>
        <a:defRPr sz="2000">
          <a:solidFill>
            <a:schemeClr val="tx1"/>
          </a:solidFill>
          <a:latin typeface="+mn-lt"/>
          <a:cs typeface="+mn-cs"/>
        </a:defRPr>
      </a:lvl6pPr>
      <a:lvl7pPr marL="2985459" indent="-228429" algn="l" rtl="0" fontAlgn="base">
        <a:spcBef>
          <a:spcPct val="20000"/>
        </a:spcBef>
        <a:spcAft>
          <a:spcPct val="0"/>
        </a:spcAft>
        <a:buChar char="»"/>
        <a:defRPr sz="2000">
          <a:solidFill>
            <a:schemeClr val="tx1"/>
          </a:solidFill>
          <a:latin typeface="+mn-lt"/>
          <a:cs typeface="+mn-cs"/>
        </a:defRPr>
      </a:lvl7pPr>
      <a:lvl8pPr marL="3442320" indent="-228429" algn="l" rtl="0" fontAlgn="base">
        <a:spcBef>
          <a:spcPct val="20000"/>
        </a:spcBef>
        <a:spcAft>
          <a:spcPct val="0"/>
        </a:spcAft>
        <a:buChar char="»"/>
        <a:defRPr sz="2000">
          <a:solidFill>
            <a:schemeClr val="tx1"/>
          </a:solidFill>
          <a:latin typeface="+mn-lt"/>
          <a:cs typeface="+mn-cs"/>
        </a:defRPr>
      </a:lvl8pPr>
      <a:lvl9pPr marL="3899182" indent="-228429"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1" y="0"/>
          <a:ext cx="161984" cy="161974"/>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103713" y="1980018"/>
            <a:ext cx="193803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612" b="0" i="0" u="none" strike="noStrike" kern="1200" cap="none" spc="0" normalizeH="0" baseline="0" noProof="0" dirty="0">
                <a:ln>
                  <a:noFill/>
                </a:ln>
                <a:solidFill>
                  <a:srgbClr val="000000"/>
                </a:solidFill>
                <a:effectLst/>
                <a:uLnTx/>
                <a:uFillTx/>
                <a:latin typeface="Arial" charset="0"/>
                <a:ea typeface="+mn-ea"/>
                <a:cs typeface="+mn-cs"/>
              </a:rPr>
              <a:t>Last Modified 25.04.2014 19:06 Russian Standard Time</a:t>
            </a:r>
            <a:endParaRPr kumimoji="0" lang="ru-RU"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35" name="Printed" hidden="1"/>
          <p:cNvSpPr txBox="1">
            <a:spLocks noChangeArrowheads="1"/>
          </p:cNvSpPr>
          <p:nvPr/>
        </p:nvSpPr>
        <p:spPr bwMode="auto">
          <a:xfrm rot="5400000">
            <a:off x="8212718" y="4197999"/>
            <a:ext cx="17200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612" b="0" i="0" u="none" strike="noStrike" kern="1200" cap="none" spc="0" normalizeH="0" baseline="0" noProof="0" dirty="0">
                <a:ln>
                  <a:noFill/>
                </a:ln>
                <a:solidFill>
                  <a:srgbClr val="000000"/>
                </a:solidFill>
                <a:effectLst/>
                <a:uLnTx/>
                <a:uFillTx/>
                <a:latin typeface="Arial" charset="0"/>
                <a:ea typeface="+mn-ea"/>
                <a:cs typeface="+mn-cs"/>
              </a:rPr>
              <a:t>Printed 24.04.2014 20:59 Russian Standard Time</a:t>
            </a:r>
            <a:endParaRPr kumimoji="0" lang="ru-RU"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 name="Title Placeholder 2"/>
          <p:cNvSpPr>
            <a:spLocks noGrp="1" noChangeArrowheads="1"/>
          </p:cNvSpPr>
          <p:nvPr>
            <p:ph type="title"/>
          </p:nvPr>
        </p:nvSpPr>
        <p:spPr bwMode="auto">
          <a:xfrm>
            <a:off x="129184" y="301936"/>
            <a:ext cx="794509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dirty="0"/>
              <a:t>Click to edit Master title style</a:t>
            </a:r>
            <a:endParaRPr lang="ru-RU" dirty="0"/>
          </a:p>
        </p:txBody>
      </p:sp>
      <p:sp>
        <p:nvSpPr>
          <p:cNvPr id="10" name="McK 1. On-page tracker" hidden="1"/>
          <p:cNvSpPr>
            <a:spLocks noChangeArrowheads="1"/>
          </p:cNvSpPr>
          <p:nvPr/>
        </p:nvSpPr>
        <p:spPr bwMode="auto">
          <a:xfrm>
            <a:off x="129184"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ru-RU" sz="1428"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McK 3. Unit of measure" hidden="1"/>
          <p:cNvSpPr txBox="1">
            <a:spLocks noChangeArrowheads="1"/>
          </p:cNvSpPr>
          <p:nvPr/>
        </p:nvSpPr>
        <p:spPr bwMode="auto">
          <a:xfrm>
            <a:off x="121489" y="946660"/>
            <a:ext cx="879411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a:pPr>
            <a:r>
              <a:rPr kumimoji="0" lang="ru-RU" sz="1632" b="0" i="0" u="none" strike="noStrike" kern="1200" cap="none" spc="0" normalizeH="0" baseline="0" noProof="0" dirty="0">
                <a:ln>
                  <a:noFill/>
                </a:ln>
                <a:solidFill>
                  <a:srgbClr val="808080"/>
                </a:solidFill>
                <a:effectLst/>
                <a:uLnTx/>
                <a:uFillTx/>
                <a:latin typeface="Arial" charset="0"/>
                <a:ea typeface="+mn-ea"/>
                <a:cs typeface="+mn-cs"/>
              </a:rPr>
              <a:t>Unit of measure</a:t>
            </a:r>
          </a:p>
        </p:txBody>
      </p:sp>
      <p:sp>
        <p:nvSpPr>
          <p:cNvPr id="13" name="McK 4. Footnote" hidden="1"/>
          <p:cNvSpPr txBox="1">
            <a:spLocks noChangeArrowheads="1"/>
          </p:cNvSpPr>
          <p:nvPr/>
        </p:nvSpPr>
        <p:spPr bwMode="auto">
          <a:xfrm>
            <a:off x="121490" y="6261112"/>
            <a:ext cx="8722841"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a:pPr>
            <a:r>
              <a:rPr kumimoji="0" lang="ru-RU" sz="1020" b="0" i="0" u="none" strike="noStrike" kern="1200" cap="none" spc="0" normalizeH="0" baseline="0" noProof="0" dirty="0">
                <a:ln>
                  <a:noFill/>
                </a:ln>
                <a:solidFill>
                  <a:srgbClr val="000000"/>
                </a:solidFill>
                <a:effectLst/>
                <a:uLnTx/>
                <a:uFillTx/>
                <a:latin typeface="Arial"/>
                <a:ea typeface="+mn-ea"/>
                <a:cs typeface="+mn-cs"/>
              </a:rPr>
              <a:t>1 Сноска</a:t>
            </a:r>
          </a:p>
        </p:txBody>
      </p:sp>
      <p:sp>
        <p:nvSpPr>
          <p:cNvPr id="14" name="McK 5. Source" hidden="1"/>
          <p:cNvSpPr>
            <a:spLocks noChangeArrowheads="1"/>
          </p:cNvSpPr>
          <p:nvPr/>
        </p:nvSpPr>
        <p:spPr bwMode="auto">
          <a:xfrm>
            <a:off x="121489" y="6578595"/>
            <a:ext cx="700257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ru-RU" sz="1020" b="0" i="0" u="none" strike="noStrike" kern="1200" cap="none" spc="0" normalizeH="0" baseline="0" noProof="0" dirty="0">
                <a:ln>
                  <a:noFill/>
                </a:ln>
                <a:solidFill>
                  <a:srgbClr val="000000"/>
                </a:solidFill>
                <a:effectLst/>
                <a:uLnTx/>
                <a:uFillTx/>
                <a:latin typeface="Arial"/>
                <a:ea typeface="+mn-ea"/>
                <a:cs typeface="+mn-cs"/>
              </a:rPr>
              <a:t>ИСТОЧНИК: источник</a:t>
            </a:r>
          </a:p>
        </p:txBody>
      </p:sp>
      <p:grpSp>
        <p:nvGrpSpPr>
          <p:cNvPr id="15" name="ACET" hidden="1"/>
          <p:cNvGrpSpPr>
            <a:grpSpLocks/>
          </p:cNvGrpSpPr>
          <p:nvPr/>
        </p:nvGrpSpPr>
        <p:grpSpPr bwMode="auto">
          <a:xfrm>
            <a:off x="1482156"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ru-RU" sz="1632" b="1" i="0" u="none" strike="noStrike" kern="1200" cap="none" spc="0" normalizeH="0" baseline="0" noProof="0" dirty="0">
                  <a:ln>
                    <a:noFill/>
                  </a:ln>
                  <a:solidFill>
                    <a:srgbClr val="000000"/>
                  </a:solidFill>
                  <a:effectLst/>
                  <a:uLnTx/>
                  <a:uFillTx/>
                  <a:latin typeface="Arial" charset="0"/>
                  <a:ea typeface="+mn-ea"/>
                  <a:cs typeface="+mn-cs"/>
                </a:rPr>
                <a:t>Title</a:t>
              </a:r>
            </a:p>
            <a:p>
              <a:pPr marL="0" marR="0" lvl="0" indent="0" algn="l" defTabSz="932962" rtl="0" eaLnBrk="1" fontAlgn="base" latinLnBrk="0" hangingPunct="1">
                <a:lnSpc>
                  <a:spcPct val="100000"/>
                </a:lnSpc>
                <a:spcBef>
                  <a:spcPct val="0"/>
                </a:spcBef>
                <a:spcAft>
                  <a:spcPct val="0"/>
                </a:spcAft>
                <a:buClrTx/>
                <a:buSzTx/>
                <a:buFontTx/>
                <a:buNone/>
                <a:tabLst/>
                <a:defRPr/>
              </a:pPr>
              <a:r>
                <a:rPr kumimoji="0" lang="ru-RU" sz="1632" b="0" i="0" u="none" strike="noStrike" kern="1200" cap="none" spc="0" normalizeH="0" baseline="0" noProof="0" dirty="0">
                  <a:ln>
                    <a:noFill/>
                  </a:ln>
                  <a:solidFill>
                    <a:srgbClr val="808080"/>
                  </a:solidFill>
                  <a:effectLst/>
                  <a:uLnTx/>
                  <a:uFillTx/>
                  <a:latin typeface="Arial" charset="0"/>
                  <a:ea typeface="+mn-ea"/>
                  <a:cs typeface="+mn-cs"/>
                </a:rPr>
                <a:t>Unit of measure</a:t>
              </a:r>
            </a:p>
          </p:txBody>
        </p:sp>
      </p:grpSp>
      <p:sp>
        <p:nvSpPr>
          <p:cNvPr id="23" name="Line 16"/>
          <p:cNvSpPr>
            <a:spLocks noChangeShapeType="1"/>
          </p:cNvSpPr>
          <p:nvPr userDrawn="1"/>
        </p:nvSpPr>
        <p:spPr bwMode="auto">
          <a:xfrm>
            <a:off x="121489" y="6454684"/>
            <a:ext cx="8891762" cy="0"/>
          </a:xfrm>
          <a:prstGeom prst="line">
            <a:avLst/>
          </a:prstGeom>
          <a:noFill/>
          <a:ln w="9525">
            <a:solidFill>
              <a:srgbClr val="1C436A"/>
            </a:solidFill>
            <a:round/>
            <a:headEnd type="none" w="lg" len="lg"/>
            <a:tailEnd type="none" w="lg" len="lg"/>
          </a:ln>
        </p:spPr>
        <p:txBody>
          <a:bodyPr wrap="none" tIns="93297" bIns="93297"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ru-RU" sz="1837"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0" name="Line 16"/>
          <p:cNvSpPr>
            <a:spLocks noChangeShapeType="1"/>
          </p:cNvSpPr>
          <p:nvPr userDrawn="1"/>
        </p:nvSpPr>
        <p:spPr bwMode="auto">
          <a:xfrm>
            <a:off x="129184" y="902198"/>
            <a:ext cx="8885635" cy="0"/>
          </a:xfrm>
          <a:prstGeom prst="line">
            <a:avLst/>
          </a:prstGeom>
          <a:noFill/>
          <a:ln w="28575">
            <a:solidFill>
              <a:srgbClr val="1C436A"/>
            </a:solidFill>
            <a:round/>
            <a:headEnd type="none" w="lg" len="lg"/>
            <a:tailEnd type="none" w="lg" len="lg"/>
          </a:ln>
        </p:spPr>
        <p:txBody>
          <a:bodyPr wrap="none" tIns="93297" bIns="93297"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ru-RU" sz="1837"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18" name="navigation8" descr="ujkm,"/>
          <p:cNvPicPr>
            <a:picLocks noChangeAspect="1" noChangeArrowheads="1"/>
          </p:cNvPicPr>
          <p:nvPr userDrawn="1"/>
        </p:nvPicPr>
        <p:blipFill>
          <a:blip r:embed="rId7" cstate="print"/>
          <a:srcRect/>
          <a:stretch>
            <a:fillRect/>
          </a:stretch>
        </p:blipFill>
        <p:spPr bwMode="auto">
          <a:xfrm>
            <a:off x="8178323" y="42455"/>
            <a:ext cx="905490" cy="801773"/>
          </a:xfrm>
          <a:prstGeom prst="rect">
            <a:avLst/>
          </a:prstGeom>
          <a:noFill/>
          <a:ln w="9525">
            <a:noFill/>
            <a:miter lim="800000"/>
            <a:headEnd/>
            <a:tailEnd/>
          </a:ln>
        </p:spPr>
      </p:pic>
    </p:spTree>
    <p:extLst>
      <p:ext uri="{BB962C8B-B14F-4D97-AF65-F5344CB8AC3E}">
        <p14:creationId xmlns:p14="http://schemas.microsoft.com/office/powerpoint/2010/main" val="3335891094"/>
      </p:ext>
    </p:extLst>
  </p:cSld>
  <p:clrMap bg1="lt1" tx1="dk1" bg2="lt2" tx2="dk2" accent1="accent1" accent2="accent2" accent3="accent3" accent4="accent4" accent5="accent5" accent6="accent6" hlink="hlink" folHlink="folHlink"/>
  <p:sldLayoutIdLst>
    <p:sldLayoutId id="2147483789" r:id="rId1"/>
    <p:sldLayoutId id="2147483791" r:id="rId2"/>
  </p:sldLayoutIdLst>
  <p:hf hdr="0" ftr="0" dt="0"/>
  <p:txStyles>
    <p:titleStyle>
      <a:lvl1pPr algn="l" defTabSz="913526" rtl="0" eaLnBrk="1" fontAlgn="base" hangingPunct="1">
        <a:spcBef>
          <a:spcPct val="0"/>
        </a:spcBef>
        <a:spcAft>
          <a:spcPct val="0"/>
        </a:spcAft>
        <a:tabLst>
          <a:tab pos="364439" algn="l"/>
        </a:tabLst>
        <a:defRPr sz="1939" b="1">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1" y="0"/>
          <a:ext cx="161984" cy="161974"/>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auto">
          <a:xfrm rot="5400000">
            <a:off x="8103713" y="1980018"/>
            <a:ext cx="193803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612" b="0" i="0" u="none" strike="noStrike" kern="1200" cap="none" spc="0" normalizeH="0" baseline="0" noProof="0" dirty="0">
                <a:ln>
                  <a:noFill/>
                </a:ln>
                <a:solidFill>
                  <a:srgbClr val="000000"/>
                </a:solidFill>
                <a:effectLst/>
                <a:uLnTx/>
                <a:uFillTx/>
                <a:latin typeface="Arial" charset="0"/>
                <a:ea typeface="+mn-ea"/>
                <a:cs typeface="+mn-cs"/>
              </a:rPr>
              <a:t>Last Modified 25.04.2014 19:06 Russian Standard Time</a:t>
            </a:r>
            <a:endParaRPr kumimoji="0" lang="ru-RU"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35" name="Printed" hidden="1"/>
          <p:cNvSpPr txBox="1">
            <a:spLocks noChangeArrowheads="1"/>
          </p:cNvSpPr>
          <p:nvPr/>
        </p:nvSpPr>
        <p:spPr bwMode="auto">
          <a:xfrm rot="5400000">
            <a:off x="8212718" y="4197999"/>
            <a:ext cx="172002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612" b="0" i="0" u="none" strike="noStrike" kern="1200" cap="none" spc="0" normalizeH="0" baseline="0" noProof="0" dirty="0">
                <a:ln>
                  <a:noFill/>
                </a:ln>
                <a:solidFill>
                  <a:srgbClr val="000000"/>
                </a:solidFill>
                <a:effectLst/>
                <a:uLnTx/>
                <a:uFillTx/>
                <a:latin typeface="Arial" charset="0"/>
                <a:ea typeface="+mn-ea"/>
                <a:cs typeface="+mn-cs"/>
              </a:rPr>
              <a:t>Printed 24.04.2014 20:59 Russian Standard Time</a:t>
            </a:r>
            <a:endParaRPr kumimoji="0" lang="ru-RU"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 name="Title Placeholder 2"/>
          <p:cNvSpPr>
            <a:spLocks noGrp="1" noChangeArrowheads="1"/>
          </p:cNvSpPr>
          <p:nvPr>
            <p:ph type="title"/>
          </p:nvPr>
        </p:nvSpPr>
        <p:spPr bwMode="auto">
          <a:xfrm>
            <a:off x="129184" y="301936"/>
            <a:ext cx="7945099"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dirty="0"/>
              <a:t>Click to edit Master title style</a:t>
            </a:r>
            <a:endParaRPr lang="ru-RU" dirty="0"/>
          </a:p>
        </p:txBody>
      </p:sp>
      <p:sp>
        <p:nvSpPr>
          <p:cNvPr id="10" name="McK 1. On-page tracker" hidden="1"/>
          <p:cNvSpPr>
            <a:spLocks noChangeArrowheads="1"/>
          </p:cNvSpPr>
          <p:nvPr/>
        </p:nvSpPr>
        <p:spPr bwMode="auto">
          <a:xfrm>
            <a:off x="129184" y="27536"/>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ru-RU" sz="1428"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McK 3. Unit of measure" hidden="1"/>
          <p:cNvSpPr txBox="1">
            <a:spLocks noChangeArrowheads="1"/>
          </p:cNvSpPr>
          <p:nvPr/>
        </p:nvSpPr>
        <p:spPr bwMode="auto">
          <a:xfrm>
            <a:off x="121489" y="946660"/>
            <a:ext cx="879411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a:pPr>
            <a:r>
              <a:rPr kumimoji="0" lang="ru-RU" sz="1632" b="0" i="0" u="none" strike="noStrike" kern="1200" cap="none" spc="0" normalizeH="0" baseline="0" noProof="0" dirty="0">
                <a:ln>
                  <a:noFill/>
                </a:ln>
                <a:solidFill>
                  <a:srgbClr val="808080"/>
                </a:solidFill>
                <a:effectLst/>
                <a:uLnTx/>
                <a:uFillTx/>
                <a:latin typeface="Arial" charset="0"/>
                <a:ea typeface="+mn-ea"/>
                <a:cs typeface="+mn-cs"/>
              </a:rPr>
              <a:t>Unit of measure</a:t>
            </a:r>
          </a:p>
        </p:txBody>
      </p:sp>
      <p:sp>
        <p:nvSpPr>
          <p:cNvPr id="13" name="McK 4. Footnote" hidden="1"/>
          <p:cNvSpPr txBox="1">
            <a:spLocks noChangeArrowheads="1"/>
          </p:cNvSpPr>
          <p:nvPr/>
        </p:nvSpPr>
        <p:spPr bwMode="auto">
          <a:xfrm>
            <a:off x="121490" y="6261112"/>
            <a:ext cx="8722841"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a:pPr>
            <a:r>
              <a:rPr kumimoji="0" lang="ru-RU" sz="1020" b="0" i="0" u="none" strike="noStrike" kern="1200" cap="none" spc="0" normalizeH="0" baseline="0" noProof="0" dirty="0">
                <a:ln>
                  <a:noFill/>
                </a:ln>
                <a:solidFill>
                  <a:srgbClr val="000000"/>
                </a:solidFill>
                <a:effectLst/>
                <a:uLnTx/>
                <a:uFillTx/>
                <a:latin typeface="Arial"/>
                <a:ea typeface="+mn-ea"/>
                <a:cs typeface="+mn-cs"/>
              </a:rPr>
              <a:t>1 Сноска</a:t>
            </a:r>
          </a:p>
        </p:txBody>
      </p:sp>
      <p:sp>
        <p:nvSpPr>
          <p:cNvPr id="14" name="McK 5. Source" hidden="1"/>
          <p:cNvSpPr>
            <a:spLocks noChangeArrowheads="1"/>
          </p:cNvSpPr>
          <p:nvPr/>
        </p:nvSpPr>
        <p:spPr bwMode="auto">
          <a:xfrm>
            <a:off x="121489" y="6578595"/>
            <a:ext cx="7002570"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ru-RU" sz="1020" b="0" i="0" u="none" strike="noStrike" kern="1200" cap="none" spc="0" normalizeH="0" baseline="0" noProof="0" dirty="0">
                <a:ln>
                  <a:noFill/>
                </a:ln>
                <a:solidFill>
                  <a:srgbClr val="000000"/>
                </a:solidFill>
                <a:effectLst/>
                <a:uLnTx/>
                <a:uFillTx/>
                <a:latin typeface="Arial"/>
                <a:ea typeface="+mn-ea"/>
                <a:cs typeface="+mn-cs"/>
              </a:rPr>
              <a:t>ИСТОЧНИК: источник</a:t>
            </a:r>
          </a:p>
        </p:txBody>
      </p:sp>
      <p:grpSp>
        <p:nvGrpSpPr>
          <p:cNvPr id="15" name="ACET" hidden="1"/>
          <p:cNvGrpSpPr>
            <a:grpSpLocks/>
          </p:cNvGrpSpPr>
          <p:nvPr/>
        </p:nvGrpSpPr>
        <p:grpSpPr bwMode="auto">
          <a:xfrm>
            <a:off x="1482156"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ru-RU" sz="1632" b="1" i="0" u="none" strike="noStrike" kern="1200" cap="none" spc="0" normalizeH="0" baseline="0" noProof="0" dirty="0">
                  <a:ln>
                    <a:noFill/>
                  </a:ln>
                  <a:solidFill>
                    <a:srgbClr val="000000"/>
                  </a:solidFill>
                  <a:effectLst/>
                  <a:uLnTx/>
                  <a:uFillTx/>
                  <a:latin typeface="Arial" charset="0"/>
                  <a:ea typeface="+mn-ea"/>
                  <a:cs typeface="+mn-cs"/>
                </a:rPr>
                <a:t>Title</a:t>
              </a:r>
            </a:p>
            <a:p>
              <a:pPr marL="0" marR="0" lvl="0" indent="0" algn="l" defTabSz="932962" rtl="0" eaLnBrk="1" fontAlgn="base" latinLnBrk="0" hangingPunct="1">
                <a:lnSpc>
                  <a:spcPct val="100000"/>
                </a:lnSpc>
                <a:spcBef>
                  <a:spcPct val="0"/>
                </a:spcBef>
                <a:spcAft>
                  <a:spcPct val="0"/>
                </a:spcAft>
                <a:buClrTx/>
                <a:buSzTx/>
                <a:buFontTx/>
                <a:buNone/>
                <a:tabLst/>
                <a:defRPr/>
              </a:pPr>
              <a:r>
                <a:rPr kumimoji="0" lang="ru-RU" sz="1632" b="0" i="0" u="none" strike="noStrike" kern="1200" cap="none" spc="0" normalizeH="0" baseline="0" noProof="0" dirty="0">
                  <a:ln>
                    <a:noFill/>
                  </a:ln>
                  <a:solidFill>
                    <a:srgbClr val="808080"/>
                  </a:solidFill>
                  <a:effectLst/>
                  <a:uLnTx/>
                  <a:uFillTx/>
                  <a:latin typeface="Arial" charset="0"/>
                  <a:ea typeface="+mn-ea"/>
                  <a:cs typeface="+mn-cs"/>
                </a:rPr>
                <a:t>Unit of measure</a:t>
              </a:r>
            </a:p>
          </p:txBody>
        </p:sp>
      </p:grpSp>
      <p:sp>
        <p:nvSpPr>
          <p:cNvPr id="23" name="Line 16"/>
          <p:cNvSpPr>
            <a:spLocks noChangeShapeType="1"/>
          </p:cNvSpPr>
          <p:nvPr userDrawn="1"/>
        </p:nvSpPr>
        <p:spPr bwMode="auto">
          <a:xfrm>
            <a:off x="121489" y="6454684"/>
            <a:ext cx="8891762" cy="0"/>
          </a:xfrm>
          <a:prstGeom prst="line">
            <a:avLst/>
          </a:prstGeom>
          <a:noFill/>
          <a:ln w="9525">
            <a:solidFill>
              <a:srgbClr val="1C436A"/>
            </a:solidFill>
            <a:round/>
            <a:headEnd type="none" w="lg" len="lg"/>
            <a:tailEnd type="none" w="lg" len="lg"/>
          </a:ln>
        </p:spPr>
        <p:txBody>
          <a:bodyPr wrap="none" tIns="93297" bIns="93297"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ru-RU" sz="1837"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20" name="Line 16"/>
          <p:cNvSpPr>
            <a:spLocks noChangeShapeType="1"/>
          </p:cNvSpPr>
          <p:nvPr userDrawn="1"/>
        </p:nvSpPr>
        <p:spPr bwMode="auto">
          <a:xfrm>
            <a:off x="129184" y="902198"/>
            <a:ext cx="8885635" cy="0"/>
          </a:xfrm>
          <a:prstGeom prst="line">
            <a:avLst/>
          </a:prstGeom>
          <a:noFill/>
          <a:ln w="28575">
            <a:solidFill>
              <a:srgbClr val="1C436A"/>
            </a:solidFill>
            <a:round/>
            <a:headEnd type="none" w="lg" len="lg"/>
            <a:tailEnd type="none" w="lg" len="lg"/>
          </a:ln>
        </p:spPr>
        <p:txBody>
          <a:bodyPr wrap="none" tIns="93297" bIns="93297"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ru-RU" sz="1837" b="0" i="0" u="none" strike="noStrike" kern="1200" cap="none" spc="0" normalizeH="0" baseline="0" noProof="0" dirty="0">
              <a:ln>
                <a:noFill/>
              </a:ln>
              <a:solidFill>
                <a:srgbClr val="000000"/>
              </a:solidFill>
              <a:effectLst/>
              <a:uLnTx/>
              <a:uFillTx/>
              <a:latin typeface="Arial" charset="0"/>
              <a:ea typeface="+mn-ea"/>
              <a:cs typeface="Arial" charset="0"/>
            </a:endParaRPr>
          </a:p>
        </p:txBody>
      </p:sp>
      <p:pic>
        <p:nvPicPr>
          <p:cNvPr id="18" name="navigation8" descr="ujkm,"/>
          <p:cNvPicPr>
            <a:picLocks noChangeAspect="1" noChangeArrowheads="1"/>
          </p:cNvPicPr>
          <p:nvPr userDrawn="1"/>
        </p:nvPicPr>
        <p:blipFill>
          <a:blip r:embed="rId9" cstate="print"/>
          <a:srcRect/>
          <a:stretch>
            <a:fillRect/>
          </a:stretch>
        </p:blipFill>
        <p:spPr bwMode="auto">
          <a:xfrm>
            <a:off x="8178323" y="42455"/>
            <a:ext cx="905490" cy="801773"/>
          </a:xfrm>
          <a:prstGeom prst="rect">
            <a:avLst/>
          </a:prstGeom>
          <a:noFill/>
          <a:ln w="9525">
            <a:noFill/>
            <a:miter lim="800000"/>
            <a:headEnd/>
            <a:tailEnd/>
          </a:ln>
        </p:spPr>
      </p:pic>
    </p:spTree>
    <p:extLst>
      <p:ext uri="{BB962C8B-B14F-4D97-AF65-F5344CB8AC3E}">
        <p14:creationId xmlns:p14="http://schemas.microsoft.com/office/powerpoint/2010/main" val="427402381"/>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6" r:id="rId3"/>
    <p:sldLayoutId id="2147483797" r:id="rId4"/>
  </p:sldLayoutIdLst>
  <p:hf hdr="0" ftr="0" dt="0"/>
  <p:txStyles>
    <p:titleStyle>
      <a:lvl1pPr algn="l" defTabSz="913526" rtl="0" eaLnBrk="1" fontAlgn="base" hangingPunct="1">
        <a:spcBef>
          <a:spcPct val="0"/>
        </a:spcBef>
        <a:spcAft>
          <a:spcPct val="0"/>
        </a:spcAft>
        <a:tabLst>
          <a:tab pos="364439" algn="l"/>
        </a:tabLst>
        <a:defRPr sz="1939" b="1">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32">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32">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32">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32">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 name="Рисунок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9751" y="620173"/>
            <a:ext cx="1892528" cy="864615"/>
          </a:xfrm>
          <a:prstGeom prst="rect">
            <a:avLst/>
          </a:prstGeom>
        </p:spPr>
      </p:pic>
    </p:spTree>
    <p:extLst>
      <p:ext uri="{BB962C8B-B14F-4D97-AF65-F5344CB8AC3E}">
        <p14:creationId xmlns:p14="http://schemas.microsoft.com/office/powerpoint/2010/main" val="3102292490"/>
      </p:ext>
    </p:extLst>
  </p:cSld>
  <p:clrMap bg1="lt1" tx1="dk1" bg2="lt2" tx2="dk2" accent1="accent1" accent2="accent2" accent3="accent3" accent4="accent4" accent5="accent5" accent6="accent6" hlink="hlink" folHlink="folHlink"/>
  <p:sldLayoutIdLst>
    <p:sldLayoutId id="2147483799"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slideLayout" Target="../slideLayouts/slideLayout34.xml"/><Relationship Id="rId3" Type="http://schemas.openxmlformats.org/officeDocument/2006/relationships/tags" Target="../tags/tag35.xml"/><Relationship Id="rId21" Type="http://schemas.openxmlformats.org/officeDocument/2006/relationships/chart" Target="../charts/chart7.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image" Target="../media/image19.emf"/><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image" Target="../media/image22.emf"/><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image" Target="../media/image21.emf"/><Relationship Id="rId10" Type="http://schemas.openxmlformats.org/officeDocument/2006/relationships/tags" Target="../tags/tag42.xml"/><Relationship Id="rId19" Type="http://schemas.openxmlformats.org/officeDocument/2006/relationships/oleObject" Target="../embeddings/oleObject31.bin"/><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4.xml"/><Relationship Id="rId1" Type="http://schemas.openxmlformats.org/officeDocument/2006/relationships/tags" Target="../tags/tag50.xml"/><Relationship Id="rId5" Type="http://schemas.openxmlformats.org/officeDocument/2006/relationships/image" Target="../media/image19.emf"/><Relationship Id="rId4" Type="http://schemas.openxmlformats.org/officeDocument/2006/relationships/oleObject" Target="../embeddings/oleObject32.bin"/></Relationships>
</file>

<file path=ppt/slides/_rels/slide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35.xml"/><Relationship Id="rId7" Type="http://schemas.openxmlformats.org/officeDocument/2006/relationships/image" Target="../media/image23.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3.emf"/><Relationship Id="rId5" Type="http://schemas.openxmlformats.org/officeDocument/2006/relationships/oleObject" Target="../embeddings/oleObject33.bin"/><Relationship Id="rId4" Type="http://schemas.openxmlformats.org/officeDocument/2006/relationships/notesSlide" Target="../notesSlides/notesSlide3.xml"/><Relationship Id="rId9" Type="http://schemas.openxmlformats.org/officeDocument/2006/relationships/image" Target="../media/image25.jpe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4.xml"/><Relationship Id="rId7" Type="http://schemas.openxmlformats.org/officeDocument/2006/relationships/image" Target="../media/image28.jpeg"/><Relationship Id="rId2" Type="http://schemas.openxmlformats.org/officeDocument/2006/relationships/slideLayout" Target="../slideLayouts/slideLayout36.xml"/><Relationship Id="rId1" Type="http://schemas.openxmlformats.org/officeDocument/2006/relationships/tags" Target="../tags/tag53.xml"/><Relationship Id="rId6" Type="http://schemas.openxmlformats.org/officeDocument/2006/relationships/image" Target="../media/image27.jpeg"/><Relationship Id="rId5" Type="http://schemas.openxmlformats.org/officeDocument/2006/relationships/image" Target="../media/image26.emf"/><Relationship Id="rId4" Type="http://schemas.openxmlformats.org/officeDocument/2006/relationships/oleObject" Target="../embeddings/oleObject3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6.xml"/><Relationship Id="rId1" Type="http://schemas.openxmlformats.org/officeDocument/2006/relationships/tags" Target="../tags/tag54.xml"/><Relationship Id="rId6" Type="http://schemas.openxmlformats.org/officeDocument/2006/relationships/image" Target="../media/image30.jpg"/><Relationship Id="rId5" Type="http://schemas.openxmlformats.org/officeDocument/2006/relationships/image" Target="../media/image26.emf"/><Relationship Id="rId4" Type="http://schemas.openxmlformats.org/officeDocument/2006/relationships/oleObject" Target="../embeddings/oleObject3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xml"/><Relationship Id="rId1" Type="http://schemas.openxmlformats.org/officeDocument/2006/relationships/tags" Target="../tags/tag55.xml"/><Relationship Id="rId6" Type="http://schemas.openxmlformats.org/officeDocument/2006/relationships/image" Target="../media/image31.jpg"/><Relationship Id="rId5" Type="http://schemas.openxmlformats.org/officeDocument/2006/relationships/image" Target="../media/image26.emf"/><Relationship Id="rId4" Type="http://schemas.openxmlformats.org/officeDocument/2006/relationships/oleObject" Target="../embeddings/oleObject3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6.xml"/><Relationship Id="rId1" Type="http://schemas.openxmlformats.org/officeDocument/2006/relationships/tags" Target="../tags/tag56.xml"/><Relationship Id="rId6" Type="http://schemas.openxmlformats.org/officeDocument/2006/relationships/image" Target="../media/image32.jpg"/><Relationship Id="rId5" Type="http://schemas.openxmlformats.org/officeDocument/2006/relationships/image" Target="../media/image26.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1"/>
          <p:cNvSpPr txBox="1">
            <a:spLocks/>
          </p:cNvSpPr>
          <p:nvPr/>
        </p:nvSpPr>
        <p:spPr>
          <a:xfrm>
            <a:off x="395536" y="2708922"/>
            <a:ext cx="8390346" cy="1327315"/>
          </a:xfrm>
          <a:prstGeom prst="rect">
            <a:avLst/>
          </a:prstGeom>
        </p:spPr>
        <p:txBody>
          <a:bodyPr vert="horz" lIns="113590" tIns="56795" rIns="113590" bIns="56795" rtlCol="0" anchor="ctr">
            <a:noAutofit/>
          </a:bodyPr>
          <a:lstStyle/>
          <a:p>
            <a:pPr>
              <a:lnSpc>
                <a:spcPts val="4000"/>
              </a:lnSpc>
              <a:defRPr/>
            </a:pPr>
            <a:r>
              <a:rPr lang="ru-RU" sz="3400" b="1" dirty="0">
                <a:solidFill>
                  <a:srgbClr val="333333"/>
                </a:solidFill>
                <a:latin typeface="Arial" pitchFamily="34" charset="0"/>
                <a:ea typeface="Rosatom Light" pitchFamily="34" charset="-52"/>
                <a:cs typeface="Arial" pitchFamily="34" charset="0"/>
              </a:rPr>
              <a:t>АО «</a:t>
            </a:r>
            <a:r>
              <a:rPr lang="ru-RU" sz="3400" b="1" dirty="0" err="1">
                <a:solidFill>
                  <a:srgbClr val="333333"/>
                </a:solidFill>
                <a:latin typeface="Arial" pitchFamily="34" charset="0"/>
                <a:ea typeface="Rosatom Light" pitchFamily="34" charset="-52"/>
                <a:cs typeface="Arial" pitchFamily="34" charset="0"/>
              </a:rPr>
              <a:t>Атомредметзолото</a:t>
            </a:r>
            <a:r>
              <a:rPr lang="ru-RU" sz="3400" b="1" dirty="0">
                <a:solidFill>
                  <a:srgbClr val="333333"/>
                </a:solidFill>
                <a:latin typeface="Arial" pitchFamily="34" charset="0"/>
                <a:ea typeface="Rosatom Light" pitchFamily="34" charset="-52"/>
                <a:cs typeface="Arial" pitchFamily="34" charset="0"/>
              </a:rPr>
              <a:t>» Презентация для инвесторов</a:t>
            </a:r>
          </a:p>
        </p:txBody>
      </p:sp>
      <p:sp>
        <p:nvSpPr>
          <p:cNvPr id="9" name="Заголовок 1"/>
          <p:cNvSpPr txBox="1">
            <a:spLocks/>
          </p:cNvSpPr>
          <p:nvPr/>
        </p:nvSpPr>
        <p:spPr>
          <a:xfrm>
            <a:off x="251522" y="5661250"/>
            <a:ext cx="7430039" cy="644167"/>
          </a:xfrm>
          <a:prstGeom prst="rect">
            <a:avLst/>
          </a:prstGeom>
        </p:spPr>
        <p:txBody>
          <a:bodyPr vert="horz" lIns="265040" tIns="132522" rIns="265040" bIns="132522" rtlCol="0" anchor="ctr">
            <a:noAutofit/>
          </a:bodyPr>
          <a:lstStyle/>
          <a:p>
            <a:pPr>
              <a:spcBef>
                <a:spcPct val="0"/>
              </a:spcBef>
              <a:defRPr/>
            </a:pPr>
            <a:endParaRPr lang="ru-RU" sz="1600" dirty="0">
              <a:solidFill>
                <a:srgbClr val="333333"/>
              </a:solidFill>
              <a:latin typeface="Arial" pitchFamily="34" charset="0"/>
              <a:ea typeface="Rosatom Light" pitchFamily="34" charset="-52"/>
              <a:cs typeface="Arial" pitchFamily="34" charset="0"/>
            </a:endParaRPr>
          </a:p>
          <a:p>
            <a:pPr>
              <a:spcBef>
                <a:spcPct val="0"/>
              </a:spcBef>
              <a:defRPr/>
            </a:pPr>
            <a:endParaRPr lang="ru-RU" sz="1600" dirty="0">
              <a:solidFill>
                <a:srgbClr val="333333"/>
              </a:solidFill>
              <a:latin typeface="Arial" pitchFamily="34" charset="0"/>
              <a:ea typeface="Rosatom Light" pitchFamily="34" charset="-52"/>
              <a:cs typeface="Arial" pitchFamily="34" charset="0"/>
            </a:endParaRPr>
          </a:p>
          <a:p>
            <a:pPr>
              <a:spcBef>
                <a:spcPct val="0"/>
              </a:spcBef>
              <a:defRPr/>
            </a:pPr>
            <a:r>
              <a:rPr lang="ru-RU" sz="1600" dirty="0">
                <a:solidFill>
                  <a:srgbClr val="333333"/>
                </a:solidFill>
                <a:latin typeface="Arial" pitchFamily="34" charset="0"/>
                <a:ea typeface="Rosatom Light" pitchFamily="34" charset="-52"/>
                <a:cs typeface="Arial" pitchFamily="34" charset="0"/>
              </a:rPr>
              <a:t>Декабрь 2022</a:t>
            </a:r>
          </a:p>
          <a:p>
            <a:pPr>
              <a:spcBef>
                <a:spcPct val="0"/>
              </a:spcBef>
              <a:defRPr/>
            </a:pPr>
            <a:endParaRPr lang="ru-RU" sz="1600" dirty="0">
              <a:solidFill>
                <a:srgbClr val="333333"/>
              </a:solidFill>
              <a:latin typeface="Arial" pitchFamily="34" charset="0"/>
              <a:ea typeface="Rosatom Light" pitchFamily="34" charset="-52"/>
              <a:cs typeface="Arial" pitchFamily="34" charset="0"/>
            </a:endParaRPr>
          </a:p>
          <a:p>
            <a:pPr>
              <a:spcBef>
                <a:spcPct val="0"/>
              </a:spcBef>
              <a:defRPr/>
            </a:pPr>
            <a:endParaRPr lang="ru-RU" sz="1600" dirty="0">
              <a:solidFill>
                <a:srgbClr val="333333"/>
              </a:solidFill>
              <a:latin typeface="Arial" pitchFamily="34" charset="0"/>
              <a:ea typeface="Rosatom Light" pitchFamily="34" charset="-52"/>
              <a:cs typeface="Arial" pitchFamily="34" charset="0"/>
            </a:endParaRPr>
          </a:p>
          <a:p>
            <a:pPr>
              <a:spcBef>
                <a:spcPct val="0"/>
              </a:spcBef>
              <a:defRPr/>
            </a:pPr>
            <a:endParaRPr lang="ru-RU" sz="1600" dirty="0">
              <a:solidFill>
                <a:srgbClr val="333333"/>
              </a:solidFill>
              <a:latin typeface="Arial" pitchFamily="34" charset="0"/>
              <a:ea typeface="Rosatom Light" pitchFamily="34" charset="-52"/>
              <a:cs typeface="Arial" pitchFamily="34" charset="0"/>
            </a:endParaRPr>
          </a:p>
        </p:txBody>
      </p:sp>
    </p:spTree>
    <p:extLst>
      <p:ext uri="{BB962C8B-B14F-4D97-AF65-F5344CB8AC3E}">
        <p14:creationId xmlns:p14="http://schemas.microsoft.com/office/powerpoint/2010/main" val="14598208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txBox="1">
            <a:spLocks/>
          </p:cNvSpPr>
          <p:nvPr/>
        </p:nvSpPr>
        <p:spPr>
          <a:xfrm>
            <a:off x="419627" y="1768999"/>
            <a:ext cx="4429906" cy="1327315"/>
          </a:xfrm>
          <a:prstGeom prst="rect">
            <a:avLst/>
          </a:prstGeom>
        </p:spPr>
        <p:txBody>
          <a:bodyPr vert="horz" lIns="113590" tIns="56795" rIns="113590" bIns="56795" rtlCol="0" anchor="ctr">
            <a:noAutofit/>
          </a:bodyPr>
          <a:lstStyle/>
          <a:p>
            <a:pPr>
              <a:lnSpc>
                <a:spcPts val="4319"/>
              </a:lnSpc>
            </a:pPr>
            <a:endParaRPr lang="ru-RU" sz="4600" b="1" dirty="0">
              <a:solidFill>
                <a:srgbClr val="333333"/>
              </a:solidFill>
              <a:latin typeface="Arial" pitchFamily="34" charset="0"/>
              <a:ea typeface="Rosatom Light" pitchFamily="34" charset="-52"/>
              <a:cs typeface="Arial" pitchFamily="34" charset="0"/>
            </a:endParaRPr>
          </a:p>
          <a:p>
            <a:pPr>
              <a:lnSpc>
                <a:spcPts val="4319"/>
              </a:lnSpc>
            </a:pPr>
            <a:r>
              <a:rPr lang="ru-RU" sz="4600" b="1" dirty="0">
                <a:solidFill>
                  <a:srgbClr val="333333"/>
                </a:solidFill>
                <a:latin typeface="Arial" pitchFamily="34" charset="0"/>
                <a:ea typeface="Rosatom Light" pitchFamily="34" charset="-52"/>
                <a:cs typeface="Arial" pitchFamily="34" charset="0"/>
              </a:rPr>
              <a:t>Спасибо </a:t>
            </a:r>
          </a:p>
          <a:p>
            <a:pPr>
              <a:lnSpc>
                <a:spcPts val="4319"/>
              </a:lnSpc>
            </a:pPr>
            <a:r>
              <a:rPr lang="ru-RU" sz="4600" b="1" dirty="0">
                <a:solidFill>
                  <a:srgbClr val="333333"/>
                </a:solidFill>
                <a:latin typeface="Arial" pitchFamily="34" charset="0"/>
                <a:ea typeface="Rosatom Light" pitchFamily="34" charset="-52"/>
                <a:cs typeface="Arial" pitchFamily="34" charset="0"/>
              </a:rPr>
              <a:t>за внимание</a:t>
            </a:r>
          </a:p>
        </p:txBody>
      </p:sp>
      <p:sp>
        <p:nvSpPr>
          <p:cNvPr id="6" name="Прямоугольник 3"/>
          <p:cNvSpPr/>
          <p:nvPr/>
        </p:nvSpPr>
        <p:spPr>
          <a:xfrm>
            <a:off x="504592" y="4437112"/>
            <a:ext cx="4572794" cy="1455652"/>
          </a:xfrm>
          <a:prstGeom prst="rect">
            <a:avLst/>
          </a:prstGeom>
        </p:spPr>
        <p:txBody>
          <a:bodyPr lIns="39495" tIns="19747" rIns="39495" bIns="19747">
            <a:spAutoFit/>
          </a:bodyPr>
          <a:lstStyle/>
          <a:p>
            <a:r>
              <a:rPr lang="ru-RU" sz="1600" b="1" dirty="0">
                <a:solidFill>
                  <a:srgbClr val="333333"/>
                </a:solidFill>
                <a:latin typeface="Arial" panose="020B0604020202020204" pitchFamily="34" charset="0"/>
                <a:cs typeface="Arial" panose="020B0604020202020204" pitchFamily="34" charset="0"/>
              </a:rPr>
              <a:t>Шеметов Алексей Иннокентьевич</a:t>
            </a:r>
          </a:p>
          <a:p>
            <a:r>
              <a:rPr lang="ru-RU" sz="1600" dirty="0">
                <a:solidFill>
                  <a:srgbClr val="333333"/>
                </a:solidFill>
                <a:latin typeface="Arial" panose="020B0604020202020204" pitchFamily="34" charset="0"/>
                <a:cs typeface="Arial" panose="020B0604020202020204" pitchFamily="34" charset="0"/>
              </a:rPr>
              <a:t>Первый заместитель генерального директора</a:t>
            </a:r>
          </a:p>
          <a:p>
            <a:endParaRPr lang="ru-RU" sz="1600" dirty="0">
              <a:solidFill>
                <a:srgbClr val="333333"/>
              </a:solidFill>
              <a:latin typeface="Arial" panose="020B0604020202020204" pitchFamily="34" charset="0"/>
              <a:cs typeface="Arial" panose="020B0604020202020204" pitchFamily="34" charset="0"/>
            </a:endParaRPr>
          </a:p>
          <a:p>
            <a:r>
              <a:rPr lang="ru-RU" sz="1600" dirty="0">
                <a:solidFill>
                  <a:srgbClr val="333333"/>
                </a:solidFill>
                <a:latin typeface="Arial" panose="020B0604020202020204" pitchFamily="34" charset="0"/>
                <a:cs typeface="Arial" panose="020B0604020202020204" pitchFamily="34" charset="0"/>
              </a:rPr>
              <a:t>Тел.: +7 (495) 508-8808 (доб. 325)</a:t>
            </a:r>
          </a:p>
          <a:p>
            <a:r>
              <a:rPr lang="ru-RU" sz="1600" dirty="0">
                <a:solidFill>
                  <a:srgbClr val="333333"/>
                </a:solidFill>
                <a:latin typeface="Arial" panose="020B0604020202020204" pitchFamily="34" charset="0"/>
                <a:cs typeface="Arial" panose="020B0604020202020204" pitchFamily="34" charset="0"/>
              </a:rPr>
              <a:t>E-</a:t>
            </a:r>
            <a:r>
              <a:rPr lang="ru-RU" sz="1600" dirty="0" err="1">
                <a:solidFill>
                  <a:srgbClr val="333333"/>
                </a:solidFill>
                <a:latin typeface="Arial" panose="020B0604020202020204" pitchFamily="34" charset="0"/>
                <a:cs typeface="Arial" panose="020B0604020202020204" pitchFamily="34" charset="0"/>
              </a:rPr>
              <a:t>mail</a:t>
            </a:r>
            <a:r>
              <a:rPr lang="ru-RU" sz="1600" dirty="0">
                <a:solidFill>
                  <a:srgbClr val="333333"/>
                </a:solidFill>
                <a:latin typeface="Arial" panose="020B0604020202020204" pitchFamily="34" charset="0"/>
                <a:cs typeface="Arial" panose="020B0604020202020204" pitchFamily="34" charset="0"/>
              </a:rPr>
              <a:t>: </a:t>
            </a:r>
            <a:r>
              <a:rPr lang="en-US" sz="1600" dirty="0">
                <a:solidFill>
                  <a:srgbClr val="333333"/>
                </a:solidFill>
                <a:latin typeface="Arial" panose="020B0604020202020204" pitchFamily="34" charset="0"/>
                <a:cs typeface="Arial" panose="020B0604020202020204" pitchFamily="34" charset="0"/>
              </a:rPr>
              <a:t>AIShemetov@armz.ru</a:t>
            </a:r>
            <a:endParaRPr lang="ru-RU" sz="1600" dirty="0">
              <a:solidFill>
                <a:srgbClr val="333333"/>
              </a:solidFill>
              <a:latin typeface="Arial" panose="020B0604020202020204" pitchFamily="34" charset="0"/>
              <a:cs typeface="Arial" panose="020B0604020202020204" pitchFamily="34" charset="0"/>
            </a:endParaRPr>
          </a:p>
          <a:p>
            <a:endParaRPr lang="ru-RU" sz="1200" b="1" dirty="0">
              <a:solidFill>
                <a:srgbClr val="333333"/>
              </a:solidFill>
            </a:endParaRPr>
          </a:p>
        </p:txBody>
      </p:sp>
    </p:spTree>
    <p:extLst>
      <p:ext uri="{BB962C8B-B14F-4D97-AF65-F5344CB8AC3E}">
        <p14:creationId xmlns:p14="http://schemas.microsoft.com/office/powerpoint/2010/main" val="3590924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7" name="Номер слайда 1"/>
          <p:cNvSpPr>
            <a:spLocks noGrp="1"/>
          </p:cNvSpPr>
          <p:nvPr>
            <p:ph type="sldNum" sz="quarter" idx="10"/>
          </p:nvPr>
        </p:nvSpPr>
        <p:spPr>
          <a:noFill/>
        </p:spPr>
        <p:txBody>
          <a:bodyPr rtlCol="0"/>
          <a:lstStyle/>
          <a:p>
            <a:pPr rtl="0"/>
            <a:r>
              <a:rPr lang="ru-RU" dirty="0">
                <a:latin typeface="Arial" charset="0"/>
                <a:cs typeface="Arial" charset="0"/>
              </a:rPr>
              <a:t> </a:t>
            </a:r>
          </a:p>
          <a:p>
            <a:pPr rtl="0"/>
            <a:endParaRPr lang="ru-RU" dirty="0">
              <a:latin typeface="Arial" charset="0"/>
              <a:cs typeface="Arial" charset="0"/>
            </a:endParaRPr>
          </a:p>
        </p:txBody>
      </p:sp>
      <p:sp>
        <p:nvSpPr>
          <p:cNvPr id="6" name="Прямоугольник 5"/>
          <p:cNvSpPr/>
          <p:nvPr/>
        </p:nvSpPr>
        <p:spPr>
          <a:xfrm>
            <a:off x="318280" y="1285601"/>
            <a:ext cx="8548777" cy="4792081"/>
          </a:xfrm>
          <a:prstGeom prst="rect">
            <a:avLst/>
          </a:prstGeom>
        </p:spPr>
        <p:txBody>
          <a:bodyPr wrap="square">
            <a:spAutoFit/>
          </a:bodyPr>
          <a:lstStyle/>
          <a:p>
            <a:pPr algn="just">
              <a:lnSpc>
                <a:spcPct val="110000"/>
              </a:lnSpc>
            </a:pPr>
            <a:r>
              <a:rPr lang="ru-RU" sz="1200" i="1" dirty="0">
                <a:solidFill>
                  <a:schemeClr val="tx1">
                    <a:lumMod val="75000"/>
                  </a:schemeClr>
                </a:solidFill>
                <a:latin typeface="Arial" panose="020B0604020202020204" pitchFamily="34" charset="0"/>
                <a:cs typeface="Arial" panose="020B0604020202020204" pitchFamily="34" charset="0"/>
              </a:rPr>
              <a:t>Настоящий документ (далее – «Инвестиционный меморандум») подготовлен АО «Атомредметзолото» (далее – АРМЗ). Информация, представленная в Инвестиционном меморандуме, не является исчерпывающей и носит лишь ознакомительный характер.</a:t>
            </a:r>
          </a:p>
          <a:p>
            <a:pPr algn="just">
              <a:lnSpc>
                <a:spcPct val="110000"/>
              </a:lnSpc>
              <a:spcBef>
                <a:spcPts val="600"/>
              </a:spcBef>
            </a:pPr>
            <a:r>
              <a:rPr lang="ru-RU" sz="1200" i="1" dirty="0">
                <a:solidFill>
                  <a:schemeClr val="tx1">
                    <a:lumMod val="75000"/>
                  </a:schemeClr>
                </a:solidFill>
                <a:latin typeface="Arial" panose="020B0604020202020204" pitchFamily="34" charset="0"/>
                <a:cs typeface="Arial" panose="020B0604020202020204" pitchFamily="34" charset="0"/>
              </a:rPr>
              <a:t>АРМЗ не несет ответственности за результаты использования содержащейся в настоящем Инвестиционном меморандуме информации и прямо заявляет о своем отказе от какой-либо ответственности за ущерб, который может явиться результатом использования такой информации, ссылок на нее, построения расчетов или выполнения любых других действий на основании указанной информации. Настоящий Инвестиционный меморандум не может и не должен рассматриваться как юридически обязывающий документ. Какие-либо обязательства и гарантии будут иметь юридическую силу исключительно в случае их закрепления в договоре, при условии соблюдения требований действующего законодательства и подписания его обеими сторонами.</a:t>
            </a:r>
          </a:p>
          <a:p>
            <a:pPr algn="just">
              <a:lnSpc>
                <a:spcPct val="110000"/>
              </a:lnSpc>
              <a:spcBef>
                <a:spcPts val="600"/>
              </a:spcBef>
            </a:pPr>
            <a:r>
              <a:rPr lang="ru-RU" sz="1200" i="1" dirty="0">
                <a:solidFill>
                  <a:schemeClr val="tx1">
                    <a:lumMod val="75000"/>
                  </a:schemeClr>
                </a:solidFill>
                <a:latin typeface="Arial" panose="020B0604020202020204" pitchFamily="34" charset="0"/>
                <a:cs typeface="Arial" panose="020B0604020202020204" pitchFamily="34" charset="0"/>
              </a:rPr>
              <a:t>Настоящий Инвестиционный меморандум публикуется на условиях, не предусматривающих копирование, воспроизведение, распространение или передачу Инвестиционного меморандума (полностью или частично) третьему лицу без получения предварительного согласия АРМЗ.</a:t>
            </a:r>
          </a:p>
          <a:p>
            <a:pPr algn="just">
              <a:lnSpc>
                <a:spcPct val="110000"/>
              </a:lnSpc>
              <a:spcBef>
                <a:spcPts val="600"/>
              </a:spcBef>
            </a:pPr>
            <a:r>
              <a:rPr lang="ru-RU" sz="1200" i="1" dirty="0">
                <a:solidFill>
                  <a:schemeClr val="tx1">
                    <a:lumMod val="75000"/>
                  </a:schemeClr>
                </a:solidFill>
                <a:latin typeface="Arial" panose="020B0604020202020204" pitchFamily="34" charset="0"/>
                <a:cs typeface="Arial" panose="020B0604020202020204" pitchFamily="34" charset="0"/>
              </a:rPr>
              <a:t>Настоящий Инвестиционный меморандум не должен быть истолкован как оферта или предложение о приобретении или продаже каких-либо ценных бумаг или связанных с ними финансовых инструментов. Получателям настоящего Инвестиционного меморандума не следует рассматривать его как юридическую, налоговую, финансовую, бухгалтерскую или инвестиционную справочную информацию, а также не следует полагаться на настоящий документ как полноценную замену проведения собственных исследований. Соответственно, каждому получателю, намеренному продолжить сотрудничество, направленное на возможное заключение договоров, следует руководствоваться исключительно результатами комплексной экспертизы, выполненной своими силами. В соответствии с вышеизложенным, АРМЗ не несет ответственность за инвестиционные решения, принятые на основании информации, содержащейся в данном документе.</a:t>
            </a:r>
            <a:endParaRPr lang="ru-RU" sz="1200" b="1" i="1" dirty="0">
              <a:solidFill>
                <a:schemeClr val="tx1">
                  <a:lumMod val="75000"/>
                </a:schemeClr>
              </a:solidFill>
              <a:latin typeface="Arial" panose="020B0604020202020204" pitchFamily="34" charset="0"/>
              <a:cs typeface="Arial" panose="020B0604020202020204" pitchFamily="34" charset="0"/>
            </a:endParaRPr>
          </a:p>
        </p:txBody>
      </p:sp>
      <p:sp>
        <p:nvSpPr>
          <p:cNvPr id="7" name="Заголовок 1"/>
          <p:cNvSpPr>
            <a:spLocks noGrp="1"/>
          </p:cNvSpPr>
          <p:nvPr>
            <p:ph type="title"/>
          </p:nvPr>
        </p:nvSpPr>
        <p:spPr>
          <a:xfrm>
            <a:off x="179512" y="332658"/>
            <a:ext cx="7632700" cy="473823"/>
          </a:xfrm>
        </p:spPr>
        <p:txBody>
          <a:bodyPr rtlCol="0"/>
          <a:lstStyle/>
          <a:p>
            <a:pPr eaLnBrk="1" hangingPunct="1">
              <a:defRPr/>
            </a:pPr>
            <a:r>
              <a:rPr lang="ru-RU" sz="2000" b="1" dirty="0">
                <a:solidFill>
                  <a:sysClr val="windowText" lastClr="000000"/>
                </a:solidFill>
                <a:latin typeface="Arial" panose="020B0604020202020204" pitchFamily="34" charset="0"/>
                <a:ea typeface="+mn-ea"/>
                <a:cs typeface="Arial" panose="020B0604020202020204" pitchFamily="34" charset="0"/>
              </a:rPr>
              <a:t>Заявление об ответственности</a:t>
            </a:r>
          </a:p>
        </p:txBody>
      </p:sp>
    </p:spTree>
    <p:extLst>
      <p:ext uri="{BB962C8B-B14F-4D97-AF65-F5344CB8AC3E}">
        <p14:creationId xmlns:p14="http://schemas.microsoft.com/office/powerpoint/2010/main" val="367718530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Прямоугольник 41"/>
          <p:cNvSpPr/>
          <p:nvPr/>
        </p:nvSpPr>
        <p:spPr>
          <a:xfrm>
            <a:off x="146899" y="1279558"/>
            <a:ext cx="8755784" cy="489038"/>
          </a:xfrm>
          <a:prstGeom prst="rect">
            <a:avLst/>
          </a:prstGeom>
          <a:solidFill>
            <a:srgbClr val="E4EEF8"/>
          </a:solidFill>
          <a:ln w="9525" cap="flat" cmpd="sng" algn="ctr">
            <a:noFill/>
            <a:prstDash val="solid"/>
          </a:ln>
          <a:effectLst/>
        </p:spPr>
        <p:txBody>
          <a:bodyPr lIns="84397" tIns="42198" rIns="84397" bIns="42198" rtlCol="0" anchor="ctr"/>
          <a:lstStyle/>
          <a:p>
            <a:pPr algn="ctr" fontAlgn="base">
              <a:spcBef>
                <a:spcPct val="0"/>
              </a:spcBef>
              <a:spcAft>
                <a:spcPct val="0"/>
              </a:spcAft>
              <a:defRPr/>
            </a:pPr>
            <a:endParaRPr lang="ru-RU" sz="1477" kern="0" dirty="0" err="1">
              <a:solidFill>
                <a:srgbClr val="000000"/>
              </a:solidFill>
              <a:latin typeface="Arial"/>
            </a:endParaRPr>
          </a:p>
        </p:txBody>
      </p:sp>
      <p:sp>
        <p:nvSpPr>
          <p:cNvPr id="9" name="Прямоугольник 8"/>
          <p:cNvSpPr/>
          <p:nvPr/>
        </p:nvSpPr>
        <p:spPr>
          <a:xfrm>
            <a:off x="146900" y="4301771"/>
            <a:ext cx="8755784" cy="524432"/>
          </a:xfrm>
          <a:prstGeom prst="rect">
            <a:avLst/>
          </a:prstGeom>
          <a:solidFill>
            <a:srgbClr val="E4EEF8"/>
          </a:solidFill>
          <a:ln w="9525" cap="flat" cmpd="sng" algn="ctr">
            <a:noFill/>
            <a:prstDash val="solid"/>
          </a:ln>
          <a:effectLst/>
        </p:spPr>
        <p:txBody>
          <a:bodyPr lIns="84397" tIns="42198" rIns="84397" bIns="42198" rtlCol="0" anchor="ctr"/>
          <a:lstStyle/>
          <a:p>
            <a:pPr algn="ctr" fontAlgn="base">
              <a:spcBef>
                <a:spcPct val="0"/>
              </a:spcBef>
              <a:spcAft>
                <a:spcPct val="0"/>
              </a:spcAft>
            </a:pPr>
            <a:endParaRPr lang="ru-RU" sz="1477" kern="0">
              <a:solidFill>
                <a:srgbClr val="000000"/>
              </a:solidFill>
              <a:latin typeface="Arial"/>
            </a:endParaRPr>
          </a:p>
        </p:txBody>
      </p:sp>
      <p:graphicFrame>
        <p:nvGraphicFramePr>
          <p:cNvPr id="7" name="Объект 6" hidden="1"/>
          <p:cNvGraphicFramePr>
            <a:graphicFrameLocks noChangeAspect="1"/>
          </p:cNvGraphicFramePr>
          <p:nvPr>
            <p:custDataLst>
              <p:tags r:id="rId1"/>
            </p:custData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7" name="Объект 6"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Заголовок 1"/>
          <p:cNvSpPr txBox="1">
            <a:spLocks/>
          </p:cNvSpPr>
          <p:nvPr/>
        </p:nvSpPr>
        <p:spPr>
          <a:xfrm>
            <a:off x="146899" y="200277"/>
            <a:ext cx="6369319" cy="645433"/>
          </a:xfrm>
          <a:prstGeom prst="rect">
            <a:avLst/>
          </a:prstGeom>
        </p:spPr>
        <p:txBody>
          <a:bodyPr lIns="91430" tIns="45716" rIns="91430" bIns="45716" anchor="ctr"/>
          <a:lstStyle>
            <a:lvl1pPr algn="l" rtl="0" eaLnBrk="1" fontAlgn="base" hangingPunct="1">
              <a:lnSpc>
                <a:spcPct val="85000"/>
              </a:lnSpc>
              <a:spcBef>
                <a:spcPct val="0"/>
              </a:spcBef>
              <a:spcAft>
                <a:spcPct val="0"/>
              </a:spcAft>
              <a:defRPr sz="2400" b="1">
                <a:solidFill>
                  <a:schemeClr val="hlink"/>
                </a:solidFill>
                <a:latin typeface="+mj-lt"/>
                <a:ea typeface="+mj-ea"/>
                <a:cs typeface="+mj-cs"/>
              </a:defRPr>
            </a:lvl1pPr>
            <a:lvl2pPr algn="l" rtl="0" eaLnBrk="1" fontAlgn="base" hangingPunct="1">
              <a:spcBef>
                <a:spcPct val="0"/>
              </a:spcBef>
              <a:spcAft>
                <a:spcPct val="0"/>
              </a:spcAft>
              <a:defRPr sz="2000" b="1">
                <a:solidFill>
                  <a:schemeClr val="hlink"/>
                </a:solidFill>
                <a:latin typeface="Arial" charset="0"/>
              </a:defRPr>
            </a:lvl2pPr>
            <a:lvl3pPr algn="l" rtl="0" eaLnBrk="1" fontAlgn="base" hangingPunct="1">
              <a:spcBef>
                <a:spcPct val="0"/>
              </a:spcBef>
              <a:spcAft>
                <a:spcPct val="0"/>
              </a:spcAft>
              <a:defRPr sz="2000" b="1">
                <a:solidFill>
                  <a:schemeClr val="hlink"/>
                </a:solidFill>
                <a:latin typeface="Arial" charset="0"/>
              </a:defRPr>
            </a:lvl3pPr>
            <a:lvl4pPr algn="l" rtl="0" eaLnBrk="1" fontAlgn="base" hangingPunct="1">
              <a:spcBef>
                <a:spcPct val="0"/>
              </a:spcBef>
              <a:spcAft>
                <a:spcPct val="0"/>
              </a:spcAft>
              <a:defRPr sz="2000" b="1">
                <a:solidFill>
                  <a:schemeClr val="hlink"/>
                </a:solidFill>
                <a:latin typeface="Arial" charset="0"/>
              </a:defRPr>
            </a:lvl4pPr>
            <a:lvl5pPr algn="l" rtl="0" eaLnBrk="1" fontAlgn="base" hangingPunct="1">
              <a:spcBef>
                <a:spcPct val="0"/>
              </a:spcBef>
              <a:spcAft>
                <a:spcPct val="0"/>
              </a:spcAft>
              <a:defRPr sz="2000" b="1">
                <a:solidFill>
                  <a:schemeClr val="hlink"/>
                </a:solidFill>
                <a:latin typeface="Arial" charset="0"/>
              </a:defRPr>
            </a:lvl5pPr>
            <a:lvl6pPr marL="457200" algn="l" rtl="0" eaLnBrk="1" fontAlgn="base" hangingPunct="1">
              <a:spcBef>
                <a:spcPct val="0"/>
              </a:spcBef>
              <a:spcAft>
                <a:spcPct val="0"/>
              </a:spcAft>
              <a:defRPr sz="2000" b="1">
                <a:solidFill>
                  <a:schemeClr val="hlink"/>
                </a:solidFill>
                <a:latin typeface="Arial" charset="0"/>
              </a:defRPr>
            </a:lvl6pPr>
            <a:lvl7pPr marL="914400" algn="l" rtl="0" eaLnBrk="1" fontAlgn="base" hangingPunct="1">
              <a:spcBef>
                <a:spcPct val="0"/>
              </a:spcBef>
              <a:spcAft>
                <a:spcPct val="0"/>
              </a:spcAft>
              <a:defRPr sz="2000" b="1">
                <a:solidFill>
                  <a:schemeClr val="hlink"/>
                </a:solidFill>
                <a:latin typeface="Arial" charset="0"/>
              </a:defRPr>
            </a:lvl7pPr>
            <a:lvl8pPr marL="1371600" algn="l" rtl="0" eaLnBrk="1" fontAlgn="base" hangingPunct="1">
              <a:spcBef>
                <a:spcPct val="0"/>
              </a:spcBef>
              <a:spcAft>
                <a:spcPct val="0"/>
              </a:spcAft>
              <a:defRPr sz="2000" b="1">
                <a:solidFill>
                  <a:schemeClr val="hlink"/>
                </a:solidFill>
                <a:latin typeface="Arial" charset="0"/>
              </a:defRPr>
            </a:lvl8pPr>
            <a:lvl9pPr marL="1828800" algn="l" rtl="0" eaLnBrk="1" fontAlgn="base" hangingPunct="1">
              <a:spcBef>
                <a:spcPct val="0"/>
              </a:spcBef>
              <a:spcAft>
                <a:spcPct val="0"/>
              </a:spcAft>
              <a:defRPr sz="2000" b="1">
                <a:solidFill>
                  <a:schemeClr val="hlink"/>
                </a:solidFill>
                <a:latin typeface="Arial" charset="0"/>
              </a:defRPr>
            </a:lvl9pPr>
          </a:lstStyle>
          <a:p>
            <a:pPr defTabSz="990584" fontAlgn="auto">
              <a:lnSpc>
                <a:spcPct val="100000"/>
              </a:lnSpc>
              <a:spcAft>
                <a:spcPts val="0"/>
              </a:spcAft>
              <a:defRPr/>
            </a:pPr>
            <a:r>
              <a:rPr lang="ru-RU" sz="2000" dirty="0">
                <a:solidFill>
                  <a:sysClr val="windowText" lastClr="000000"/>
                </a:solidFill>
                <a:latin typeface="Arial" panose="020B0604020202020204" pitchFamily="34" charset="0"/>
                <a:ea typeface="+mn-ea"/>
                <a:cs typeface="Arial" panose="020B0604020202020204" pitchFamily="34" charset="0"/>
              </a:rPr>
              <a:t>АО «</a:t>
            </a:r>
            <a:r>
              <a:rPr lang="ru-RU" sz="2000" dirty="0" err="1">
                <a:solidFill>
                  <a:sysClr val="windowText" lastClr="000000"/>
                </a:solidFill>
                <a:latin typeface="Arial" panose="020B0604020202020204" pitchFamily="34" charset="0"/>
                <a:ea typeface="+mn-ea"/>
                <a:cs typeface="Arial" panose="020B0604020202020204" pitchFamily="34" charset="0"/>
              </a:rPr>
              <a:t>Атомредметзолото</a:t>
            </a:r>
            <a:r>
              <a:rPr lang="ru-RU" sz="2000" dirty="0">
                <a:solidFill>
                  <a:sysClr val="windowText" lastClr="000000"/>
                </a:solidFill>
                <a:latin typeface="Arial" panose="020B0604020202020204" pitchFamily="34" charset="0"/>
                <a:ea typeface="+mn-ea"/>
                <a:cs typeface="Arial" panose="020B0604020202020204" pitchFamily="34" charset="0"/>
              </a:rPr>
              <a:t>» – Горнорудный дивизион </a:t>
            </a:r>
            <a:r>
              <a:rPr lang="ru-RU" sz="2000" dirty="0" err="1">
                <a:solidFill>
                  <a:sysClr val="windowText" lastClr="000000"/>
                </a:solidFill>
                <a:latin typeface="Arial" panose="020B0604020202020204" pitchFamily="34" charset="0"/>
                <a:ea typeface="+mn-ea"/>
                <a:cs typeface="Arial" panose="020B0604020202020204" pitchFamily="34" charset="0"/>
              </a:rPr>
              <a:t>Госкорпорации</a:t>
            </a:r>
            <a:r>
              <a:rPr lang="ru-RU" sz="2000" dirty="0">
                <a:solidFill>
                  <a:sysClr val="windowText" lastClr="000000"/>
                </a:solidFill>
                <a:latin typeface="Arial" panose="020B0604020202020204" pitchFamily="34" charset="0"/>
                <a:ea typeface="+mn-ea"/>
                <a:cs typeface="Arial" panose="020B0604020202020204" pitchFamily="34" charset="0"/>
              </a:rPr>
              <a:t> «</a:t>
            </a:r>
            <a:r>
              <a:rPr lang="ru-RU" sz="2000" dirty="0" err="1">
                <a:solidFill>
                  <a:sysClr val="windowText" lastClr="000000"/>
                </a:solidFill>
                <a:latin typeface="Arial" panose="020B0604020202020204" pitchFamily="34" charset="0"/>
                <a:ea typeface="+mn-ea"/>
                <a:cs typeface="Arial" panose="020B0604020202020204" pitchFamily="34" charset="0"/>
              </a:rPr>
              <a:t>Росатом</a:t>
            </a:r>
            <a:r>
              <a:rPr lang="ru-RU" sz="2000" dirty="0">
                <a:solidFill>
                  <a:sysClr val="windowText" lastClr="000000"/>
                </a:solidFill>
                <a:latin typeface="Arial" panose="020B0604020202020204" pitchFamily="34" charset="0"/>
                <a:ea typeface="+mn-ea"/>
                <a:cs typeface="Arial" panose="020B0604020202020204" pitchFamily="34" charset="0"/>
              </a:rPr>
              <a:t>»</a:t>
            </a:r>
          </a:p>
        </p:txBody>
      </p:sp>
      <p:graphicFrame>
        <p:nvGraphicFramePr>
          <p:cNvPr id="173" name="Таблица 172"/>
          <p:cNvGraphicFramePr>
            <a:graphicFrameLocks noGrp="1"/>
          </p:cNvGraphicFramePr>
          <p:nvPr>
            <p:extLst>
              <p:ext uri="{D42A27DB-BD31-4B8C-83A1-F6EECF244321}">
                <p14:modId xmlns:p14="http://schemas.microsoft.com/office/powerpoint/2010/main" val="3086295839"/>
              </p:ext>
            </p:extLst>
          </p:nvPr>
        </p:nvGraphicFramePr>
        <p:xfrm>
          <a:off x="275923" y="1937587"/>
          <a:ext cx="5099991" cy="2112817"/>
        </p:xfrm>
        <a:graphic>
          <a:graphicData uri="http://schemas.openxmlformats.org/drawingml/2006/table">
            <a:tbl>
              <a:tblPr firstRow="1" bandRow="1">
                <a:tableStyleId>{5940675A-B579-460E-94D1-54222C63F5DA}</a:tableStyleId>
              </a:tblPr>
              <a:tblGrid>
                <a:gridCol w="2303469">
                  <a:extLst>
                    <a:ext uri="{9D8B030D-6E8A-4147-A177-3AD203B41FA5}">
                      <a16:colId xmlns:a16="http://schemas.microsoft.com/office/drawing/2014/main" val="3443074245"/>
                    </a:ext>
                  </a:extLst>
                </a:gridCol>
                <a:gridCol w="2796522">
                  <a:extLst>
                    <a:ext uri="{9D8B030D-6E8A-4147-A177-3AD203B41FA5}">
                      <a16:colId xmlns:a16="http://schemas.microsoft.com/office/drawing/2014/main" val="1360549181"/>
                    </a:ext>
                  </a:extLst>
                </a:gridCol>
              </a:tblGrid>
              <a:tr h="393810">
                <a:tc>
                  <a:txBody>
                    <a:bodyPr/>
                    <a:lstStyle/>
                    <a:p>
                      <a:pPr algn="l"/>
                      <a:r>
                        <a:rPr lang="ru-RU" sz="1600" b="1" dirty="0">
                          <a:solidFill>
                            <a:schemeClr val="tx1"/>
                          </a:solidFill>
                          <a:latin typeface="Arial" panose="020B0604020202020204" pitchFamily="34" charset="0"/>
                          <a:cs typeface="Arial" panose="020B0604020202020204" pitchFamily="34" charset="0"/>
                        </a:rPr>
                        <a:t>Выручка</a:t>
                      </a: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baseline="0" dirty="0">
                          <a:solidFill>
                            <a:schemeClr val="accent1">
                              <a:lumMod val="75000"/>
                            </a:schemeClr>
                          </a:solidFill>
                          <a:latin typeface="Arial" panose="020B0604020202020204" pitchFamily="34" charset="0"/>
                          <a:cs typeface="Arial" panose="020B0604020202020204" pitchFamily="34" charset="0"/>
                        </a:rPr>
                        <a:t>23</a:t>
                      </a:r>
                      <a:r>
                        <a:rPr lang="en-US" sz="1800" b="1" baseline="0" dirty="0">
                          <a:solidFill>
                            <a:schemeClr val="accent1">
                              <a:lumMod val="75000"/>
                            </a:schemeClr>
                          </a:solidFill>
                          <a:latin typeface="Arial" panose="020B0604020202020204" pitchFamily="34" charset="0"/>
                          <a:cs typeface="Arial" panose="020B0604020202020204" pitchFamily="34" charset="0"/>
                        </a:rPr>
                        <a:t>,</a:t>
                      </a:r>
                      <a:r>
                        <a:rPr lang="ru-RU" sz="1800" b="1" baseline="0" dirty="0">
                          <a:solidFill>
                            <a:schemeClr val="accent1">
                              <a:lumMod val="75000"/>
                            </a:schemeClr>
                          </a:solidFill>
                          <a:latin typeface="Arial" panose="020B0604020202020204" pitchFamily="34" charset="0"/>
                          <a:cs typeface="Arial" panose="020B0604020202020204" pitchFamily="34" charset="0"/>
                        </a:rPr>
                        <a:t>2</a:t>
                      </a:r>
                      <a:r>
                        <a:rPr lang="en-US" sz="1600" b="1" baseline="0" dirty="0">
                          <a:solidFill>
                            <a:srgbClr val="1286CE"/>
                          </a:solidFill>
                          <a:latin typeface="Arial" panose="020B0604020202020204" pitchFamily="34" charset="0"/>
                          <a:cs typeface="Arial" panose="020B0604020202020204" pitchFamily="34" charset="0"/>
                        </a:rPr>
                        <a:t> </a:t>
                      </a:r>
                      <a:r>
                        <a:rPr lang="ru-RU" sz="1600" b="0" spc="-30" baseline="0" dirty="0">
                          <a:solidFill>
                            <a:schemeClr val="tx1"/>
                          </a:solidFill>
                          <a:latin typeface="Arial" panose="020B0604020202020204" pitchFamily="34" charset="0"/>
                          <a:cs typeface="Arial" panose="020B0604020202020204" pitchFamily="34" charset="0"/>
                        </a:rPr>
                        <a:t>млрд руб.</a:t>
                      </a:r>
                      <a:endParaRPr lang="ru-RU" sz="1400" b="1" dirty="0">
                        <a:solidFill>
                          <a:schemeClr val="tx1"/>
                        </a:solidFill>
                        <a:latin typeface="Arial" panose="020B0604020202020204" pitchFamily="34" charset="0"/>
                        <a:cs typeface="Arial" panose="020B0604020202020204" pitchFamily="34" charset="0"/>
                      </a:endParaRP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57284336"/>
                  </a:ext>
                </a:extLst>
              </a:tr>
              <a:tr h="572368">
                <a:tc>
                  <a:txBody>
                    <a:bodyPr/>
                    <a:lstStyle/>
                    <a:p>
                      <a:pPr algn="l">
                        <a:lnSpc>
                          <a:spcPct val="110000"/>
                        </a:lnSpc>
                      </a:pPr>
                      <a:r>
                        <a:rPr lang="ru-RU" sz="1600" b="1" dirty="0">
                          <a:solidFill>
                            <a:schemeClr val="tx1"/>
                          </a:solidFill>
                          <a:latin typeface="Arial" panose="020B0604020202020204" pitchFamily="34" charset="0"/>
                          <a:cs typeface="Arial" panose="020B0604020202020204" pitchFamily="34" charset="0"/>
                        </a:rPr>
                        <a:t>Численность</a:t>
                      </a:r>
                      <a:r>
                        <a:rPr lang="ru-RU" sz="1600" b="1" baseline="0" dirty="0">
                          <a:solidFill>
                            <a:schemeClr val="tx1"/>
                          </a:solidFill>
                          <a:latin typeface="Arial" panose="020B0604020202020204" pitchFamily="34" charset="0"/>
                          <a:cs typeface="Arial" panose="020B0604020202020204" pitchFamily="34" charset="0"/>
                        </a:rPr>
                        <a:t> персонала</a:t>
                      </a:r>
                      <a:endParaRPr lang="ru-RU" sz="1600" b="1" dirty="0">
                        <a:solidFill>
                          <a:schemeClr val="tx1"/>
                        </a:solidFill>
                        <a:latin typeface="Arial" panose="020B0604020202020204" pitchFamily="34" charset="0"/>
                        <a:cs typeface="Arial" panose="020B0604020202020204" pitchFamily="34" charset="0"/>
                      </a:endParaRP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kern="1200" baseline="0" dirty="0">
                          <a:solidFill>
                            <a:schemeClr val="accent1">
                              <a:lumMod val="75000"/>
                            </a:schemeClr>
                          </a:solidFill>
                          <a:latin typeface="Arial" panose="020B0604020202020204" pitchFamily="34" charset="0"/>
                          <a:ea typeface="+mn-ea"/>
                          <a:cs typeface="Arial" panose="020B0604020202020204" pitchFamily="34" charset="0"/>
                        </a:rPr>
                        <a:t>7,3</a:t>
                      </a:r>
                      <a:r>
                        <a:rPr lang="ru-RU" sz="1600" b="1" kern="1200" baseline="0" dirty="0">
                          <a:solidFill>
                            <a:schemeClr val="accent1">
                              <a:lumMod val="75000"/>
                            </a:schemeClr>
                          </a:solidFill>
                          <a:latin typeface="Arial" panose="020B0604020202020204" pitchFamily="34" charset="0"/>
                          <a:ea typeface="+mn-ea"/>
                          <a:cs typeface="Arial" panose="020B0604020202020204" pitchFamily="34" charset="0"/>
                        </a:rPr>
                        <a:t> </a:t>
                      </a:r>
                      <a:r>
                        <a:rPr lang="ru-RU" sz="1600" b="0" kern="1200" spc="-30" baseline="0" dirty="0">
                          <a:solidFill>
                            <a:schemeClr val="tx1"/>
                          </a:solidFill>
                          <a:latin typeface="Arial" panose="020B0604020202020204" pitchFamily="34" charset="0"/>
                          <a:ea typeface="+mn-ea"/>
                          <a:cs typeface="Arial" panose="020B0604020202020204" pitchFamily="34" charset="0"/>
                        </a:rPr>
                        <a:t>тыс. чел.</a:t>
                      </a: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7755750"/>
                  </a:ext>
                </a:extLst>
              </a:tr>
              <a:tr h="572368">
                <a:tc>
                  <a:txBody>
                    <a:bodyPr/>
                    <a:lstStyle/>
                    <a:p>
                      <a:pPr algn="l">
                        <a:lnSpc>
                          <a:spcPct val="110000"/>
                        </a:lnSpc>
                      </a:pPr>
                      <a:r>
                        <a:rPr lang="ru-RU" sz="1600" b="1" dirty="0">
                          <a:solidFill>
                            <a:schemeClr val="tx1"/>
                          </a:solidFill>
                          <a:latin typeface="Arial" panose="020B0604020202020204" pitchFamily="34" charset="0"/>
                          <a:cs typeface="Arial" panose="020B0604020202020204" pitchFamily="34" charset="0"/>
                        </a:rPr>
                        <a:t>МСБ урана</a:t>
                      </a:r>
                      <a:endParaRPr lang="ru-RU" sz="1600" b="0" dirty="0">
                        <a:solidFill>
                          <a:schemeClr val="tx1"/>
                        </a:solidFill>
                        <a:latin typeface="Arial" panose="020B0604020202020204" pitchFamily="34" charset="0"/>
                        <a:cs typeface="Arial" panose="020B0604020202020204" pitchFamily="34" charset="0"/>
                      </a:endParaRPr>
                    </a:p>
                    <a:p>
                      <a:pPr algn="l">
                        <a:lnSpc>
                          <a:spcPct val="110000"/>
                        </a:lnSpc>
                      </a:pPr>
                      <a:r>
                        <a:rPr lang="ru-RU" sz="1600" b="0" dirty="0">
                          <a:solidFill>
                            <a:schemeClr val="tx1"/>
                          </a:solidFill>
                          <a:latin typeface="Arial" panose="020B0604020202020204" pitchFamily="34" charset="0"/>
                          <a:cs typeface="Arial" panose="020B0604020202020204" pitchFamily="34" charset="0"/>
                        </a:rPr>
                        <a:t>(российские</a:t>
                      </a:r>
                      <a:r>
                        <a:rPr lang="ru-RU" sz="1600" b="0" baseline="0" dirty="0">
                          <a:solidFill>
                            <a:schemeClr val="tx1"/>
                          </a:solidFill>
                          <a:latin typeface="Arial" panose="020B0604020202020204" pitchFamily="34" charset="0"/>
                          <a:cs typeface="Arial" panose="020B0604020202020204" pitchFamily="34" charset="0"/>
                        </a:rPr>
                        <a:t> активы)</a:t>
                      </a:r>
                      <a:endParaRPr lang="ru-RU" sz="1600" b="0" dirty="0">
                        <a:solidFill>
                          <a:schemeClr val="tx1"/>
                        </a:solidFill>
                        <a:latin typeface="Arial" panose="020B0604020202020204" pitchFamily="34" charset="0"/>
                        <a:cs typeface="Arial" panose="020B0604020202020204" pitchFamily="34" charset="0"/>
                      </a:endParaRP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baseline="0" dirty="0">
                          <a:solidFill>
                            <a:schemeClr val="accent1">
                              <a:lumMod val="75000"/>
                            </a:schemeClr>
                          </a:solidFill>
                          <a:latin typeface="Arial" panose="020B0604020202020204" pitchFamily="34" charset="0"/>
                          <a:cs typeface="Arial" panose="020B0604020202020204" pitchFamily="34" charset="0"/>
                        </a:rPr>
                        <a:t>50</a:t>
                      </a:r>
                      <a:r>
                        <a:rPr lang="ru-RU" sz="1800" b="1" baseline="0" dirty="0">
                          <a:solidFill>
                            <a:schemeClr val="accent1">
                              <a:lumMod val="75000"/>
                            </a:schemeClr>
                          </a:solidFill>
                          <a:latin typeface="Arial" panose="020B0604020202020204" pitchFamily="34" charset="0"/>
                          <a:cs typeface="Arial" panose="020B0604020202020204" pitchFamily="34" charset="0"/>
                        </a:rPr>
                        <a:t>6</a:t>
                      </a:r>
                      <a:r>
                        <a:rPr lang="en-US" sz="1800" b="1" baseline="0" dirty="0">
                          <a:solidFill>
                            <a:schemeClr val="accent1">
                              <a:lumMod val="75000"/>
                            </a:schemeClr>
                          </a:solidFill>
                          <a:latin typeface="Arial" panose="020B0604020202020204" pitchFamily="34" charset="0"/>
                          <a:cs typeface="Arial" panose="020B0604020202020204" pitchFamily="34" charset="0"/>
                        </a:rPr>
                        <a:t>,</a:t>
                      </a:r>
                      <a:r>
                        <a:rPr lang="ru-RU" sz="1800" b="1" baseline="0" dirty="0">
                          <a:solidFill>
                            <a:schemeClr val="accent1">
                              <a:lumMod val="75000"/>
                            </a:schemeClr>
                          </a:solidFill>
                          <a:latin typeface="Arial" panose="020B0604020202020204" pitchFamily="34" charset="0"/>
                          <a:cs typeface="Arial" panose="020B0604020202020204" pitchFamily="34" charset="0"/>
                        </a:rPr>
                        <a:t>4</a:t>
                      </a:r>
                      <a:r>
                        <a:rPr lang="en-US" sz="1600" b="1" baseline="0" dirty="0">
                          <a:solidFill>
                            <a:srgbClr val="1286CE"/>
                          </a:solidFill>
                          <a:latin typeface="Arial" panose="020B0604020202020204" pitchFamily="34" charset="0"/>
                          <a:cs typeface="Arial" panose="020B0604020202020204" pitchFamily="34" charset="0"/>
                        </a:rPr>
                        <a:t> </a:t>
                      </a:r>
                      <a:r>
                        <a:rPr lang="ru-RU" sz="1600" b="0" spc="-30" baseline="0" dirty="0">
                          <a:solidFill>
                            <a:schemeClr val="tx1"/>
                          </a:solidFill>
                          <a:latin typeface="Arial" panose="020B0604020202020204" pitchFamily="34" charset="0"/>
                          <a:cs typeface="Arial" panose="020B0604020202020204" pitchFamily="34" charset="0"/>
                        </a:rPr>
                        <a:t>тыс. т</a:t>
                      </a:r>
                      <a:endParaRPr lang="ru-RU" sz="1300" b="1" dirty="0">
                        <a:solidFill>
                          <a:schemeClr val="tx1"/>
                        </a:solidFill>
                        <a:latin typeface="Arial" panose="020B0604020202020204" pitchFamily="34" charset="0"/>
                        <a:cs typeface="Arial" panose="020B0604020202020204" pitchFamily="34" charset="0"/>
                      </a:endParaRP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080552888"/>
                  </a:ext>
                </a:extLst>
              </a:tr>
              <a:tr h="574271">
                <a:tc>
                  <a:txBody>
                    <a:bodyPr/>
                    <a:lstStyle/>
                    <a:p>
                      <a:pPr algn="l">
                        <a:lnSpc>
                          <a:spcPct val="110000"/>
                        </a:lnSpc>
                      </a:pPr>
                      <a:r>
                        <a:rPr lang="ru-RU" sz="1600" b="1" dirty="0">
                          <a:solidFill>
                            <a:schemeClr val="tx1"/>
                          </a:solidFill>
                          <a:latin typeface="Arial" panose="020B0604020202020204" pitchFamily="34" charset="0"/>
                          <a:cs typeface="Arial" panose="020B0604020202020204" pitchFamily="34" charset="0"/>
                        </a:rPr>
                        <a:t>Производство</a:t>
                      </a:r>
                      <a:r>
                        <a:rPr lang="ru-RU" sz="1600" b="1" baseline="0" dirty="0">
                          <a:solidFill>
                            <a:schemeClr val="tx1"/>
                          </a:solidFill>
                          <a:latin typeface="Arial" panose="020B0604020202020204" pitchFamily="34" charset="0"/>
                          <a:cs typeface="Arial" panose="020B0604020202020204" pitchFamily="34" charset="0"/>
                        </a:rPr>
                        <a:t> урана</a:t>
                      </a:r>
                    </a:p>
                    <a:p>
                      <a:pPr algn="l">
                        <a:lnSpc>
                          <a:spcPct val="110000"/>
                        </a:lnSpc>
                      </a:pPr>
                      <a:r>
                        <a:rPr lang="ru-RU" sz="1600" b="0" baseline="0" dirty="0">
                          <a:solidFill>
                            <a:schemeClr val="tx1"/>
                          </a:solidFill>
                          <a:latin typeface="Arial" panose="020B0604020202020204" pitchFamily="34" charset="0"/>
                          <a:cs typeface="Arial" panose="020B0604020202020204" pitchFamily="34" charset="0"/>
                        </a:rPr>
                        <a:t>(российские активы)</a:t>
                      </a:r>
                      <a:endParaRPr lang="ru-RU" sz="1600" b="0" dirty="0">
                        <a:solidFill>
                          <a:schemeClr val="tx1"/>
                        </a:solidFill>
                        <a:latin typeface="Arial" panose="020B0604020202020204" pitchFamily="34" charset="0"/>
                        <a:cs typeface="Arial" panose="020B0604020202020204" pitchFamily="34" charset="0"/>
                      </a:endParaRP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kern="1200" baseline="0" dirty="0">
                          <a:solidFill>
                            <a:schemeClr val="accent1">
                              <a:lumMod val="75000"/>
                            </a:schemeClr>
                          </a:solidFill>
                          <a:latin typeface="Arial" panose="020B0604020202020204" pitchFamily="34" charset="0"/>
                          <a:ea typeface="+mn-ea"/>
                          <a:cs typeface="Arial" panose="020B0604020202020204" pitchFamily="34" charset="0"/>
                        </a:rPr>
                        <a:t>2,6</a:t>
                      </a:r>
                      <a:r>
                        <a:rPr lang="en-US" sz="1600" b="1" kern="1200" baseline="0" dirty="0">
                          <a:solidFill>
                            <a:srgbClr val="1286CE"/>
                          </a:solidFill>
                          <a:latin typeface="Arial" panose="020B0604020202020204" pitchFamily="34" charset="0"/>
                          <a:ea typeface="+mn-ea"/>
                          <a:cs typeface="Arial" panose="020B0604020202020204" pitchFamily="34" charset="0"/>
                        </a:rPr>
                        <a:t> </a:t>
                      </a:r>
                      <a:r>
                        <a:rPr lang="ru-RU" sz="1600" b="0" kern="1200" spc="-30" baseline="0" dirty="0">
                          <a:solidFill>
                            <a:schemeClr val="tx1"/>
                          </a:solidFill>
                          <a:latin typeface="Arial" panose="020B0604020202020204" pitchFamily="34" charset="0"/>
                          <a:ea typeface="+mn-ea"/>
                          <a:cs typeface="Arial" panose="020B0604020202020204" pitchFamily="34" charset="0"/>
                        </a:rPr>
                        <a:t>тыс. т</a:t>
                      </a:r>
                      <a:endParaRPr lang="ru-RU" sz="1300" b="1" dirty="0">
                        <a:solidFill>
                          <a:schemeClr val="tx1"/>
                        </a:solidFill>
                        <a:latin typeface="Arial" panose="020B0604020202020204" pitchFamily="34" charset="0"/>
                        <a:cs typeface="Arial" panose="020B0604020202020204" pitchFamily="34" charset="0"/>
                      </a:endParaRPr>
                    </a:p>
                  </a:txBody>
                  <a:tcPr marL="0" marR="0" marT="3600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80776577"/>
                  </a:ext>
                </a:extLst>
              </a:tr>
            </a:tbl>
          </a:graphicData>
        </a:graphic>
      </p:graphicFrame>
      <p:sp>
        <p:nvSpPr>
          <p:cNvPr id="174" name="Прямоугольник 173"/>
          <p:cNvSpPr/>
          <p:nvPr/>
        </p:nvSpPr>
        <p:spPr>
          <a:xfrm>
            <a:off x="146899" y="1366453"/>
            <a:ext cx="3301549" cy="307777"/>
          </a:xfrm>
          <a:prstGeom prst="rect">
            <a:avLst/>
          </a:prstGeom>
          <a:noFill/>
        </p:spPr>
        <p:txBody>
          <a:bodyPr wrap="square" rIns="36000">
            <a:spAutoFit/>
          </a:bodyPr>
          <a:lstStyle/>
          <a:p>
            <a:pPr defTabSz="932962" fontAlgn="base">
              <a:spcBef>
                <a:spcPct val="0"/>
              </a:spcBef>
              <a:spcAft>
                <a:spcPct val="0"/>
              </a:spcAft>
              <a:defRPr/>
            </a:pPr>
            <a:r>
              <a:rPr lang="ru-RU" sz="1400" b="1" dirty="0">
                <a:solidFill>
                  <a:prstClr val="black"/>
                </a:solidFill>
                <a:latin typeface="Arial" panose="020B0604020202020204" pitchFamily="34" charset="0"/>
                <a:cs typeface="Arial" panose="020B0604020202020204" pitchFamily="34" charset="0"/>
              </a:rPr>
              <a:t>КЛЮЧЕВЫЕ ПОКАЗАТЕЛИ (2021)</a:t>
            </a:r>
          </a:p>
        </p:txBody>
      </p:sp>
      <p:sp>
        <p:nvSpPr>
          <p:cNvPr id="215" name="Прямоугольник 214"/>
          <p:cNvSpPr/>
          <p:nvPr/>
        </p:nvSpPr>
        <p:spPr>
          <a:xfrm>
            <a:off x="4727285" y="1299650"/>
            <a:ext cx="4115912" cy="523220"/>
          </a:xfrm>
          <a:prstGeom prst="rect">
            <a:avLst/>
          </a:prstGeom>
          <a:noFill/>
        </p:spPr>
        <p:txBody>
          <a:bodyPr wrap="square" rIns="36000">
            <a:spAutoFit/>
          </a:bodyPr>
          <a:lstStyle/>
          <a:p>
            <a:pPr algn="ctr" defTabSz="932962" fontAlgn="base">
              <a:spcBef>
                <a:spcPct val="0"/>
              </a:spcBef>
              <a:spcAft>
                <a:spcPct val="0"/>
              </a:spcAft>
              <a:defRPr/>
            </a:pPr>
            <a:r>
              <a:rPr lang="ru-RU" sz="1400" b="1" dirty="0">
                <a:latin typeface="Arial"/>
                <a:cs typeface="Arial" pitchFamily="34" charset="0"/>
              </a:rPr>
              <a:t>ПОЗИЦИИ НА МИРОВОМ РЫНКЕ УРАНА (2021)</a:t>
            </a:r>
          </a:p>
        </p:txBody>
      </p:sp>
      <p:sp>
        <p:nvSpPr>
          <p:cNvPr id="217" name="Прямоугольник 216"/>
          <p:cNvSpPr/>
          <p:nvPr>
            <p:custDataLst>
              <p:tags r:id="rId2"/>
            </p:custDataLst>
          </p:nvPr>
        </p:nvSpPr>
        <p:spPr bwMode="auto">
          <a:xfrm>
            <a:off x="7938675" y="3828313"/>
            <a:ext cx="534516" cy="186271"/>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fld id="{0C92D74A-D82F-4684-948C-354F271C266A}" type="datetime'''П''''''р''''''''''о''ч''''''ие'''''''''''''">
              <a:rPr lang="ru-RU" altLang="en-US" sz="1000" kern="0">
                <a:solidFill>
                  <a:prstClr val="black"/>
                </a:solidFill>
                <a:latin typeface="Arial"/>
                <a:cs typeface="Arial"/>
              </a:rPr>
              <a:pPr fontAlgn="base">
                <a:spcBef>
                  <a:spcPct val="0"/>
                </a:spcBef>
                <a:spcAft>
                  <a:spcPct val="0"/>
                </a:spcAft>
                <a:defRPr/>
              </a:pPr>
              <a:t>Прочие</a:t>
            </a:fld>
            <a:endParaRPr lang="ru-RU" sz="1000" kern="0" dirty="0">
              <a:solidFill>
                <a:prstClr val="black"/>
              </a:solidFill>
              <a:latin typeface="Arial"/>
              <a:cs typeface="Arial"/>
              <a:sym typeface="+mn-lt"/>
            </a:endParaRPr>
          </a:p>
        </p:txBody>
      </p:sp>
      <p:sp>
        <p:nvSpPr>
          <p:cNvPr id="218" name="Прямоугольник 217"/>
          <p:cNvSpPr/>
          <p:nvPr>
            <p:custDataLst>
              <p:tags r:id="rId3"/>
            </p:custDataLst>
          </p:nvPr>
        </p:nvSpPr>
        <p:spPr bwMode="auto">
          <a:xfrm>
            <a:off x="7701673" y="3681957"/>
            <a:ext cx="161710" cy="118318"/>
          </a:xfrm>
          <a:prstGeom prst="rect">
            <a:avLst/>
          </a:prstGeom>
          <a:solidFill>
            <a:srgbClr val="FFE5AB"/>
          </a:solidFill>
          <a:ln w="6350" cap="flat" cmpd="sng" algn="ctr">
            <a:solidFill>
              <a:srgbClr val="808080"/>
            </a:solidFill>
            <a:prstDash val="solid"/>
            <a:miter lim="800000"/>
          </a:ln>
          <a:effectLst/>
        </p:spPr>
        <p:txBody>
          <a:bodyPr rtlCol="0" anchor="ctr"/>
          <a:lstStyle/>
          <a:p>
            <a:pPr algn="ctr">
              <a:defRPr/>
            </a:pPr>
            <a:endParaRPr lang="ru-RU" sz="1071" kern="0" dirty="0">
              <a:solidFill>
                <a:prstClr val="white"/>
              </a:solidFill>
              <a:latin typeface="Arial"/>
            </a:endParaRPr>
          </a:p>
        </p:txBody>
      </p:sp>
      <p:sp>
        <p:nvSpPr>
          <p:cNvPr id="219" name="Прямоугольник 218"/>
          <p:cNvSpPr/>
          <p:nvPr>
            <p:custDataLst>
              <p:tags r:id="rId4"/>
            </p:custDataLst>
          </p:nvPr>
        </p:nvSpPr>
        <p:spPr bwMode="auto">
          <a:xfrm>
            <a:off x="7701673" y="3862289"/>
            <a:ext cx="161710" cy="118318"/>
          </a:xfrm>
          <a:prstGeom prst="rect">
            <a:avLst/>
          </a:prstGeom>
          <a:solidFill>
            <a:srgbClr val="E0E0E0"/>
          </a:solidFill>
          <a:ln w="6350" cap="flat" cmpd="sng" algn="ctr">
            <a:solidFill>
              <a:srgbClr val="808080"/>
            </a:solidFill>
            <a:prstDash val="solid"/>
          </a:ln>
          <a:effectLst/>
        </p:spPr>
        <p:txBody>
          <a:bodyPr rtlCol="0" anchor="ctr"/>
          <a:lstStyle/>
          <a:p>
            <a:pPr algn="ctr" fontAlgn="base">
              <a:spcBef>
                <a:spcPct val="0"/>
              </a:spcBef>
              <a:spcAft>
                <a:spcPct val="0"/>
              </a:spcAft>
              <a:defRPr/>
            </a:pPr>
            <a:endParaRPr lang="ru-RU" sz="1000" kern="0" dirty="0">
              <a:solidFill>
                <a:srgbClr val="414142"/>
              </a:solidFill>
              <a:latin typeface="Arial"/>
              <a:cs typeface="Arial"/>
            </a:endParaRPr>
          </a:p>
        </p:txBody>
      </p:sp>
      <p:sp>
        <p:nvSpPr>
          <p:cNvPr id="220" name="Прямоугольник 219"/>
          <p:cNvSpPr/>
          <p:nvPr>
            <p:custDataLst>
              <p:tags r:id="rId5"/>
            </p:custDataLst>
          </p:nvPr>
        </p:nvSpPr>
        <p:spPr bwMode="auto">
          <a:xfrm>
            <a:off x="7701673" y="3255609"/>
            <a:ext cx="161710" cy="118318"/>
          </a:xfrm>
          <a:prstGeom prst="rect">
            <a:avLst/>
          </a:prstGeom>
          <a:solidFill>
            <a:srgbClr val="ABABB5"/>
          </a:solidFill>
          <a:ln w="6350" cap="flat" cmpd="sng" algn="ctr">
            <a:solidFill>
              <a:srgbClr val="808080"/>
            </a:solidFill>
            <a:prstDash val="solid"/>
          </a:ln>
          <a:effectLst/>
        </p:spPr>
        <p:txBody>
          <a:bodyPr rtlCol="0" anchor="ctr"/>
          <a:lstStyle/>
          <a:p>
            <a:pPr algn="ctr" fontAlgn="base">
              <a:spcBef>
                <a:spcPct val="0"/>
              </a:spcBef>
              <a:spcAft>
                <a:spcPct val="0"/>
              </a:spcAft>
              <a:defRPr/>
            </a:pPr>
            <a:endParaRPr lang="ru-RU" sz="1000" kern="0" dirty="0">
              <a:solidFill>
                <a:srgbClr val="414142"/>
              </a:solidFill>
              <a:latin typeface="Arial"/>
              <a:cs typeface="Arial"/>
            </a:endParaRPr>
          </a:p>
        </p:txBody>
      </p:sp>
      <p:sp>
        <p:nvSpPr>
          <p:cNvPr id="221" name="Прямоугольник 220"/>
          <p:cNvSpPr/>
          <p:nvPr>
            <p:custDataLst>
              <p:tags r:id="rId6"/>
            </p:custDataLst>
          </p:nvPr>
        </p:nvSpPr>
        <p:spPr bwMode="auto">
          <a:xfrm>
            <a:off x="7701673" y="2301026"/>
            <a:ext cx="167598" cy="134718"/>
          </a:xfrm>
          <a:prstGeom prst="rect">
            <a:avLst/>
          </a:prstGeom>
          <a:solidFill>
            <a:srgbClr val="48A4DC"/>
          </a:solidFill>
          <a:ln w="6350" cap="flat" cmpd="sng" algn="ctr">
            <a:solidFill>
              <a:srgbClr val="808080"/>
            </a:solidFill>
            <a:prstDash val="solid"/>
          </a:ln>
          <a:effectLst/>
        </p:spPr>
        <p:txBody>
          <a:bodyPr rtlCol="0" anchor="ctr"/>
          <a:lstStyle/>
          <a:p>
            <a:pPr algn="ctr" fontAlgn="base">
              <a:spcBef>
                <a:spcPct val="0"/>
              </a:spcBef>
              <a:spcAft>
                <a:spcPct val="0"/>
              </a:spcAft>
              <a:defRPr/>
            </a:pPr>
            <a:endParaRPr lang="ru-RU" sz="1000" kern="0" dirty="0">
              <a:solidFill>
                <a:srgbClr val="414142"/>
              </a:solidFill>
              <a:latin typeface="Arial"/>
              <a:cs typeface="Arial"/>
            </a:endParaRPr>
          </a:p>
        </p:txBody>
      </p:sp>
      <p:sp>
        <p:nvSpPr>
          <p:cNvPr id="222" name="Прямоугольник 221"/>
          <p:cNvSpPr/>
          <p:nvPr>
            <p:custDataLst>
              <p:tags r:id="rId7"/>
            </p:custDataLst>
          </p:nvPr>
        </p:nvSpPr>
        <p:spPr bwMode="auto">
          <a:xfrm>
            <a:off x="7701673" y="2590386"/>
            <a:ext cx="161710" cy="118318"/>
          </a:xfrm>
          <a:prstGeom prst="rect">
            <a:avLst/>
          </a:prstGeom>
          <a:solidFill>
            <a:srgbClr val="8FAAC3"/>
          </a:solidFill>
          <a:ln w="6350" cap="flat" cmpd="sng" algn="ctr">
            <a:solidFill>
              <a:srgbClr val="808080"/>
            </a:solidFill>
            <a:prstDash val="solid"/>
          </a:ln>
          <a:effectLst/>
        </p:spPr>
        <p:txBody>
          <a:bodyPr rtlCol="0" anchor="ctr"/>
          <a:lstStyle/>
          <a:p>
            <a:pPr algn="ctr" fontAlgn="base">
              <a:spcBef>
                <a:spcPct val="0"/>
              </a:spcBef>
              <a:spcAft>
                <a:spcPct val="0"/>
              </a:spcAft>
              <a:defRPr/>
            </a:pPr>
            <a:endParaRPr lang="ru-RU" sz="1000" kern="0" dirty="0">
              <a:solidFill>
                <a:srgbClr val="414142"/>
              </a:solidFill>
              <a:latin typeface="Arial"/>
              <a:cs typeface="Arial"/>
            </a:endParaRPr>
          </a:p>
        </p:txBody>
      </p:sp>
      <p:sp>
        <p:nvSpPr>
          <p:cNvPr id="223" name="Прямоугольник 222"/>
          <p:cNvSpPr/>
          <p:nvPr>
            <p:custDataLst>
              <p:tags r:id="rId8"/>
            </p:custDataLst>
          </p:nvPr>
        </p:nvSpPr>
        <p:spPr bwMode="auto">
          <a:xfrm>
            <a:off x="7962891" y="2285971"/>
            <a:ext cx="1431558" cy="15340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fld id="{670083A8-73D0-4B90-B8D5-B6EEAF843DDD}" type="datetime'''''''''''''''''Р''о''с''а''т''''''''''''''''''о''''''м'''''''">
              <a:rPr lang="ru-RU" altLang="en-US" sz="1000" kern="0">
                <a:solidFill>
                  <a:prstClr val="black"/>
                </a:solidFill>
                <a:latin typeface="Arial"/>
                <a:cs typeface="Arial"/>
              </a:rPr>
              <a:pPr fontAlgn="base">
                <a:spcBef>
                  <a:spcPct val="0"/>
                </a:spcBef>
                <a:spcAft>
                  <a:spcPct val="0"/>
                </a:spcAft>
                <a:defRPr/>
              </a:pPr>
              <a:t>Росатом</a:t>
            </a:fld>
            <a:r>
              <a:rPr lang="ru-RU" altLang="en-US" sz="1000" kern="0" dirty="0">
                <a:solidFill>
                  <a:srgbClr val="414142"/>
                </a:solidFill>
                <a:latin typeface="Arial"/>
                <a:cs typeface="Arial"/>
              </a:rPr>
              <a:t> </a:t>
            </a:r>
          </a:p>
          <a:p>
            <a:pPr fontAlgn="base">
              <a:spcBef>
                <a:spcPct val="0"/>
              </a:spcBef>
              <a:spcAft>
                <a:spcPct val="0"/>
              </a:spcAft>
              <a:defRPr/>
            </a:pPr>
            <a:r>
              <a:rPr lang="ru-RU" altLang="en-US" sz="1000" kern="0" dirty="0">
                <a:solidFill>
                  <a:srgbClr val="414142"/>
                </a:solidFill>
                <a:latin typeface="Arial"/>
                <a:cs typeface="Arial"/>
              </a:rPr>
              <a:t>(АРМЗ </a:t>
            </a:r>
            <a:r>
              <a:rPr lang="en-US" altLang="en-US" sz="1000" kern="0" dirty="0">
                <a:solidFill>
                  <a:srgbClr val="414142"/>
                </a:solidFill>
                <a:latin typeface="Arial"/>
                <a:cs typeface="Arial"/>
              </a:rPr>
              <a:t>+ U1)</a:t>
            </a:r>
            <a:endParaRPr lang="ru-RU" sz="1000" kern="0" dirty="0">
              <a:solidFill>
                <a:srgbClr val="414142"/>
              </a:solidFill>
              <a:latin typeface="Arial"/>
              <a:cs typeface="Arial"/>
              <a:sym typeface="+mn-lt"/>
            </a:endParaRPr>
          </a:p>
        </p:txBody>
      </p:sp>
      <p:sp>
        <p:nvSpPr>
          <p:cNvPr id="224" name="Прямоугольник 223"/>
          <p:cNvSpPr/>
          <p:nvPr>
            <p:custDataLst>
              <p:tags r:id="rId9"/>
            </p:custDataLst>
          </p:nvPr>
        </p:nvSpPr>
        <p:spPr bwMode="auto">
          <a:xfrm>
            <a:off x="7938675" y="3233332"/>
            <a:ext cx="380916" cy="13471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r>
              <a:rPr lang="en-US" altLang="en-US" sz="1000" kern="0" dirty="0" err="1">
                <a:solidFill>
                  <a:prstClr val="black"/>
                </a:solidFill>
                <a:latin typeface="Arial"/>
                <a:cs typeface="Arial"/>
              </a:rPr>
              <a:t>Orano</a:t>
            </a:r>
            <a:r>
              <a:rPr lang="ru-RU" altLang="en-US" sz="1000" kern="0" dirty="0">
                <a:solidFill>
                  <a:prstClr val="black"/>
                </a:solidFill>
                <a:latin typeface="Arial"/>
                <a:cs typeface="Arial"/>
              </a:rPr>
              <a:t> </a:t>
            </a:r>
            <a:r>
              <a:rPr lang="en-US" altLang="en-US" sz="1000" kern="0" dirty="0">
                <a:solidFill>
                  <a:prstClr val="black"/>
                </a:solidFill>
                <a:latin typeface="Arial"/>
                <a:cs typeface="Arial"/>
              </a:rPr>
              <a:t> </a:t>
            </a:r>
            <a:endParaRPr lang="ru-RU" sz="1000" kern="0" dirty="0">
              <a:solidFill>
                <a:prstClr val="black"/>
              </a:solidFill>
              <a:latin typeface="Arial"/>
              <a:cs typeface="Arial"/>
              <a:sym typeface="+mn-lt"/>
            </a:endParaRPr>
          </a:p>
        </p:txBody>
      </p:sp>
      <p:sp>
        <p:nvSpPr>
          <p:cNvPr id="225" name="Прямоугольник 224"/>
          <p:cNvSpPr/>
          <p:nvPr>
            <p:custDataLst>
              <p:tags r:id="rId10"/>
            </p:custDataLst>
          </p:nvPr>
        </p:nvSpPr>
        <p:spPr bwMode="auto">
          <a:xfrm>
            <a:off x="7938675" y="2582186"/>
            <a:ext cx="705534" cy="13471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fld id="{D3298D99-F8BC-4EF6-A7B5-CB7161675017}" type="datetime'''Ка''''''''''з''а''''''т''о''''м''''''''пр''''о''''''''м'''">
              <a:rPr lang="ru-RU" altLang="en-US" sz="1000" kern="0">
                <a:solidFill>
                  <a:prstClr val="black"/>
                </a:solidFill>
                <a:latin typeface="Arial"/>
                <a:cs typeface="Arial"/>
              </a:rPr>
              <a:pPr fontAlgn="base">
                <a:spcBef>
                  <a:spcPct val="0"/>
                </a:spcBef>
                <a:spcAft>
                  <a:spcPct val="0"/>
                </a:spcAft>
                <a:defRPr/>
              </a:pPr>
              <a:t>Казатомпром</a:t>
            </a:fld>
            <a:endParaRPr lang="ru-RU" sz="1000" kern="0" dirty="0">
              <a:solidFill>
                <a:prstClr val="black"/>
              </a:solidFill>
              <a:latin typeface="Arial"/>
              <a:cs typeface="Arial"/>
              <a:sym typeface="+mn-lt"/>
            </a:endParaRPr>
          </a:p>
        </p:txBody>
      </p:sp>
      <p:sp>
        <p:nvSpPr>
          <p:cNvPr id="226" name="Прямоугольник 225"/>
          <p:cNvSpPr/>
          <p:nvPr>
            <p:custDataLst>
              <p:tags r:id="rId11"/>
            </p:custDataLst>
          </p:nvPr>
        </p:nvSpPr>
        <p:spPr bwMode="auto">
          <a:xfrm>
            <a:off x="7938675" y="3673757"/>
            <a:ext cx="452787" cy="13471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r>
              <a:rPr lang="en-US" altLang="en-US" sz="1000" kern="0" dirty="0">
                <a:solidFill>
                  <a:prstClr val="black"/>
                </a:solidFill>
                <a:latin typeface="Arial"/>
                <a:cs typeface="Arial"/>
              </a:rPr>
              <a:t>BHP</a:t>
            </a:r>
            <a:endParaRPr lang="ru-RU" sz="1000" kern="0" dirty="0">
              <a:solidFill>
                <a:prstClr val="black"/>
              </a:solidFill>
              <a:latin typeface="Arial"/>
              <a:cs typeface="Arial"/>
              <a:sym typeface="+mn-lt"/>
            </a:endParaRPr>
          </a:p>
        </p:txBody>
      </p:sp>
      <p:sp>
        <p:nvSpPr>
          <p:cNvPr id="227" name="Прямоугольник 226"/>
          <p:cNvSpPr/>
          <p:nvPr>
            <p:custDataLst>
              <p:tags r:id="rId12"/>
            </p:custDataLst>
          </p:nvPr>
        </p:nvSpPr>
        <p:spPr bwMode="auto">
          <a:xfrm>
            <a:off x="7701673" y="3476960"/>
            <a:ext cx="161710" cy="118318"/>
          </a:xfrm>
          <a:prstGeom prst="rect">
            <a:avLst/>
          </a:prstGeom>
          <a:solidFill>
            <a:srgbClr val="DAEAF6"/>
          </a:solidFill>
          <a:ln w="6350" cap="flat" cmpd="sng" algn="ctr">
            <a:solidFill>
              <a:srgbClr val="808080"/>
            </a:solidFill>
            <a:prstDash val="solid"/>
          </a:ln>
          <a:effectLst/>
        </p:spPr>
        <p:txBody>
          <a:bodyPr rtlCol="0" anchor="ctr"/>
          <a:lstStyle/>
          <a:p>
            <a:pPr algn="ctr" fontAlgn="base">
              <a:spcBef>
                <a:spcPct val="0"/>
              </a:spcBef>
              <a:spcAft>
                <a:spcPct val="0"/>
              </a:spcAft>
              <a:defRPr/>
            </a:pPr>
            <a:endParaRPr lang="ru-RU" sz="1000" kern="0" dirty="0">
              <a:solidFill>
                <a:srgbClr val="414142"/>
              </a:solidFill>
              <a:latin typeface="Arial"/>
              <a:cs typeface="Arial"/>
            </a:endParaRPr>
          </a:p>
        </p:txBody>
      </p:sp>
      <p:sp>
        <p:nvSpPr>
          <p:cNvPr id="228" name="Прямоугольник 227"/>
          <p:cNvSpPr/>
          <p:nvPr>
            <p:custDataLst>
              <p:tags r:id="rId13"/>
            </p:custDataLst>
          </p:nvPr>
        </p:nvSpPr>
        <p:spPr bwMode="auto">
          <a:xfrm>
            <a:off x="7938675" y="3468760"/>
            <a:ext cx="395290" cy="13471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r>
              <a:rPr lang="ru-RU" sz="1000" kern="0" dirty="0">
                <a:solidFill>
                  <a:prstClr val="black"/>
                </a:solidFill>
                <a:latin typeface="Arial"/>
                <a:cs typeface="Arial"/>
                <a:sym typeface="+mn-lt"/>
              </a:rPr>
              <a:t>НГМК</a:t>
            </a:r>
          </a:p>
        </p:txBody>
      </p:sp>
      <p:sp>
        <p:nvSpPr>
          <p:cNvPr id="229" name="Прямоугольник 228"/>
          <p:cNvSpPr/>
          <p:nvPr>
            <p:custDataLst>
              <p:tags r:id="rId14"/>
            </p:custDataLst>
          </p:nvPr>
        </p:nvSpPr>
        <p:spPr bwMode="auto">
          <a:xfrm>
            <a:off x="7701673" y="2814271"/>
            <a:ext cx="161710" cy="118318"/>
          </a:xfrm>
          <a:prstGeom prst="rect">
            <a:avLst/>
          </a:prstGeom>
          <a:solidFill>
            <a:srgbClr val="C00000"/>
          </a:solidFill>
          <a:ln w="6350" cap="flat" cmpd="sng" algn="ctr">
            <a:solidFill>
              <a:srgbClr val="808080"/>
            </a:solidFill>
            <a:prstDash val="solid"/>
            <a:miter lim="800000"/>
          </a:ln>
          <a:effectLst/>
        </p:spPr>
        <p:txBody>
          <a:bodyPr rtlCol="0" anchor="ctr"/>
          <a:lstStyle/>
          <a:p>
            <a:pPr algn="ctr">
              <a:defRPr/>
            </a:pPr>
            <a:endParaRPr lang="ru-RU" sz="1071" kern="0" dirty="0">
              <a:solidFill>
                <a:prstClr val="white"/>
              </a:solidFill>
              <a:latin typeface="Arial"/>
            </a:endParaRPr>
          </a:p>
        </p:txBody>
      </p:sp>
      <p:sp>
        <p:nvSpPr>
          <p:cNvPr id="230" name="Прямоугольник 229"/>
          <p:cNvSpPr/>
          <p:nvPr>
            <p:custDataLst>
              <p:tags r:id="rId15"/>
            </p:custDataLst>
          </p:nvPr>
        </p:nvSpPr>
        <p:spPr bwMode="auto">
          <a:xfrm>
            <a:off x="7938675" y="2806071"/>
            <a:ext cx="380916" cy="134718"/>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r>
              <a:rPr lang="en-US" sz="1000" kern="0" dirty="0">
                <a:solidFill>
                  <a:prstClr val="black"/>
                </a:solidFill>
                <a:latin typeface="Arial"/>
                <a:cs typeface="Arial"/>
                <a:sym typeface="+mn-lt"/>
              </a:rPr>
              <a:t>CNNC </a:t>
            </a:r>
            <a:r>
              <a:rPr lang="ru-RU" sz="1000" kern="0" dirty="0">
                <a:solidFill>
                  <a:prstClr val="black"/>
                </a:solidFill>
                <a:latin typeface="Arial"/>
                <a:cs typeface="Arial"/>
                <a:sym typeface="+mn-lt"/>
              </a:rPr>
              <a:t>и </a:t>
            </a:r>
            <a:r>
              <a:rPr lang="en-US" sz="1000" kern="0" dirty="0">
                <a:solidFill>
                  <a:prstClr val="black"/>
                </a:solidFill>
                <a:latin typeface="Arial"/>
                <a:cs typeface="Arial"/>
                <a:sym typeface="+mn-lt"/>
              </a:rPr>
              <a:t>CGN</a:t>
            </a:r>
            <a:endParaRPr lang="ru-RU" sz="1000" kern="0" dirty="0">
              <a:solidFill>
                <a:prstClr val="black"/>
              </a:solidFill>
              <a:latin typeface="Arial"/>
              <a:cs typeface="Arial"/>
              <a:sym typeface="+mn-lt"/>
            </a:endParaRPr>
          </a:p>
        </p:txBody>
      </p:sp>
      <p:sp>
        <p:nvSpPr>
          <p:cNvPr id="231" name="Прямоугольник 230"/>
          <p:cNvSpPr/>
          <p:nvPr>
            <p:custDataLst>
              <p:tags r:id="rId16"/>
            </p:custDataLst>
          </p:nvPr>
        </p:nvSpPr>
        <p:spPr bwMode="auto">
          <a:xfrm>
            <a:off x="7701673" y="3036523"/>
            <a:ext cx="161710" cy="118318"/>
          </a:xfrm>
          <a:prstGeom prst="rect">
            <a:avLst/>
          </a:prstGeom>
          <a:solidFill>
            <a:srgbClr val="FFB164"/>
          </a:solidFill>
          <a:ln w="6350" cap="flat" cmpd="sng" algn="ctr">
            <a:solidFill>
              <a:srgbClr val="808080"/>
            </a:solidFill>
            <a:prstDash val="solid"/>
            <a:miter lim="800000"/>
          </a:ln>
          <a:effectLst/>
        </p:spPr>
        <p:txBody>
          <a:bodyPr rtlCol="0" anchor="ctr"/>
          <a:lstStyle/>
          <a:p>
            <a:pPr algn="ctr">
              <a:defRPr/>
            </a:pPr>
            <a:endParaRPr lang="ru-RU" sz="1071" kern="0" dirty="0">
              <a:solidFill>
                <a:prstClr val="white"/>
              </a:solidFill>
              <a:latin typeface="Arial"/>
            </a:endParaRPr>
          </a:p>
        </p:txBody>
      </p:sp>
      <p:sp>
        <p:nvSpPr>
          <p:cNvPr id="232" name="Прямоугольник 231"/>
          <p:cNvSpPr/>
          <p:nvPr>
            <p:custDataLst>
              <p:tags r:id="rId17"/>
            </p:custDataLst>
          </p:nvPr>
        </p:nvSpPr>
        <p:spPr bwMode="auto">
          <a:xfrm>
            <a:off x="7938675" y="3010474"/>
            <a:ext cx="534516" cy="186271"/>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txBody>
          <a:bodyPr wrap="none" lIns="0" tIns="0" rIns="0" bIns="0" rtlCol="0" anchor="ctr"/>
          <a:lstStyle/>
          <a:p>
            <a:pPr fontAlgn="base">
              <a:spcBef>
                <a:spcPct val="0"/>
              </a:spcBef>
              <a:spcAft>
                <a:spcPct val="0"/>
              </a:spcAft>
              <a:defRPr/>
            </a:pPr>
            <a:r>
              <a:rPr lang="en-US" altLang="en-US" sz="1000" kern="0" dirty="0">
                <a:solidFill>
                  <a:prstClr val="black"/>
                </a:solidFill>
                <a:latin typeface="Arial"/>
                <a:cs typeface="Arial"/>
              </a:rPr>
              <a:t>Cameco</a:t>
            </a:r>
            <a:endParaRPr lang="ru-RU" sz="1000" kern="0" dirty="0">
              <a:solidFill>
                <a:prstClr val="black"/>
              </a:solidFill>
              <a:latin typeface="Arial"/>
              <a:cs typeface="Arial"/>
              <a:sym typeface="+mn-lt"/>
            </a:endParaRPr>
          </a:p>
        </p:txBody>
      </p:sp>
      <p:graphicFrame>
        <p:nvGraphicFramePr>
          <p:cNvPr id="233" name="Диаграмма 232"/>
          <p:cNvGraphicFramePr/>
          <p:nvPr>
            <p:extLst>
              <p:ext uri="{D42A27DB-BD31-4B8C-83A1-F6EECF244321}">
                <p14:modId xmlns:p14="http://schemas.microsoft.com/office/powerpoint/2010/main" val="1606414749"/>
              </p:ext>
            </p:extLst>
          </p:nvPr>
        </p:nvGraphicFramePr>
        <p:xfrm>
          <a:off x="4851112" y="1820003"/>
          <a:ext cx="3457802" cy="2579349"/>
        </p:xfrm>
        <a:graphic>
          <a:graphicData uri="http://schemas.openxmlformats.org/drawingml/2006/chart">
            <c:chart xmlns:c="http://schemas.openxmlformats.org/drawingml/2006/chart" xmlns:r="http://schemas.openxmlformats.org/officeDocument/2006/relationships" r:id="rId21"/>
          </a:graphicData>
        </a:graphic>
      </p:graphicFrame>
      <p:sp>
        <p:nvSpPr>
          <p:cNvPr id="234" name="TextBox 233"/>
          <p:cNvSpPr txBox="1"/>
          <p:nvPr/>
        </p:nvSpPr>
        <p:spPr>
          <a:xfrm>
            <a:off x="6032977" y="2790243"/>
            <a:ext cx="779500" cy="534368"/>
          </a:xfrm>
          <a:prstGeom prst="rect">
            <a:avLst/>
          </a:prstGeom>
          <a:noFill/>
        </p:spPr>
        <p:txBody>
          <a:bodyPr wrap="square" lIns="72000" tIns="36000" rIns="72000" bIns="36000" rtlCol="0">
            <a:spAutoFit/>
          </a:bodyPr>
          <a:lstStyle/>
          <a:p>
            <a:pPr algn="ctr" fontAlgn="base">
              <a:spcBef>
                <a:spcPct val="0"/>
              </a:spcBef>
              <a:spcAft>
                <a:spcPct val="0"/>
              </a:spcAft>
              <a:defRPr/>
            </a:pPr>
            <a:r>
              <a:rPr lang="ru-RU" b="1" dirty="0">
                <a:solidFill>
                  <a:prstClr val="black"/>
                </a:solidFill>
                <a:latin typeface="Arial" charset="0"/>
              </a:rPr>
              <a:t>4</a:t>
            </a:r>
            <a:r>
              <a:rPr lang="ru-RU" b="1" dirty="0">
                <a:latin typeface="Arial" charset="0"/>
              </a:rPr>
              <a:t>7,4</a:t>
            </a:r>
            <a:r>
              <a:rPr lang="ru-RU" b="1" dirty="0">
                <a:solidFill>
                  <a:prstClr val="black"/>
                </a:solidFill>
                <a:latin typeface="Arial" charset="0"/>
              </a:rPr>
              <a:t> </a:t>
            </a:r>
            <a:r>
              <a:rPr lang="ru-RU" sz="1200" dirty="0">
                <a:solidFill>
                  <a:prstClr val="black"/>
                </a:solidFill>
                <a:latin typeface="Arial" charset="0"/>
              </a:rPr>
              <a:t>тыс. т</a:t>
            </a:r>
          </a:p>
        </p:txBody>
      </p:sp>
      <p:sp>
        <p:nvSpPr>
          <p:cNvPr id="35" name="Прямоугольник 34"/>
          <p:cNvSpPr/>
          <p:nvPr/>
        </p:nvSpPr>
        <p:spPr>
          <a:xfrm>
            <a:off x="2255599" y="4416488"/>
            <a:ext cx="5405246" cy="307777"/>
          </a:xfrm>
          <a:prstGeom prst="rect">
            <a:avLst/>
          </a:prstGeom>
          <a:noFill/>
        </p:spPr>
        <p:txBody>
          <a:bodyPr wrap="square" rIns="36000">
            <a:spAutoFit/>
          </a:bodyPr>
          <a:lstStyle/>
          <a:p>
            <a:pPr defTabSz="932962" fontAlgn="base">
              <a:spcBef>
                <a:spcPct val="0"/>
              </a:spcBef>
              <a:spcAft>
                <a:spcPct val="0"/>
              </a:spcAft>
              <a:defRPr/>
            </a:pPr>
            <a:r>
              <a:rPr lang="ru-RU" sz="1400" b="1" dirty="0">
                <a:solidFill>
                  <a:prstClr val="black"/>
                </a:solidFill>
                <a:latin typeface="Arial" panose="020B0604020202020204" pitchFamily="34" charset="0"/>
                <a:cs typeface="Arial" panose="020B0604020202020204" pitchFamily="34" charset="0"/>
              </a:rPr>
              <a:t>КОНКУРЕНТНЫЕ ПРЕИМУЩЕСТВА ДИВИЗИОНА </a:t>
            </a:r>
            <a:endParaRPr lang="ru-RU" sz="1400" dirty="0">
              <a:solidFill>
                <a:prstClr val="black"/>
              </a:solidFill>
              <a:latin typeface="Arial" panose="020B0604020202020204" pitchFamily="34" charset="0"/>
              <a:cs typeface="Arial" panose="020B0604020202020204" pitchFamily="34" charset="0"/>
            </a:endParaRPr>
          </a:p>
        </p:txBody>
      </p:sp>
      <p:sp>
        <p:nvSpPr>
          <p:cNvPr id="39" name="Прямоугольник 38"/>
          <p:cNvSpPr/>
          <p:nvPr/>
        </p:nvSpPr>
        <p:spPr>
          <a:xfrm>
            <a:off x="727038" y="4945247"/>
            <a:ext cx="2389085" cy="1384995"/>
          </a:xfrm>
          <a:prstGeom prst="rect">
            <a:avLst/>
          </a:prstGeom>
        </p:spPr>
        <p:txBody>
          <a:bodyPr wrap="square" lIns="36000">
            <a:spAutoFit/>
          </a:bodyPr>
          <a:lstStyle/>
          <a:p>
            <a:r>
              <a:rPr lang="ru-RU" sz="1400" spc="-30" dirty="0">
                <a:solidFill>
                  <a:schemeClr val="tx1">
                    <a:lumMod val="50000"/>
                  </a:schemeClr>
                </a:solidFill>
                <a:latin typeface="Arial"/>
                <a:cs typeface="Calibri" pitchFamily="34" charset="0"/>
              </a:rPr>
              <a:t>Уникальная сырьевая база с возможностью рентабельного извлечения ценных компонентов (уран, золото и другие стратегические металлы) </a:t>
            </a:r>
          </a:p>
        </p:txBody>
      </p:sp>
      <p:pic>
        <p:nvPicPr>
          <p:cNvPr id="5" name="Рисунок 4"/>
          <p:cNvPicPr>
            <a:picLocks noChangeAspect="1"/>
          </p:cNvPicPr>
          <p:nvPr/>
        </p:nvPicPr>
        <p:blipFill>
          <a:blip r:embed="rId22"/>
          <a:stretch>
            <a:fillRect/>
          </a:stretch>
        </p:blipFill>
        <p:spPr>
          <a:xfrm>
            <a:off x="5904477" y="4945247"/>
            <a:ext cx="709813" cy="608411"/>
          </a:xfrm>
          <a:prstGeom prst="rect">
            <a:avLst/>
          </a:prstGeom>
        </p:spPr>
      </p:pic>
      <p:pic>
        <p:nvPicPr>
          <p:cNvPr id="6" name="Рисунок 5"/>
          <p:cNvPicPr>
            <a:picLocks noChangeAspect="1"/>
          </p:cNvPicPr>
          <p:nvPr/>
        </p:nvPicPr>
        <p:blipFill>
          <a:blip r:embed="rId23"/>
          <a:stretch>
            <a:fillRect/>
          </a:stretch>
        </p:blipFill>
        <p:spPr>
          <a:xfrm>
            <a:off x="3146074" y="4966655"/>
            <a:ext cx="604161" cy="661277"/>
          </a:xfrm>
          <a:prstGeom prst="rect">
            <a:avLst/>
          </a:prstGeom>
        </p:spPr>
      </p:pic>
      <p:pic>
        <p:nvPicPr>
          <p:cNvPr id="8" name="Рисунок 7"/>
          <p:cNvPicPr>
            <a:picLocks noChangeAspect="1"/>
          </p:cNvPicPr>
          <p:nvPr/>
        </p:nvPicPr>
        <p:blipFill>
          <a:blip r:embed="rId24"/>
          <a:stretch>
            <a:fillRect/>
          </a:stretch>
        </p:blipFill>
        <p:spPr>
          <a:xfrm>
            <a:off x="19937" y="4945247"/>
            <a:ext cx="677151" cy="671619"/>
          </a:xfrm>
          <a:prstGeom prst="rect">
            <a:avLst/>
          </a:prstGeom>
        </p:spPr>
      </p:pic>
      <p:sp>
        <p:nvSpPr>
          <p:cNvPr id="43" name="Прямоугольник 42"/>
          <p:cNvSpPr/>
          <p:nvPr/>
        </p:nvSpPr>
        <p:spPr>
          <a:xfrm>
            <a:off x="3808765" y="4909769"/>
            <a:ext cx="2415975" cy="1600438"/>
          </a:xfrm>
          <a:prstGeom prst="rect">
            <a:avLst/>
          </a:prstGeom>
        </p:spPr>
        <p:txBody>
          <a:bodyPr wrap="square" lIns="36000">
            <a:spAutoFit/>
          </a:bodyPr>
          <a:lstStyle/>
          <a:p>
            <a:r>
              <a:rPr lang="ru-RU" sz="1400" spc="-30" dirty="0">
                <a:solidFill>
                  <a:schemeClr val="tx1">
                    <a:lumMod val="50000"/>
                  </a:schemeClr>
                </a:solidFill>
                <a:latin typeface="Arial"/>
                <a:cs typeface="Calibri" pitchFamily="34" charset="0"/>
              </a:rPr>
              <a:t>Современный научный потенциал и квалифицированная команда, обладающая многолетним опытом работы в горнорудной отрасли </a:t>
            </a:r>
          </a:p>
        </p:txBody>
      </p:sp>
      <p:sp>
        <p:nvSpPr>
          <p:cNvPr id="45" name="Прямоугольник 44"/>
          <p:cNvSpPr/>
          <p:nvPr/>
        </p:nvSpPr>
        <p:spPr>
          <a:xfrm>
            <a:off x="6629956" y="4877610"/>
            <a:ext cx="2495721" cy="1600438"/>
          </a:xfrm>
          <a:prstGeom prst="rect">
            <a:avLst/>
          </a:prstGeom>
        </p:spPr>
        <p:txBody>
          <a:bodyPr wrap="square" lIns="36000">
            <a:spAutoFit/>
          </a:bodyPr>
          <a:lstStyle/>
          <a:p>
            <a:r>
              <a:rPr lang="ru-RU" sz="1400" spc="-30" dirty="0">
                <a:solidFill>
                  <a:schemeClr val="tx1">
                    <a:lumMod val="50000"/>
                  </a:schemeClr>
                </a:solidFill>
                <a:latin typeface="Arial"/>
                <a:cs typeface="Calibri" pitchFamily="34" charset="0"/>
              </a:rPr>
              <a:t>Полный спектр компетенций по управлению жизненным циклом освоения и эксплуатации </a:t>
            </a:r>
            <a:r>
              <a:rPr lang="ru-RU" sz="1400" spc="-30" dirty="0" err="1">
                <a:solidFill>
                  <a:schemeClr val="tx1">
                    <a:lumMod val="50000"/>
                  </a:schemeClr>
                </a:solidFill>
                <a:latin typeface="Arial"/>
                <a:cs typeface="Calibri" pitchFamily="34" charset="0"/>
              </a:rPr>
              <a:t>ме</a:t>
            </a:r>
            <a:r>
              <a:rPr lang="en-US" sz="1400" spc="-30" dirty="0">
                <a:solidFill>
                  <a:schemeClr val="tx1">
                    <a:lumMod val="50000"/>
                  </a:schemeClr>
                </a:solidFill>
                <a:latin typeface="Arial"/>
                <a:cs typeface="Calibri" pitchFamily="34" charset="0"/>
              </a:rPr>
              <a:t>c</a:t>
            </a:r>
            <a:r>
              <a:rPr lang="ru-RU" sz="1400" spc="-30" dirty="0" err="1">
                <a:solidFill>
                  <a:schemeClr val="tx1">
                    <a:lumMod val="50000"/>
                  </a:schemeClr>
                </a:solidFill>
                <a:latin typeface="Arial"/>
                <a:cs typeface="Calibri" pitchFamily="34" charset="0"/>
              </a:rPr>
              <a:t>торождений</a:t>
            </a:r>
            <a:r>
              <a:rPr lang="ru-RU" sz="1400" spc="-30" dirty="0">
                <a:solidFill>
                  <a:schemeClr val="tx1">
                    <a:lumMod val="50000"/>
                  </a:schemeClr>
                </a:solidFill>
                <a:latin typeface="Arial"/>
                <a:cs typeface="Calibri" pitchFamily="34" charset="0"/>
              </a:rPr>
              <a:t>, в том числе в сложных природно-климатических условиях </a:t>
            </a:r>
          </a:p>
        </p:txBody>
      </p:sp>
      <p:sp>
        <p:nvSpPr>
          <p:cNvPr id="40" name="TextBox 39"/>
          <p:cNvSpPr txBox="1"/>
          <p:nvPr/>
        </p:nvSpPr>
        <p:spPr>
          <a:xfrm>
            <a:off x="8608927" y="6419270"/>
            <a:ext cx="389027" cy="284059"/>
          </a:xfrm>
          <a:prstGeom prst="rect">
            <a:avLst/>
          </a:prstGeom>
          <a:noFill/>
        </p:spPr>
        <p:txBody>
          <a:bodyPr wrap="square" lIns="84397" tIns="42199" rIns="84397" bIns="42199" rtlCol="0">
            <a:spAutoFit/>
          </a:bodyPr>
          <a:lstStyle/>
          <a:p>
            <a:pPr algn="ctr" defTabSz="844083"/>
            <a:r>
              <a:rPr lang="ru-RU" sz="1292" dirty="0">
                <a:solidFill>
                  <a:prstClr val="black"/>
                </a:solidFill>
                <a:latin typeface="Arial" pitchFamily="34" charset="0"/>
                <a:cs typeface="Arial" pitchFamily="34" charset="0"/>
              </a:rPr>
              <a:t>3</a:t>
            </a:r>
          </a:p>
        </p:txBody>
      </p:sp>
    </p:spTree>
    <p:extLst>
      <p:ext uri="{BB962C8B-B14F-4D97-AF65-F5344CB8AC3E}">
        <p14:creationId xmlns:p14="http://schemas.microsoft.com/office/powerpoint/2010/main" val="425124533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6" name="Группа 152"/>
          <p:cNvGrpSpPr>
            <a:grpSpLocks noChangeAspect="1"/>
          </p:cNvGrpSpPr>
          <p:nvPr/>
        </p:nvGrpSpPr>
        <p:grpSpPr>
          <a:xfrm rot="21599836">
            <a:off x="1142422" y="908901"/>
            <a:ext cx="7577457" cy="4041883"/>
            <a:chOff x="3027995" y="1694911"/>
            <a:chExt cx="5194702" cy="2847264"/>
          </a:xfrm>
          <a:solidFill>
            <a:srgbClr val="EDF2F3"/>
          </a:solidFill>
          <a:scene3d>
            <a:camera prst="orthographicFront">
              <a:rot lat="0" lon="0" rev="21300000"/>
            </a:camera>
            <a:lightRig rig="threePt" dir="t"/>
          </a:scene3d>
        </p:grpSpPr>
        <p:grpSp>
          <p:nvGrpSpPr>
            <p:cNvPr id="217" name="Группа 536"/>
            <p:cNvGrpSpPr/>
            <p:nvPr/>
          </p:nvGrpSpPr>
          <p:grpSpPr>
            <a:xfrm>
              <a:off x="3146779" y="1694915"/>
              <a:ext cx="5075916" cy="2847264"/>
              <a:chOff x="355921" y="1080526"/>
              <a:chExt cx="8404245" cy="4425228"/>
            </a:xfrm>
            <a:grpFill/>
          </p:grpSpPr>
          <p:sp>
            <p:nvSpPr>
              <p:cNvPr id="219" name="Freeform 4"/>
              <p:cNvSpPr>
                <a:spLocks noChangeAspect="1"/>
              </p:cNvSpPr>
              <p:nvPr/>
            </p:nvSpPr>
            <p:spPr bwMode="auto">
              <a:xfrm>
                <a:off x="7336739" y="3927701"/>
                <a:ext cx="52309" cy="57055"/>
              </a:xfrm>
              <a:custGeom>
                <a:avLst/>
                <a:gdLst/>
                <a:ahLst/>
                <a:cxnLst>
                  <a:cxn ang="0">
                    <a:pos x="41" y="0"/>
                  </a:cxn>
                  <a:cxn ang="0">
                    <a:pos x="0" y="55"/>
                  </a:cxn>
                  <a:cxn ang="0">
                    <a:pos x="0" y="55"/>
                  </a:cxn>
                  <a:cxn ang="0">
                    <a:pos x="0" y="55"/>
                  </a:cxn>
                  <a:cxn ang="0">
                    <a:pos x="3" y="56"/>
                  </a:cxn>
                  <a:cxn ang="0">
                    <a:pos x="4" y="59"/>
                  </a:cxn>
                  <a:cxn ang="0">
                    <a:pos x="5" y="66"/>
                  </a:cxn>
                  <a:cxn ang="0">
                    <a:pos x="3" y="73"/>
                  </a:cxn>
                  <a:cxn ang="0">
                    <a:pos x="0" y="80"/>
                  </a:cxn>
                  <a:cxn ang="0">
                    <a:pos x="0" y="80"/>
                  </a:cxn>
                  <a:cxn ang="0">
                    <a:pos x="66" y="80"/>
                  </a:cxn>
                  <a:cxn ang="0">
                    <a:pos x="41" y="0"/>
                  </a:cxn>
                  <a:cxn ang="0">
                    <a:pos x="41" y="0"/>
                  </a:cxn>
                </a:cxnLst>
                <a:rect l="0" t="0" r="r" b="b"/>
                <a:pathLst>
                  <a:path w="66" h="80">
                    <a:moveTo>
                      <a:pt x="41" y="0"/>
                    </a:moveTo>
                    <a:lnTo>
                      <a:pt x="0" y="55"/>
                    </a:lnTo>
                    <a:lnTo>
                      <a:pt x="0" y="55"/>
                    </a:lnTo>
                    <a:lnTo>
                      <a:pt x="0" y="55"/>
                    </a:lnTo>
                    <a:lnTo>
                      <a:pt x="3" y="56"/>
                    </a:lnTo>
                    <a:lnTo>
                      <a:pt x="4" y="59"/>
                    </a:lnTo>
                    <a:lnTo>
                      <a:pt x="5" y="66"/>
                    </a:lnTo>
                    <a:lnTo>
                      <a:pt x="3" y="73"/>
                    </a:lnTo>
                    <a:lnTo>
                      <a:pt x="0" y="80"/>
                    </a:lnTo>
                    <a:lnTo>
                      <a:pt x="0" y="80"/>
                    </a:lnTo>
                    <a:lnTo>
                      <a:pt x="66" y="80"/>
                    </a:lnTo>
                    <a:lnTo>
                      <a:pt x="41" y="0"/>
                    </a:lnTo>
                    <a:lnTo>
                      <a:pt x="41"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0" name="Freeform 5"/>
              <p:cNvSpPr>
                <a:spLocks noChangeAspect="1"/>
              </p:cNvSpPr>
              <p:nvPr/>
            </p:nvSpPr>
            <p:spPr bwMode="auto">
              <a:xfrm>
                <a:off x="7290770" y="3966665"/>
                <a:ext cx="19021" cy="27831"/>
              </a:xfrm>
              <a:custGeom>
                <a:avLst/>
                <a:gdLst/>
                <a:ahLst/>
                <a:cxnLst>
                  <a:cxn ang="0">
                    <a:pos x="0" y="35"/>
                  </a:cxn>
                  <a:cxn ang="0">
                    <a:pos x="0" y="35"/>
                  </a:cxn>
                  <a:cxn ang="0">
                    <a:pos x="8" y="34"/>
                  </a:cxn>
                  <a:cxn ang="0">
                    <a:pos x="15" y="35"/>
                  </a:cxn>
                  <a:cxn ang="0">
                    <a:pos x="21" y="38"/>
                  </a:cxn>
                  <a:cxn ang="0">
                    <a:pos x="25" y="40"/>
                  </a:cxn>
                  <a:cxn ang="0">
                    <a:pos x="25" y="40"/>
                  </a:cxn>
                  <a:cxn ang="0">
                    <a:pos x="25" y="0"/>
                  </a:cxn>
                  <a:cxn ang="0">
                    <a:pos x="25" y="0"/>
                  </a:cxn>
                  <a:cxn ang="0">
                    <a:pos x="25" y="0"/>
                  </a:cxn>
                  <a:cxn ang="0">
                    <a:pos x="18" y="8"/>
                  </a:cxn>
                  <a:cxn ang="0">
                    <a:pos x="11" y="16"/>
                  </a:cxn>
                  <a:cxn ang="0">
                    <a:pos x="5" y="25"/>
                  </a:cxn>
                  <a:cxn ang="0">
                    <a:pos x="0" y="35"/>
                  </a:cxn>
                  <a:cxn ang="0">
                    <a:pos x="0" y="35"/>
                  </a:cxn>
                  <a:cxn ang="0">
                    <a:pos x="0" y="35"/>
                  </a:cxn>
                </a:cxnLst>
                <a:rect l="0" t="0" r="r" b="b"/>
                <a:pathLst>
                  <a:path w="25" h="40">
                    <a:moveTo>
                      <a:pt x="0" y="35"/>
                    </a:moveTo>
                    <a:lnTo>
                      <a:pt x="0" y="35"/>
                    </a:lnTo>
                    <a:lnTo>
                      <a:pt x="8" y="34"/>
                    </a:lnTo>
                    <a:lnTo>
                      <a:pt x="15" y="35"/>
                    </a:lnTo>
                    <a:lnTo>
                      <a:pt x="21" y="38"/>
                    </a:lnTo>
                    <a:lnTo>
                      <a:pt x="25" y="40"/>
                    </a:lnTo>
                    <a:lnTo>
                      <a:pt x="25" y="40"/>
                    </a:lnTo>
                    <a:lnTo>
                      <a:pt x="25" y="0"/>
                    </a:lnTo>
                    <a:lnTo>
                      <a:pt x="25" y="0"/>
                    </a:lnTo>
                    <a:lnTo>
                      <a:pt x="25" y="0"/>
                    </a:lnTo>
                    <a:lnTo>
                      <a:pt x="18" y="8"/>
                    </a:lnTo>
                    <a:lnTo>
                      <a:pt x="11" y="16"/>
                    </a:lnTo>
                    <a:lnTo>
                      <a:pt x="5" y="25"/>
                    </a:lnTo>
                    <a:lnTo>
                      <a:pt x="0" y="35"/>
                    </a:lnTo>
                    <a:lnTo>
                      <a:pt x="0" y="35"/>
                    </a:lnTo>
                    <a:lnTo>
                      <a:pt x="0" y="3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1" name="Freeform 6"/>
              <p:cNvSpPr>
                <a:spLocks noChangeAspect="1"/>
              </p:cNvSpPr>
              <p:nvPr/>
            </p:nvSpPr>
            <p:spPr bwMode="auto">
              <a:xfrm>
                <a:off x="4390022" y="1975312"/>
                <a:ext cx="31702" cy="22265"/>
              </a:xfrm>
              <a:custGeom>
                <a:avLst/>
                <a:gdLst/>
                <a:ahLst/>
                <a:cxnLst>
                  <a:cxn ang="0">
                    <a:pos x="22" y="0"/>
                  </a:cxn>
                  <a:cxn ang="0">
                    <a:pos x="22" y="0"/>
                  </a:cxn>
                  <a:cxn ang="0">
                    <a:pos x="14" y="0"/>
                  </a:cxn>
                  <a:cxn ang="0">
                    <a:pos x="7" y="1"/>
                  </a:cxn>
                  <a:cxn ang="0">
                    <a:pos x="5" y="2"/>
                  </a:cxn>
                  <a:cxn ang="0">
                    <a:pos x="3" y="5"/>
                  </a:cxn>
                  <a:cxn ang="0">
                    <a:pos x="2" y="7"/>
                  </a:cxn>
                  <a:cxn ang="0">
                    <a:pos x="0" y="10"/>
                  </a:cxn>
                  <a:cxn ang="0">
                    <a:pos x="0" y="10"/>
                  </a:cxn>
                  <a:cxn ang="0">
                    <a:pos x="2" y="15"/>
                  </a:cxn>
                  <a:cxn ang="0">
                    <a:pos x="3" y="20"/>
                  </a:cxn>
                  <a:cxn ang="0">
                    <a:pos x="4" y="24"/>
                  </a:cxn>
                  <a:cxn ang="0">
                    <a:pos x="6" y="28"/>
                  </a:cxn>
                  <a:cxn ang="0">
                    <a:pos x="10" y="30"/>
                  </a:cxn>
                  <a:cxn ang="0">
                    <a:pos x="13" y="31"/>
                  </a:cxn>
                  <a:cxn ang="0">
                    <a:pos x="18" y="32"/>
                  </a:cxn>
                  <a:cxn ang="0">
                    <a:pos x="22" y="32"/>
                  </a:cxn>
                  <a:cxn ang="0">
                    <a:pos x="22" y="32"/>
                  </a:cxn>
                  <a:cxn ang="0">
                    <a:pos x="26" y="32"/>
                  </a:cxn>
                  <a:cxn ang="0">
                    <a:pos x="29" y="31"/>
                  </a:cxn>
                  <a:cxn ang="0">
                    <a:pos x="33" y="26"/>
                  </a:cxn>
                  <a:cxn ang="0">
                    <a:pos x="36" y="22"/>
                  </a:cxn>
                  <a:cxn ang="0">
                    <a:pos x="38" y="20"/>
                  </a:cxn>
                  <a:cxn ang="0">
                    <a:pos x="41" y="18"/>
                  </a:cxn>
                  <a:cxn ang="0">
                    <a:pos x="41" y="18"/>
                  </a:cxn>
                  <a:cxn ang="0">
                    <a:pos x="29" y="6"/>
                  </a:cxn>
                  <a:cxn ang="0">
                    <a:pos x="22" y="0"/>
                  </a:cxn>
                  <a:cxn ang="0">
                    <a:pos x="22" y="0"/>
                  </a:cxn>
                  <a:cxn ang="0">
                    <a:pos x="22" y="0"/>
                  </a:cxn>
                </a:cxnLst>
                <a:rect l="0" t="0" r="r" b="b"/>
                <a:pathLst>
                  <a:path w="41" h="32">
                    <a:moveTo>
                      <a:pt x="22" y="0"/>
                    </a:moveTo>
                    <a:lnTo>
                      <a:pt x="22" y="0"/>
                    </a:lnTo>
                    <a:lnTo>
                      <a:pt x="14" y="0"/>
                    </a:lnTo>
                    <a:lnTo>
                      <a:pt x="7" y="1"/>
                    </a:lnTo>
                    <a:lnTo>
                      <a:pt x="5" y="2"/>
                    </a:lnTo>
                    <a:lnTo>
                      <a:pt x="3" y="5"/>
                    </a:lnTo>
                    <a:lnTo>
                      <a:pt x="2" y="7"/>
                    </a:lnTo>
                    <a:lnTo>
                      <a:pt x="0" y="10"/>
                    </a:lnTo>
                    <a:lnTo>
                      <a:pt x="0" y="10"/>
                    </a:lnTo>
                    <a:lnTo>
                      <a:pt x="2" y="15"/>
                    </a:lnTo>
                    <a:lnTo>
                      <a:pt x="3" y="20"/>
                    </a:lnTo>
                    <a:lnTo>
                      <a:pt x="4" y="24"/>
                    </a:lnTo>
                    <a:lnTo>
                      <a:pt x="6" y="28"/>
                    </a:lnTo>
                    <a:lnTo>
                      <a:pt x="10" y="30"/>
                    </a:lnTo>
                    <a:lnTo>
                      <a:pt x="13" y="31"/>
                    </a:lnTo>
                    <a:lnTo>
                      <a:pt x="18" y="32"/>
                    </a:lnTo>
                    <a:lnTo>
                      <a:pt x="22" y="32"/>
                    </a:lnTo>
                    <a:lnTo>
                      <a:pt x="22" y="32"/>
                    </a:lnTo>
                    <a:lnTo>
                      <a:pt x="26" y="32"/>
                    </a:lnTo>
                    <a:lnTo>
                      <a:pt x="29" y="31"/>
                    </a:lnTo>
                    <a:lnTo>
                      <a:pt x="33" y="26"/>
                    </a:lnTo>
                    <a:lnTo>
                      <a:pt x="36" y="22"/>
                    </a:lnTo>
                    <a:lnTo>
                      <a:pt x="38" y="20"/>
                    </a:lnTo>
                    <a:lnTo>
                      <a:pt x="41" y="18"/>
                    </a:lnTo>
                    <a:lnTo>
                      <a:pt x="41" y="18"/>
                    </a:lnTo>
                    <a:lnTo>
                      <a:pt x="29" y="6"/>
                    </a:lnTo>
                    <a:lnTo>
                      <a:pt x="22" y="0"/>
                    </a:lnTo>
                    <a:lnTo>
                      <a:pt x="22" y="0"/>
                    </a:lnTo>
                    <a:lnTo>
                      <a:pt x="22"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2" name="Freeform 7"/>
              <p:cNvSpPr>
                <a:spLocks noChangeAspect="1"/>
              </p:cNvSpPr>
              <p:nvPr/>
            </p:nvSpPr>
            <p:spPr bwMode="auto">
              <a:xfrm>
                <a:off x="4418554" y="2118646"/>
                <a:ext cx="58649" cy="47314"/>
              </a:xfrm>
              <a:custGeom>
                <a:avLst/>
                <a:gdLst/>
                <a:ahLst/>
                <a:cxnLst>
                  <a:cxn ang="0">
                    <a:pos x="20" y="0"/>
                  </a:cxn>
                  <a:cxn ang="0">
                    <a:pos x="20" y="0"/>
                  </a:cxn>
                  <a:cxn ang="0">
                    <a:pos x="15" y="0"/>
                  </a:cxn>
                  <a:cxn ang="0">
                    <a:pos x="12" y="1"/>
                  </a:cxn>
                  <a:cxn ang="0">
                    <a:pos x="8" y="3"/>
                  </a:cxn>
                  <a:cxn ang="0">
                    <a:pos x="5" y="6"/>
                  </a:cxn>
                  <a:cxn ang="0">
                    <a:pos x="4" y="7"/>
                  </a:cxn>
                  <a:cxn ang="0">
                    <a:pos x="1" y="7"/>
                  </a:cxn>
                  <a:cxn ang="0">
                    <a:pos x="1" y="7"/>
                  </a:cxn>
                  <a:cxn ang="0">
                    <a:pos x="0" y="14"/>
                  </a:cxn>
                  <a:cxn ang="0">
                    <a:pos x="0" y="19"/>
                  </a:cxn>
                  <a:cxn ang="0">
                    <a:pos x="1" y="24"/>
                  </a:cxn>
                  <a:cxn ang="0">
                    <a:pos x="1" y="29"/>
                  </a:cxn>
                  <a:cxn ang="0">
                    <a:pos x="1" y="29"/>
                  </a:cxn>
                  <a:cxn ang="0">
                    <a:pos x="1" y="33"/>
                  </a:cxn>
                  <a:cxn ang="0">
                    <a:pos x="4" y="38"/>
                  </a:cxn>
                  <a:cxn ang="0">
                    <a:pos x="6" y="41"/>
                  </a:cxn>
                  <a:cxn ang="0">
                    <a:pos x="9" y="46"/>
                  </a:cxn>
                  <a:cxn ang="0">
                    <a:pos x="14" y="49"/>
                  </a:cxn>
                  <a:cxn ang="0">
                    <a:pos x="20" y="52"/>
                  </a:cxn>
                  <a:cxn ang="0">
                    <a:pos x="27" y="54"/>
                  </a:cxn>
                  <a:cxn ang="0">
                    <a:pos x="35" y="54"/>
                  </a:cxn>
                  <a:cxn ang="0">
                    <a:pos x="35" y="54"/>
                  </a:cxn>
                  <a:cxn ang="0">
                    <a:pos x="35" y="59"/>
                  </a:cxn>
                  <a:cxn ang="0">
                    <a:pos x="36" y="61"/>
                  </a:cxn>
                  <a:cxn ang="0">
                    <a:pos x="37" y="63"/>
                  </a:cxn>
                  <a:cxn ang="0">
                    <a:pos x="39" y="66"/>
                  </a:cxn>
                  <a:cxn ang="0">
                    <a:pos x="44" y="68"/>
                  </a:cxn>
                  <a:cxn ang="0">
                    <a:pos x="48" y="69"/>
                  </a:cxn>
                  <a:cxn ang="0">
                    <a:pos x="48" y="69"/>
                  </a:cxn>
                  <a:cxn ang="0">
                    <a:pos x="52" y="68"/>
                  </a:cxn>
                  <a:cxn ang="0">
                    <a:pos x="56" y="63"/>
                  </a:cxn>
                  <a:cxn ang="0">
                    <a:pos x="65" y="51"/>
                  </a:cxn>
                  <a:cxn ang="0">
                    <a:pos x="75" y="32"/>
                  </a:cxn>
                  <a:cxn ang="0">
                    <a:pos x="75" y="32"/>
                  </a:cxn>
                  <a:cxn ang="0">
                    <a:pos x="74" y="29"/>
                  </a:cxn>
                  <a:cxn ang="0">
                    <a:pos x="73" y="24"/>
                  </a:cxn>
                  <a:cxn ang="0">
                    <a:pos x="71" y="21"/>
                  </a:cxn>
                  <a:cxn ang="0">
                    <a:pos x="68" y="18"/>
                  </a:cxn>
                  <a:cxn ang="0">
                    <a:pos x="61" y="13"/>
                  </a:cxn>
                  <a:cxn ang="0">
                    <a:pos x="53" y="8"/>
                  </a:cxn>
                  <a:cxn ang="0">
                    <a:pos x="44" y="5"/>
                  </a:cxn>
                  <a:cxn ang="0">
                    <a:pos x="35" y="1"/>
                  </a:cxn>
                  <a:cxn ang="0">
                    <a:pos x="27" y="0"/>
                  </a:cxn>
                  <a:cxn ang="0">
                    <a:pos x="20" y="0"/>
                  </a:cxn>
                  <a:cxn ang="0">
                    <a:pos x="20" y="0"/>
                  </a:cxn>
                  <a:cxn ang="0">
                    <a:pos x="20" y="0"/>
                  </a:cxn>
                </a:cxnLst>
                <a:rect l="0" t="0" r="r" b="b"/>
                <a:pathLst>
                  <a:path w="75" h="69">
                    <a:moveTo>
                      <a:pt x="20" y="0"/>
                    </a:moveTo>
                    <a:lnTo>
                      <a:pt x="20" y="0"/>
                    </a:lnTo>
                    <a:lnTo>
                      <a:pt x="15" y="0"/>
                    </a:lnTo>
                    <a:lnTo>
                      <a:pt x="12" y="1"/>
                    </a:lnTo>
                    <a:lnTo>
                      <a:pt x="8" y="3"/>
                    </a:lnTo>
                    <a:lnTo>
                      <a:pt x="5" y="6"/>
                    </a:lnTo>
                    <a:lnTo>
                      <a:pt x="4" y="7"/>
                    </a:lnTo>
                    <a:lnTo>
                      <a:pt x="1" y="7"/>
                    </a:lnTo>
                    <a:lnTo>
                      <a:pt x="1" y="7"/>
                    </a:lnTo>
                    <a:lnTo>
                      <a:pt x="0" y="14"/>
                    </a:lnTo>
                    <a:lnTo>
                      <a:pt x="0" y="19"/>
                    </a:lnTo>
                    <a:lnTo>
                      <a:pt x="1" y="24"/>
                    </a:lnTo>
                    <a:lnTo>
                      <a:pt x="1" y="29"/>
                    </a:lnTo>
                    <a:lnTo>
                      <a:pt x="1" y="29"/>
                    </a:lnTo>
                    <a:lnTo>
                      <a:pt x="1" y="33"/>
                    </a:lnTo>
                    <a:lnTo>
                      <a:pt x="4" y="38"/>
                    </a:lnTo>
                    <a:lnTo>
                      <a:pt x="6" y="41"/>
                    </a:lnTo>
                    <a:lnTo>
                      <a:pt x="9" y="46"/>
                    </a:lnTo>
                    <a:lnTo>
                      <a:pt x="14" y="49"/>
                    </a:lnTo>
                    <a:lnTo>
                      <a:pt x="20" y="52"/>
                    </a:lnTo>
                    <a:lnTo>
                      <a:pt x="27" y="54"/>
                    </a:lnTo>
                    <a:lnTo>
                      <a:pt x="35" y="54"/>
                    </a:lnTo>
                    <a:lnTo>
                      <a:pt x="35" y="54"/>
                    </a:lnTo>
                    <a:lnTo>
                      <a:pt x="35" y="59"/>
                    </a:lnTo>
                    <a:lnTo>
                      <a:pt x="36" y="61"/>
                    </a:lnTo>
                    <a:lnTo>
                      <a:pt x="37" y="63"/>
                    </a:lnTo>
                    <a:lnTo>
                      <a:pt x="39" y="66"/>
                    </a:lnTo>
                    <a:lnTo>
                      <a:pt x="44" y="68"/>
                    </a:lnTo>
                    <a:lnTo>
                      <a:pt x="48" y="69"/>
                    </a:lnTo>
                    <a:lnTo>
                      <a:pt x="48" y="69"/>
                    </a:lnTo>
                    <a:lnTo>
                      <a:pt x="52" y="68"/>
                    </a:lnTo>
                    <a:lnTo>
                      <a:pt x="56" y="63"/>
                    </a:lnTo>
                    <a:lnTo>
                      <a:pt x="65" y="51"/>
                    </a:lnTo>
                    <a:lnTo>
                      <a:pt x="75" y="32"/>
                    </a:lnTo>
                    <a:lnTo>
                      <a:pt x="75" y="32"/>
                    </a:lnTo>
                    <a:lnTo>
                      <a:pt x="74" y="29"/>
                    </a:lnTo>
                    <a:lnTo>
                      <a:pt x="73" y="24"/>
                    </a:lnTo>
                    <a:lnTo>
                      <a:pt x="71" y="21"/>
                    </a:lnTo>
                    <a:lnTo>
                      <a:pt x="68" y="18"/>
                    </a:lnTo>
                    <a:lnTo>
                      <a:pt x="61" y="13"/>
                    </a:lnTo>
                    <a:lnTo>
                      <a:pt x="53" y="8"/>
                    </a:lnTo>
                    <a:lnTo>
                      <a:pt x="44" y="5"/>
                    </a:lnTo>
                    <a:lnTo>
                      <a:pt x="35" y="1"/>
                    </a:lnTo>
                    <a:lnTo>
                      <a:pt x="27" y="0"/>
                    </a:lnTo>
                    <a:lnTo>
                      <a:pt x="20" y="0"/>
                    </a:lnTo>
                    <a:lnTo>
                      <a:pt x="20" y="0"/>
                    </a:lnTo>
                    <a:lnTo>
                      <a:pt x="20"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3" name="Freeform 8"/>
              <p:cNvSpPr>
                <a:spLocks noChangeAspect="1"/>
              </p:cNvSpPr>
              <p:nvPr/>
            </p:nvSpPr>
            <p:spPr bwMode="auto">
              <a:xfrm>
                <a:off x="4421724" y="1966963"/>
                <a:ext cx="139489" cy="155857"/>
              </a:xfrm>
              <a:custGeom>
                <a:avLst/>
                <a:gdLst/>
                <a:ahLst/>
                <a:cxnLst>
                  <a:cxn ang="0">
                    <a:pos x="147" y="56"/>
                  </a:cxn>
                  <a:cxn ang="0">
                    <a:pos x="141" y="53"/>
                  </a:cxn>
                  <a:cxn ang="0">
                    <a:pos x="132" y="38"/>
                  </a:cxn>
                  <a:cxn ang="0">
                    <a:pos x="124" y="18"/>
                  </a:cxn>
                  <a:cxn ang="0">
                    <a:pos x="116" y="6"/>
                  </a:cxn>
                  <a:cxn ang="0">
                    <a:pos x="110" y="2"/>
                  </a:cxn>
                  <a:cxn ang="0">
                    <a:pos x="107" y="0"/>
                  </a:cxn>
                  <a:cxn ang="0">
                    <a:pos x="100" y="3"/>
                  </a:cxn>
                  <a:cxn ang="0">
                    <a:pos x="98" y="6"/>
                  </a:cxn>
                  <a:cxn ang="0">
                    <a:pos x="95" y="15"/>
                  </a:cxn>
                  <a:cxn ang="0">
                    <a:pos x="70" y="37"/>
                  </a:cxn>
                  <a:cxn ang="0">
                    <a:pos x="65" y="37"/>
                  </a:cxn>
                  <a:cxn ang="0">
                    <a:pos x="51" y="44"/>
                  </a:cxn>
                  <a:cxn ang="0">
                    <a:pos x="39" y="53"/>
                  </a:cxn>
                  <a:cxn ang="0">
                    <a:pos x="31" y="65"/>
                  </a:cxn>
                  <a:cxn ang="0">
                    <a:pos x="30" y="71"/>
                  </a:cxn>
                  <a:cxn ang="0">
                    <a:pos x="32" y="80"/>
                  </a:cxn>
                  <a:cxn ang="0">
                    <a:pos x="39" y="86"/>
                  </a:cxn>
                  <a:cxn ang="0">
                    <a:pos x="47" y="94"/>
                  </a:cxn>
                  <a:cxn ang="0">
                    <a:pos x="48" y="96"/>
                  </a:cxn>
                  <a:cxn ang="0">
                    <a:pos x="46" y="111"/>
                  </a:cxn>
                  <a:cxn ang="0">
                    <a:pos x="39" y="125"/>
                  </a:cxn>
                  <a:cxn ang="0">
                    <a:pos x="27" y="136"/>
                  </a:cxn>
                  <a:cxn ang="0">
                    <a:pos x="15" y="140"/>
                  </a:cxn>
                  <a:cxn ang="0">
                    <a:pos x="15" y="155"/>
                  </a:cxn>
                  <a:cxn ang="0">
                    <a:pos x="4" y="160"/>
                  </a:cxn>
                  <a:cxn ang="0">
                    <a:pos x="0" y="166"/>
                  </a:cxn>
                  <a:cxn ang="0">
                    <a:pos x="1" y="171"/>
                  </a:cxn>
                  <a:cxn ang="0">
                    <a:pos x="8" y="178"/>
                  </a:cxn>
                  <a:cxn ang="0">
                    <a:pos x="22" y="182"/>
                  </a:cxn>
                  <a:cxn ang="0">
                    <a:pos x="30" y="185"/>
                  </a:cxn>
                  <a:cxn ang="0">
                    <a:pos x="38" y="195"/>
                  </a:cxn>
                  <a:cxn ang="0">
                    <a:pos x="48" y="214"/>
                  </a:cxn>
                  <a:cxn ang="0">
                    <a:pos x="58" y="224"/>
                  </a:cxn>
                  <a:cxn ang="0">
                    <a:pos x="66" y="225"/>
                  </a:cxn>
                  <a:cxn ang="0">
                    <a:pos x="76" y="224"/>
                  </a:cxn>
                  <a:cxn ang="0">
                    <a:pos x="91" y="216"/>
                  </a:cxn>
                  <a:cxn ang="0">
                    <a:pos x="108" y="200"/>
                  </a:cxn>
                  <a:cxn ang="0">
                    <a:pos x="122" y="191"/>
                  </a:cxn>
                  <a:cxn ang="0">
                    <a:pos x="137" y="189"/>
                  </a:cxn>
                  <a:cxn ang="0">
                    <a:pos x="154" y="183"/>
                  </a:cxn>
                  <a:cxn ang="0">
                    <a:pos x="170" y="175"/>
                  </a:cxn>
                  <a:cxn ang="0">
                    <a:pos x="175" y="170"/>
                  </a:cxn>
                  <a:cxn ang="0">
                    <a:pos x="176" y="163"/>
                  </a:cxn>
                  <a:cxn ang="0">
                    <a:pos x="175" y="157"/>
                  </a:cxn>
                  <a:cxn ang="0">
                    <a:pos x="163" y="145"/>
                  </a:cxn>
                  <a:cxn ang="0">
                    <a:pos x="155" y="137"/>
                  </a:cxn>
                  <a:cxn ang="0">
                    <a:pos x="150" y="125"/>
                  </a:cxn>
                  <a:cxn ang="0">
                    <a:pos x="152" y="120"/>
                  </a:cxn>
                  <a:cxn ang="0">
                    <a:pos x="163" y="107"/>
                  </a:cxn>
                  <a:cxn ang="0">
                    <a:pos x="172" y="98"/>
                  </a:cxn>
                  <a:cxn ang="0">
                    <a:pos x="176" y="86"/>
                  </a:cxn>
                  <a:cxn ang="0">
                    <a:pos x="176" y="79"/>
                  </a:cxn>
                  <a:cxn ang="0">
                    <a:pos x="171" y="67"/>
                  </a:cxn>
                  <a:cxn ang="0">
                    <a:pos x="162" y="60"/>
                  </a:cxn>
                  <a:cxn ang="0">
                    <a:pos x="153" y="57"/>
                  </a:cxn>
                  <a:cxn ang="0">
                    <a:pos x="147" y="56"/>
                  </a:cxn>
                </a:cxnLst>
                <a:rect l="0" t="0" r="r" b="b"/>
                <a:pathLst>
                  <a:path w="176" h="225">
                    <a:moveTo>
                      <a:pt x="147" y="56"/>
                    </a:moveTo>
                    <a:lnTo>
                      <a:pt x="147" y="56"/>
                    </a:lnTo>
                    <a:lnTo>
                      <a:pt x="144" y="56"/>
                    </a:lnTo>
                    <a:lnTo>
                      <a:pt x="141" y="53"/>
                    </a:lnTo>
                    <a:lnTo>
                      <a:pt x="137" y="48"/>
                    </a:lnTo>
                    <a:lnTo>
                      <a:pt x="132" y="38"/>
                    </a:lnTo>
                    <a:lnTo>
                      <a:pt x="129" y="28"/>
                    </a:lnTo>
                    <a:lnTo>
                      <a:pt x="124" y="18"/>
                    </a:lnTo>
                    <a:lnTo>
                      <a:pt x="118" y="10"/>
                    </a:lnTo>
                    <a:lnTo>
                      <a:pt x="116" y="6"/>
                    </a:lnTo>
                    <a:lnTo>
                      <a:pt x="114" y="3"/>
                    </a:lnTo>
                    <a:lnTo>
                      <a:pt x="110" y="2"/>
                    </a:lnTo>
                    <a:lnTo>
                      <a:pt x="107" y="0"/>
                    </a:lnTo>
                    <a:lnTo>
                      <a:pt x="107" y="0"/>
                    </a:lnTo>
                    <a:lnTo>
                      <a:pt x="103" y="2"/>
                    </a:lnTo>
                    <a:lnTo>
                      <a:pt x="100" y="3"/>
                    </a:lnTo>
                    <a:lnTo>
                      <a:pt x="99" y="4"/>
                    </a:lnTo>
                    <a:lnTo>
                      <a:pt x="98" y="6"/>
                    </a:lnTo>
                    <a:lnTo>
                      <a:pt x="96" y="12"/>
                    </a:lnTo>
                    <a:lnTo>
                      <a:pt x="95" y="15"/>
                    </a:lnTo>
                    <a:lnTo>
                      <a:pt x="95" y="15"/>
                    </a:lnTo>
                    <a:lnTo>
                      <a:pt x="70" y="37"/>
                    </a:lnTo>
                    <a:lnTo>
                      <a:pt x="70" y="37"/>
                    </a:lnTo>
                    <a:lnTo>
                      <a:pt x="65" y="37"/>
                    </a:lnTo>
                    <a:lnTo>
                      <a:pt x="58" y="41"/>
                    </a:lnTo>
                    <a:lnTo>
                      <a:pt x="51" y="44"/>
                    </a:lnTo>
                    <a:lnTo>
                      <a:pt x="46" y="49"/>
                    </a:lnTo>
                    <a:lnTo>
                      <a:pt x="39" y="53"/>
                    </a:lnTo>
                    <a:lnTo>
                      <a:pt x="34" y="59"/>
                    </a:lnTo>
                    <a:lnTo>
                      <a:pt x="31" y="65"/>
                    </a:lnTo>
                    <a:lnTo>
                      <a:pt x="30" y="71"/>
                    </a:lnTo>
                    <a:lnTo>
                      <a:pt x="30" y="71"/>
                    </a:lnTo>
                    <a:lnTo>
                      <a:pt x="30" y="75"/>
                    </a:lnTo>
                    <a:lnTo>
                      <a:pt x="32" y="80"/>
                    </a:lnTo>
                    <a:lnTo>
                      <a:pt x="35" y="83"/>
                    </a:lnTo>
                    <a:lnTo>
                      <a:pt x="39" y="86"/>
                    </a:lnTo>
                    <a:lnTo>
                      <a:pt x="45" y="91"/>
                    </a:lnTo>
                    <a:lnTo>
                      <a:pt x="47" y="94"/>
                    </a:lnTo>
                    <a:lnTo>
                      <a:pt x="48" y="96"/>
                    </a:lnTo>
                    <a:lnTo>
                      <a:pt x="48" y="96"/>
                    </a:lnTo>
                    <a:lnTo>
                      <a:pt x="47" y="103"/>
                    </a:lnTo>
                    <a:lnTo>
                      <a:pt x="46" y="111"/>
                    </a:lnTo>
                    <a:lnTo>
                      <a:pt x="42" y="118"/>
                    </a:lnTo>
                    <a:lnTo>
                      <a:pt x="39" y="125"/>
                    </a:lnTo>
                    <a:lnTo>
                      <a:pt x="33" y="130"/>
                    </a:lnTo>
                    <a:lnTo>
                      <a:pt x="27" y="136"/>
                    </a:lnTo>
                    <a:lnTo>
                      <a:pt x="22" y="139"/>
                    </a:lnTo>
                    <a:lnTo>
                      <a:pt x="15" y="140"/>
                    </a:lnTo>
                    <a:lnTo>
                      <a:pt x="15" y="140"/>
                    </a:lnTo>
                    <a:lnTo>
                      <a:pt x="15" y="155"/>
                    </a:lnTo>
                    <a:lnTo>
                      <a:pt x="15" y="155"/>
                    </a:lnTo>
                    <a:lnTo>
                      <a:pt x="4" y="160"/>
                    </a:lnTo>
                    <a:lnTo>
                      <a:pt x="1" y="163"/>
                    </a:lnTo>
                    <a:lnTo>
                      <a:pt x="0" y="166"/>
                    </a:lnTo>
                    <a:lnTo>
                      <a:pt x="0" y="166"/>
                    </a:lnTo>
                    <a:lnTo>
                      <a:pt x="1" y="171"/>
                    </a:lnTo>
                    <a:lnTo>
                      <a:pt x="3" y="174"/>
                    </a:lnTo>
                    <a:lnTo>
                      <a:pt x="8" y="178"/>
                    </a:lnTo>
                    <a:lnTo>
                      <a:pt x="12" y="179"/>
                    </a:lnTo>
                    <a:lnTo>
                      <a:pt x="22" y="182"/>
                    </a:lnTo>
                    <a:lnTo>
                      <a:pt x="30" y="185"/>
                    </a:lnTo>
                    <a:lnTo>
                      <a:pt x="30" y="185"/>
                    </a:lnTo>
                    <a:lnTo>
                      <a:pt x="34" y="189"/>
                    </a:lnTo>
                    <a:lnTo>
                      <a:pt x="38" y="195"/>
                    </a:lnTo>
                    <a:lnTo>
                      <a:pt x="45" y="209"/>
                    </a:lnTo>
                    <a:lnTo>
                      <a:pt x="48" y="214"/>
                    </a:lnTo>
                    <a:lnTo>
                      <a:pt x="53" y="220"/>
                    </a:lnTo>
                    <a:lnTo>
                      <a:pt x="58" y="224"/>
                    </a:lnTo>
                    <a:lnTo>
                      <a:pt x="62" y="225"/>
                    </a:lnTo>
                    <a:lnTo>
                      <a:pt x="66" y="225"/>
                    </a:lnTo>
                    <a:lnTo>
                      <a:pt x="66" y="225"/>
                    </a:lnTo>
                    <a:lnTo>
                      <a:pt x="76" y="224"/>
                    </a:lnTo>
                    <a:lnTo>
                      <a:pt x="84" y="220"/>
                    </a:lnTo>
                    <a:lnTo>
                      <a:pt x="91" y="216"/>
                    </a:lnTo>
                    <a:lnTo>
                      <a:pt x="96" y="211"/>
                    </a:lnTo>
                    <a:lnTo>
                      <a:pt x="108" y="200"/>
                    </a:lnTo>
                    <a:lnTo>
                      <a:pt x="114" y="195"/>
                    </a:lnTo>
                    <a:lnTo>
                      <a:pt x="122" y="191"/>
                    </a:lnTo>
                    <a:lnTo>
                      <a:pt x="122" y="191"/>
                    </a:lnTo>
                    <a:lnTo>
                      <a:pt x="137" y="189"/>
                    </a:lnTo>
                    <a:lnTo>
                      <a:pt x="146" y="187"/>
                    </a:lnTo>
                    <a:lnTo>
                      <a:pt x="154" y="183"/>
                    </a:lnTo>
                    <a:lnTo>
                      <a:pt x="163" y="180"/>
                    </a:lnTo>
                    <a:lnTo>
                      <a:pt x="170" y="175"/>
                    </a:lnTo>
                    <a:lnTo>
                      <a:pt x="172" y="173"/>
                    </a:lnTo>
                    <a:lnTo>
                      <a:pt x="175" y="170"/>
                    </a:lnTo>
                    <a:lnTo>
                      <a:pt x="176" y="166"/>
                    </a:lnTo>
                    <a:lnTo>
                      <a:pt x="176" y="163"/>
                    </a:lnTo>
                    <a:lnTo>
                      <a:pt x="176" y="163"/>
                    </a:lnTo>
                    <a:lnTo>
                      <a:pt x="175" y="157"/>
                    </a:lnTo>
                    <a:lnTo>
                      <a:pt x="172" y="153"/>
                    </a:lnTo>
                    <a:lnTo>
                      <a:pt x="163" y="145"/>
                    </a:lnTo>
                    <a:lnTo>
                      <a:pt x="158" y="141"/>
                    </a:lnTo>
                    <a:lnTo>
                      <a:pt x="155" y="137"/>
                    </a:lnTo>
                    <a:lnTo>
                      <a:pt x="152" y="132"/>
                    </a:lnTo>
                    <a:lnTo>
                      <a:pt x="150" y="125"/>
                    </a:lnTo>
                    <a:lnTo>
                      <a:pt x="150" y="125"/>
                    </a:lnTo>
                    <a:lnTo>
                      <a:pt x="152" y="120"/>
                    </a:lnTo>
                    <a:lnTo>
                      <a:pt x="155" y="116"/>
                    </a:lnTo>
                    <a:lnTo>
                      <a:pt x="163" y="107"/>
                    </a:lnTo>
                    <a:lnTo>
                      <a:pt x="168" y="104"/>
                    </a:lnTo>
                    <a:lnTo>
                      <a:pt x="172" y="98"/>
                    </a:lnTo>
                    <a:lnTo>
                      <a:pt x="175" y="92"/>
                    </a:lnTo>
                    <a:lnTo>
                      <a:pt x="176" y="86"/>
                    </a:lnTo>
                    <a:lnTo>
                      <a:pt x="176" y="86"/>
                    </a:lnTo>
                    <a:lnTo>
                      <a:pt x="176" y="79"/>
                    </a:lnTo>
                    <a:lnTo>
                      <a:pt x="173" y="73"/>
                    </a:lnTo>
                    <a:lnTo>
                      <a:pt x="171" y="67"/>
                    </a:lnTo>
                    <a:lnTo>
                      <a:pt x="167" y="64"/>
                    </a:lnTo>
                    <a:lnTo>
                      <a:pt x="162" y="60"/>
                    </a:lnTo>
                    <a:lnTo>
                      <a:pt x="157" y="58"/>
                    </a:lnTo>
                    <a:lnTo>
                      <a:pt x="153" y="57"/>
                    </a:lnTo>
                    <a:lnTo>
                      <a:pt x="147" y="56"/>
                    </a:lnTo>
                    <a:lnTo>
                      <a:pt x="147" y="56"/>
                    </a:lnTo>
                    <a:lnTo>
                      <a:pt x="147" y="5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4" name="Freeform 9"/>
              <p:cNvSpPr>
                <a:spLocks noChangeAspect="1"/>
              </p:cNvSpPr>
              <p:nvPr/>
            </p:nvSpPr>
            <p:spPr bwMode="auto">
              <a:xfrm>
                <a:off x="4469277" y="2101946"/>
                <a:ext cx="163266" cy="158640"/>
              </a:xfrm>
              <a:custGeom>
                <a:avLst/>
                <a:gdLst/>
                <a:ahLst/>
                <a:cxnLst>
                  <a:cxn ang="0">
                    <a:pos x="114" y="0"/>
                  </a:cxn>
                  <a:cxn ang="0">
                    <a:pos x="77" y="14"/>
                  </a:cxn>
                  <a:cxn ang="0">
                    <a:pos x="52" y="25"/>
                  </a:cxn>
                  <a:cxn ang="0">
                    <a:pos x="40" y="34"/>
                  </a:cxn>
                  <a:cxn ang="0">
                    <a:pos x="37" y="37"/>
                  </a:cxn>
                  <a:cxn ang="0">
                    <a:pos x="35" y="59"/>
                  </a:cxn>
                  <a:cxn ang="0">
                    <a:pos x="30" y="74"/>
                  </a:cxn>
                  <a:cxn ang="0">
                    <a:pos x="28" y="78"/>
                  </a:cxn>
                  <a:cxn ang="0">
                    <a:pos x="14" y="91"/>
                  </a:cxn>
                  <a:cxn ang="0">
                    <a:pos x="2" y="102"/>
                  </a:cxn>
                  <a:cxn ang="0">
                    <a:pos x="0" y="107"/>
                  </a:cxn>
                  <a:cxn ang="0">
                    <a:pos x="3" y="113"/>
                  </a:cxn>
                  <a:cxn ang="0">
                    <a:pos x="12" y="122"/>
                  </a:cxn>
                  <a:cxn ang="0">
                    <a:pos x="26" y="129"/>
                  </a:cxn>
                  <a:cxn ang="0">
                    <a:pos x="36" y="140"/>
                  </a:cxn>
                  <a:cxn ang="0">
                    <a:pos x="37" y="147"/>
                  </a:cxn>
                  <a:cxn ang="0">
                    <a:pos x="38" y="155"/>
                  </a:cxn>
                  <a:cxn ang="0">
                    <a:pos x="42" y="169"/>
                  </a:cxn>
                  <a:cxn ang="0">
                    <a:pos x="50" y="181"/>
                  </a:cxn>
                  <a:cxn ang="0">
                    <a:pos x="60" y="187"/>
                  </a:cxn>
                  <a:cxn ang="0">
                    <a:pos x="67" y="187"/>
                  </a:cxn>
                  <a:cxn ang="0">
                    <a:pos x="80" y="190"/>
                  </a:cxn>
                  <a:cxn ang="0">
                    <a:pos x="103" y="200"/>
                  </a:cxn>
                  <a:cxn ang="0">
                    <a:pos x="124" y="215"/>
                  </a:cxn>
                  <a:cxn ang="0">
                    <a:pos x="142" y="224"/>
                  </a:cxn>
                  <a:cxn ang="0">
                    <a:pos x="155" y="228"/>
                  </a:cxn>
                  <a:cxn ang="0">
                    <a:pos x="163" y="228"/>
                  </a:cxn>
                  <a:cxn ang="0">
                    <a:pos x="180" y="225"/>
                  </a:cxn>
                  <a:cxn ang="0">
                    <a:pos x="194" y="220"/>
                  </a:cxn>
                  <a:cxn ang="0">
                    <a:pos x="203" y="208"/>
                  </a:cxn>
                  <a:cxn ang="0">
                    <a:pos x="206" y="191"/>
                  </a:cxn>
                  <a:cxn ang="0">
                    <a:pos x="205" y="184"/>
                  </a:cxn>
                  <a:cxn ang="0">
                    <a:pos x="201" y="173"/>
                  </a:cxn>
                  <a:cxn ang="0">
                    <a:pos x="191" y="159"/>
                  </a:cxn>
                  <a:cxn ang="0">
                    <a:pos x="188" y="147"/>
                  </a:cxn>
                  <a:cxn ang="0">
                    <a:pos x="189" y="143"/>
                  </a:cxn>
                  <a:cxn ang="0">
                    <a:pos x="195" y="129"/>
                  </a:cxn>
                  <a:cxn ang="0">
                    <a:pos x="195" y="55"/>
                  </a:cxn>
                  <a:cxn ang="0">
                    <a:pos x="195" y="47"/>
                  </a:cxn>
                  <a:cxn ang="0">
                    <a:pos x="190" y="32"/>
                  </a:cxn>
                  <a:cxn ang="0">
                    <a:pos x="183" y="19"/>
                  </a:cxn>
                  <a:cxn ang="0">
                    <a:pos x="173" y="13"/>
                  </a:cxn>
                  <a:cxn ang="0">
                    <a:pos x="166" y="11"/>
                  </a:cxn>
                  <a:cxn ang="0">
                    <a:pos x="160" y="14"/>
                  </a:cxn>
                  <a:cxn ang="0">
                    <a:pos x="158" y="18"/>
                  </a:cxn>
                  <a:cxn ang="0">
                    <a:pos x="159" y="30"/>
                  </a:cxn>
                  <a:cxn ang="0">
                    <a:pos x="152" y="44"/>
                  </a:cxn>
                  <a:cxn ang="0">
                    <a:pos x="137" y="67"/>
                  </a:cxn>
                  <a:cxn ang="0">
                    <a:pos x="129" y="74"/>
                  </a:cxn>
                  <a:cxn ang="0">
                    <a:pos x="125" y="64"/>
                  </a:cxn>
                  <a:cxn ang="0">
                    <a:pos x="121" y="55"/>
                  </a:cxn>
                  <a:cxn ang="0">
                    <a:pos x="122" y="51"/>
                  </a:cxn>
                  <a:cxn ang="0">
                    <a:pos x="129" y="36"/>
                  </a:cxn>
                  <a:cxn ang="0">
                    <a:pos x="136" y="21"/>
                  </a:cxn>
                  <a:cxn ang="0">
                    <a:pos x="136" y="15"/>
                  </a:cxn>
                  <a:cxn ang="0">
                    <a:pos x="135" y="5"/>
                  </a:cxn>
                  <a:cxn ang="0">
                    <a:pos x="132" y="1"/>
                  </a:cxn>
                  <a:cxn ang="0">
                    <a:pos x="125" y="0"/>
                  </a:cxn>
                  <a:cxn ang="0">
                    <a:pos x="114" y="0"/>
                  </a:cxn>
                </a:cxnLst>
                <a:rect l="0" t="0" r="r" b="b"/>
                <a:pathLst>
                  <a:path w="206" h="228">
                    <a:moveTo>
                      <a:pt x="114" y="0"/>
                    </a:moveTo>
                    <a:lnTo>
                      <a:pt x="114" y="0"/>
                    </a:lnTo>
                    <a:lnTo>
                      <a:pt x="102" y="3"/>
                    </a:lnTo>
                    <a:lnTo>
                      <a:pt x="77" y="14"/>
                    </a:lnTo>
                    <a:lnTo>
                      <a:pt x="64" y="19"/>
                    </a:lnTo>
                    <a:lnTo>
                      <a:pt x="52" y="25"/>
                    </a:lnTo>
                    <a:lnTo>
                      <a:pt x="43" y="31"/>
                    </a:lnTo>
                    <a:lnTo>
                      <a:pt x="40" y="34"/>
                    </a:lnTo>
                    <a:lnTo>
                      <a:pt x="37" y="37"/>
                    </a:lnTo>
                    <a:lnTo>
                      <a:pt x="37" y="37"/>
                    </a:lnTo>
                    <a:lnTo>
                      <a:pt x="36" y="49"/>
                    </a:lnTo>
                    <a:lnTo>
                      <a:pt x="35" y="59"/>
                    </a:lnTo>
                    <a:lnTo>
                      <a:pt x="34" y="65"/>
                    </a:lnTo>
                    <a:lnTo>
                      <a:pt x="30" y="74"/>
                    </a:lnTo>
                    <a:lnTo>
                      <a:pt x="30" y="74"/>
                    </a:lnTo>
                    <a:lnTo>
                      <a:pt x="28" y="78"/>
                    </a:lnTo>
                    <a:lnTo>
                      <a:pt x="23" y="82"/>
                    </a:lnTo>
                    <a:lnTo>
                      <a:pt x="14" y="91"/>
                    </a:lnTo>
                    <a:lnTo>
                      <a:pt x="5" y="99"/>
                    </a:lnTo>
                    <a:lnTo>
                      <a:pt x="2" y="102"/>
                    </a:lnTo>
                    <a:lnTo>
                      <a:pt x="0" y="107"/>
                    </a:lnTo>
                    <a:lnTo>
                      <a:pt x="0" y="107"/>
                    </a:lnTo>
                    <a:lnTo>
                      <a:pt x="0" y="110"/>
                    </a:lnTo>
                    <a:lnTo>
                      <a:pt x="3" y="113"/>
                    </a:lnTo>
                    <a:lnTo>
                      <a:pt x="6" y="117"/>
                    </a:lnTo>
                    <a:lnTo>
                      <a:pt x="12" y="122"/>
                    </a:lnTo>
                    <a:lnTo>
                      <a:pt x="19" y="125"/>
                    </a:lnTo>
                    <a:lnTo>
                      <a:pt x="26" y="129"/>
                    </a:lnTo>
                    <a:lnTo>
                      <a:pt x="31" y="133"/>
                    </a:lnTo>
                    <a:lnTo>
                      <a:pt x="36" y="140"/>
                    </a:lnTo>
                    <a:lnTo>
                      <a:pt x="37" y="144"/>
                    </a:lnTo>
                    <a:lnTo>
                      <a:pt x="37" y="147"/>
                    </a:lnTo>
                    <a:lnTo>
                      <a:pt x="37" y="147"/>
                    </a:lnTo>
                    <a:lnTo>
                      <a:pt x="38" y="155"/>
                    </a:lnTo>
                    <a:lnTo>
                      <a:pt x="40" y="162"/>
                    </a:lnTo>
                    <a:lnTo>
                      <a:pt x="42" y="169"/>
                    </a:lnTo>
                    <a:lnTo>
                      <a:pt x="45" y="176"/>
                    </a:lnTo>
                    <a:lnTo>
                      <a:pt x="50" y="181"/>
                    </a:lnTo>
                    <a:lnTo>
                      <a:pt x="54" y="184"/>
                    </a:lnTo>
                    <a:lnTo>
                      <a:pt x="60" y="187"/>
                    </a:lnTo>
                    <a:lnTo>
                      <a:pt x="67" y="187"/>
                    </a:lnTo>
                    <a:lnTo>
                      <a:pt x="67" y="187"/>
                    </a:lnTo>
                    <a:lnTo>
                      <a:pt x="74" y="189"/>
                    </a:lnTo>
                    <a:lnTo>
                      <a:pt x="80" y="190"/>
                    </a:lnTo>
                    <a:lnTo>
                      <a:pt x="91" y="194"/>
                    </a:lnTo>
                    <a:lnTo>
                      <a:pt x="103" y="200"/>
                    </a:lnTo>
                    <a:lnTo>
                      <a:pt x="113" y="208"/>
                    </a:lnTo>
                    <a:lnTo>
                      <a:pt x="124" y="215"/>
                    </a:lnTo>
                    <a:lnTo>
                      <a:pt x="135" y="222"/>
                    </a:lnTo>
                    <a:lnTo>
                      <a:pt x="142" y="224"/>
                    </a:lnTo>
                    <a:lnTo>
                      <a:pt x="148" y="225"/>
                    </a:lnTo>
                    <a:lnTo>
                      <a:pt x="155" y="228"/>
                    </a:lnTo>
                    <a:lnTo>
                      <a:pt x="163" y="228"/>
                    </a:lnTo>
                    <a:lnTo>
                      <a:pt x="163" y="228"/>
                    </a:lnTo>
                    <a:lnTo>
                      <a:pt x="172" y="228"/>
                    </a:lnTo>
                    <a:lnTo>
                      <a:pt x="180" y="225"/>
                    </a:lnTo>
                    <a:lnTo>
                      <a:pt x="188" y="223"/>
                    </a:lnTo>
                    <a:lnTo>
                      <a:pt x="194" y="220"/>
                    </a:lnTo>
                    <a:lnTo>
                      <a:pt x="199" y="214"/>
                    </a:lnTo>
                    <a:lnTo>
                      <a:pt x="203" y="208"/>
                    </a:lnTo>
                    <a:lnTo>
                      <a:pt x="205" y="200"/>
                    </a:lnTo>
                    <a:lnTo>
                      <a:pt x="206" y="191"/>
                    </a:lnTo>
                    <a:lnTo>
                      <a:pt x="206" y="191"/>
                    </a:lnTo>
                    <a:lnTo>
                      <a:pt x="205" y="184"/>
                    </a:lnTo>
                    <a:lnTo>
                      <a:pt x="204" y="177"/>
                    </a:lnTo>
                    <a:lnTo>
                      <a:pt x="201" y="173"/>
                    </a:lnTo>
                    <a:lnTo>
                      <a:pt x="197" y="168"/>
                    </a:lnTo>
                    <a:lnTo>
                      <a:pt x="191" y="159"/>
                    </a:lnTo>
                    <a:lnTo>
                      <a:pt x="189" y="153"/>
                    </a:lnTo>
                    <a:lnTo>
                      <a:pt x="188" y="147"/>
                    </a:lnTo>
                    <a:lnTo>
                      <a:pt x="188" y="147"/>
                    </a:lnTo>
                    <a:lnTo>
                      <a:pt x="189" y="143"/>
                    </a:lnTo>
                    <a:lnTo>
                      <a:pt x="191" y="137"/>
                    </a:lnTo>
                    <a:lnTo>
                      <a:pt x="195" y="129"/>
                    </a:lnTo>
                    <a:lnTo>
                      <a:pt x="195" y="129"/>
                    </a:lnTo>
                    <a:lnTo>
                      <a:pt x="195" y="55"/>
                    </a:lnTo>
                    <a:lnTo>
                      <a:pt x="195" y="55"/>
                    </a:lnTo>
                    <a:lnTo>
                      <a:pt x="195" y="47"/>
                    </a:lnTo>
                    <a:lnTo>
                      <a:pt x="194" y="39"/>
                    </a:lnTo>
                    <a:lnTo>
                      <a:pt x="190" y="32"/>
                    </a:lnTo>
                    <a:lnTo>
                      <a:pt x="188" y="25"/>
                    </a:lnTo>
                    <a:lnTo>
                      <a:pt x="183" y="19"/>
                    </a:lnTo>
                    <a:lnTo>
                      <a:pt x="179" y="15"/>
                    </a:lnTo>
                    <a:lnTo>
                      <a:pt x="173" y="13"/>
                    </a:lnTo>
                    <a:lnTo>
                      <a:pt x="166" y="11"/>
                    </a:lnTo>
                    <a:lnTo>
                      <a:pt x="166" y="11"/>
                    </a:lnTo>
                    <a:lnTo>
                      <a:pt x="163" y="11"/>
                    </a:lnTo>
                    <a:lnTo>
                      <a:pt x="160" y="14"/>
                    </a:lnTo>
                    <a:lnTo>
                      <a:pt x="159" y="15"/>
                    </a:lnTo>
                    <a:lnTo>
                      <a:pt x="158" y="18"/>
                    </a:lnTo>
                    <a:lnTo>
                      <a:pt x="158" y="24"/>
                    </a:lnTo>
                    <a:lnTo>
                      <a:pt x="159" y="30"/>
                    </a:lnTo>
                    <a:lnTo>
                      <a:pt x="159" y="30"/>
                    </a:lnTo>
                    <a:lnTo>
                      <a:pt x="152" y="44"/>
                    </a:lnTo>
                    <a:lnTo>
                      <a:pt x="145" y="56"/>
                    </a:lnTo>
                    <a:lnTo>
                      <a:pt x="137" y="67"/>
                    </a:lnTo>
                    <a:lnTo>
                      <a:pt x="134" y="70"/>
                    </a:lnTo>
                    <a:lnTo>
                      <a:pt x="129" y="74"/>
                    </a:lnTo>
                    <a:lnTo>
                      <a:pt x="129" y="74"/>
                    </a:lnTo>
                    <a:lnTo>
                      <a:pt x="125" y="64"/>
                    </a:lnTo>
                    <a:lnTo>
                      <a:pt x="122" y="60"/>
                    </a:lnTo>
                    <a:lnTo>
                      <a:pt x="121" y="55"/>
                    </a:lnTo>
                    <a:lnTo>
                      <a:pt x="121" y="55"/>
                    </a:lnTo>
                    <a:lnTo>
                      <a:pt x="122" y="51"/>
                    </a:lnTo>
                    <a:lnTo>
                      <a:pt x="124" y="45"/>
                    </a:lnTo>
                    <a:lnTo>
                      <a:pt x="129" y="36"/>
                    </a:lnTo>
                    <a:lnTo>
                      <a:pt x="134" y="25"/>
                    </a:lnTo>
                    <a:lnTo>
                      <a:pt x="136" y="21"/>
                    </a:lnTo>
                    <a:lnTo>
                      <a:pt x="136" y="15"/>
                    </a:lnTo>
                    <a:lnTo>
                      <a:pt x="136" y="15"/>
                    </a:lnTo>
                    <a:lnTo>
                      <a:pt x="136" y="9"/>
                    </a:lnTo>
                    <a:lnTo>
                      <a:pt x="135" y="5"/>
                    </a:lnTo>
                    <a:lnTo>
                      <a:pt x="134" y="2"/>
                    </a:lnTo>
                    <a:lnTo>
                      <a:pt x="132" y="1"/>
                    </a:lnTo>
                    <a:lnTo>
                      <a:pt x="128" y="0"/>
                    </a:lnTo>
                    <a:lnTo>
                      <a:pt x="125" y="0"/>
                    </a:lnTo>
                    <a:lnTo>
                      <a:pt x="114" y="0"/>
                    </a:lnTo>
                    <a:lnTo>
                      <a:pt x="114" y="0"/>
                    </a:lnTo>
                    <a:lnTo>
                      <a:pt x="114"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5" name="Freeform 10"/>
              <p:cNvSpPr>
                <a:spLocks noChangeAspect="1"/>
              </p:cNvSpPr>
              <p:nvPr/>
            </p:nvSpPr>
            <p:spPr bwMode="auto">
              <a:xfrm>
                <a:off x="4640469" y="2177092"/>
                <a:ext cx="139489" cy="179514"/>
              </a:xfrm>
              <a:custGeom>
                <a:avLst/>
                <a:gdLst/>
                <a:ahLst/>
                <a:cxnLst>
                  <a:cxn ang="0">
                    <a:pos x="80" y="25"/>
                  </a:cxn>
                  <a:cxn ang="0">
                    <a:pos x="80" y="14"/>
                  </a:cxn>
                  <a:cxn ang="0">
                    <a:pos x="76" y="5"/>
                  </a:cxn>
                  <a:cxn ang="0">
                    <a:pos x="65" y="0"/>
                  </a:cxn>
                  <a:cxn ang="0">
                    <a:pos x="63" y="1"/>
                  </a:cxn>
                  <a:cxn ang="0">
                    <a:pos x="50" y="15"/>
                  </a:cxn>
                  <a:cxn ang="0">
                    <a:pos x="36" y="37"/>
                  </a:cxn>
                  <a:cxn ang="0">
                    <a:pos x="36" y="74"/>
                  </a:cxn>
                  <a:cxn ang="0">
                    <a:pos x="36" y="74"/>
                  </a:cxn>
                  <a:cxn ang="0">
                    <a:pos x="22" y="145"/>
                  </a:cxn>
                  <a:cxn ang="0">
                    <a:pos x="14" y="164"/>
                  </a:cxn>
                  <a:cxn ang="0">
                    <a:pos x="14" y="198"/>
                  </a:cxn>
                  <a:cxn ang="0">
                    <a:pos x="14" y="198"/>
                  </a:cxn>
                  <a:cxn ang="0">
                    <a:pos x="9" y="207"/>
                  </a:cxn>
                  <a:cxn ang="0">
                    <a:pos x="1" y="232"/>
                  </a:cxn>
                  <a:cxn ang="0">
                    <a:pos x="0" y="243"/>
                  </a:cxn>
                  <a:cxn ang="0">
                    <a:pos x="1" y="250"/>
                  </a:cxn>
                  <a:cxn ang="0">
                    <a:pos x="9" y="257"/>
                  </a:cxn>
                  <a:cxn ang="0">
                    <a:pos x="14" y="258"/>
                  </a:cxn>
                  <a:cxn ang="0">
                    <a:pos x="24" y="254"/>
                  </a:cxn>
                  <a:cxn ang="0">
                    <a:pos x="32" y="248"/>
                  </a:cxn>
                  <a:cxn ang="0">
                    <a:pos x="44" y="235"/>
                  </a:cxn>
                  <a:cxn ang="0">
                    <a:pos x="59" y="222"/>
                  </a:cxn>
                  <a:cxn ang="0">
                    <a:pos x="76" y="213"/>
                  </a:cxn>
                  <a:cxn ang="0">
                    <a:pos x="114" y="198"/>
                  </a:cxn>
                  <a:cxn ang="0">
                    <a:pos x="125" y="193"/>
                  </a:cxn>
                  <a:cxn ang="0">
                    <a:pos x="146" y="181"/>
                  </a:cxn>
                  <a:cxn ang="0">
                    <a:pos x="164" y="162"/>
                  </a:cxn>
                  <a:cxn ang="0">
                    <a:pos x="172" y="146"/>
                  </a:cxn>
                  <a:cxn ang="0">
                    <a:pos x="176" y="132"/>
                  </a:cxn>
                  <a:cxn ang="0">
                    <a:pos x="176" y="125"/>
                  </a:cxn>
                  <a:cxn ang="0">
                    <a:pos x="174" y="114"/>
                  </a:cxn>
                  <a:cxn ang="0">
                    <a:pos x="161" y="89"/>
                  </a:cxn>
                  <a:cxn ang="0">
                    <a:pos x="141" y="66"/>
                  </a:cxn>
                  <a:cxn ang="0">
                    <a:pos x="122" y="49"/>
                  </a:cxn>
                  <a:cxn ang="0">
                    <a:pos x="114" y="47"/>
                  </a:cxn>
                  <a:cxn ang="0">
                    <a:pos x="105" y="48"/>
                  </a:cxn>
                  <a:cxn ang="0">
                    <a:pos x="92" y="55"/>
                  </a:cxn>
                  <a:cxn ang="0">
                    <a:pos x="84" y="68"/>
                  </a:cxn>
                  <a:cxn ang="0">
                    <a:pos x="80" y="83"/>
                  </a:cxn>
                  <a:cxn ang="0">
                    <a:pos x="80" y="91"/>
                  </a:cxn>
                  <a:cxn ang="0">
                    <a:pos x="70" y="70"/>
                  </a:cxn>
                  <a:cxn ang="0">
                    <a:pos x="80" y="25"/>
                  </a:cxn>
                  <a:cxn ang="0">
                    <a:pos x="80" y="25"/>
                  </a:cxn>
                </a:cxnLst>
                <a:rect l="0" t="0" r="r" b="b"/>
                <a:pathLst>
                  <a:path w="176" h="258">
                    <a:moveTo>
                      <a:pt x="80" y="25"/>
                    </a:moveTo>
                    <a:lnTo>
                      <a:pt x="80" y="25"/>
                    </a:lnTo>
                    <a:lnTo>
                      <a:pt x="80" y="14"/>
                    </a:lnTo>
                    <a:lnTo>
                      <a:pt x="80" y="14"/>
                    </a:lnTo>
                    <a:lnTo>
                      <a:pt x="79" y="9"/>
                    </a:lnTo>
                    <a:lnTo>
                      <a:pt x="76" y="5"/>
                    </a:lnTo>
                    <a:lnTo>
                      <a:pt x="71" y="1"/>
                    </a:lnTo>
                    <a:lnTo>
                      <a:pt x="65" y="0"/>
                    </a:lnTo>
                    <a:lnTo>
                      <a:pt x="65" y="0"/>
                    </a:lnTo>
                    <a:lnTo>
                      <a:pt x="63" y="1"/>
                    </a:lnTo>
                    <a:lnTo>
                      <a:pt x="60" y="5"/>
                    </a:lnTo>
                    <a:lnTo>
                      <a:pt x="50" y="15"/>
                    </a:lnTo>
                    <a:lnTo>
                      <a:pt x="41" y="28"/>
                    </a:lnTo>
                    <a:lnTo>
                      <a:pt x="36" y="37"/>
                    </a:lnTo>
                    <a:lnTo>
                      <a:pt x="36" y="37"/>
                    </a:lnTo>
                    <a:lnTo>
                      <a:pt x="36" y="74"/>
                    </a:lnTo>
                    <a:lnTo>
                      <a:pt x="36" y="74"/>
                    </a:lnTo>
                    <a:lnTo>
                      <a:pt x="36" y="74"/>
                    </a:lnTo>
                    <a:lnTo>
                      <a:pt x="26" y="123"/>
                    </a:lnTo>
                    <a:lnTo>
                      <a:pt x="22" y="145"/>
                    </a:lnTo>
                    <a:lnTo>
                      <a:pt x="18" y="155"/>
                    </a:lnTo>
                    <a:lnTo>
                      <a:pt x="14" y="164"/>
                    </a:lnTo>
                    <a:lnTo>
                      <a:pt x="14" y="164"/>
                    </a:lnTo>
                    <a:lnTo>
                      <a:pt x="14" y="198"/>
                    </a:lnTo>
                    <a:lnTo>
                      <a:pt x="14" y="198"/>
                    </a:lnTo>
                    <a:lnTo>
                      <a:pt x="14" y="198"/>
                    </a:lnTo>
                    <a:lnTo>
                      <a:pt x="11" y="201"/>
                    </a:lnTo>
                    <a:lnTo>
                      <a:pt x="9" y="207"/>
                    </a:lnTo>
                    <a:lnTo>
                      <a:pt x="4" y="219"/>
                    </a:lnTo>
                    <a:lnTo>
                      <a:pt x="1" y="232"/>
                    </a:lnTo>
                    <a:lnTo>
                      <a:pt x="0" y="243"/>
                    </a:lnTo>
                    <a:lnTo>
                      <a:pt x="0" y="243"/>
                    </a:lnTo>
                    <a:lnTo>
                      <a:pt x="0" y="246"/>
                    </a:lnTo>
                    <a:lnTo>
                      <a:pt x="1" y="250"/>
                    </a:lnTo>
                    <a:lnTo>
                      <a:pt x="4" y="254"/>
                    </a:lnTo>
                    <a:lnTo>
                      <a:pt x="9" y="257"/>
                    </a:lnTo>
                    <a:lnTo>
                      <a:pt x="14" y="258"/>
                    </a:lnTo>
                    <a:lnTo>
                      <a:pt x="14" y="258"/>
                    </a:lnTo>
                    <a:lnTo>
                      <a:pt x="19" y="257"/>
                    </a:lnTo>
                    <a:lnTo>
                      <a:pt x="24" y="254"/>
                    </a:lnTo>
                    <a:lnTo>
                      <a:pt x="27" y="252"/>
                    </a:lnTo>
                    <a:lnTo>
                      <a:pt x="32" y="248"/>
                    </a:lnTo>
                    <a:lnTo>
                      <a:pt x="44" y="235"/>
                    </a:lnTo>
                    <a:lnTo>
                      <a:pt x="44" y="235"/>
                    </a:lnTo>
                    <a:lnTo>
                      <a:pt x="50" y="228"/>
                    </a:lnTo>
                    <a:lnTo>
                      <a:pt x="59" y="222"/>
                    </a:lnTo>
                    <a:lnTo>
                      <a:pt x="67" y="217"/>
                    </a:lnTo>
                    <a:lnTo>
                      <a:pt x="76" y="213"/>
                    </a:lnTo>
                    <a:lnTo>
                      <a:pt x="94" y="205"/>
                    </a:lnTo>
                    <a:lnTo>
                      <a:pt x="114" y="198"/>
                    </a:lnTo>
                    <a:lnTo>
                      <a:pt x="114" y="198"/>
                    </a:lnTo>
                    <a:lnTo>
                      <a:pt x="125" y="193"/>
                    </a:lnTo>
                    <a:lnTo>
                      <a:pt x="136" y="187"/>
                    </a:lnTo>
                    <a:lnTo>
                      <a:pt x="146" y="181"/>
                    </a:lnTo>
                    <a:lnTo>
                      <a:pt x="156" y="173"/>
                    </a:lnTo>
                    <a:lnTo>
                      <a:pt x="164" y="162"/>
                    </a:lnTo>
                    <a:lnTo>
                      <a:pt x="170" y="152"/>
                    </a:lnTo>
                    <a:lnTo>
                      <a:pt x="172" y="146"/>
                    </a:lnTo>
                    <a:lnTo>
                      <a:pt x="175" y="139"/>
                    </a:lnTo>
                    <a:lnTo>
                      <a:pt x="176" y="132"/>
                    </a:lnTo>
                    <a:lnTo>
                      <a:pt x="176" y="125"/>
                    </a:lnTo>
                    <a:lnTo>
                      <a:pt x="176" y="125"/>
                    </a:lnTo>
                    <a:lnTo>
                      <a:pt x="176" y="120"/>
                    </a:lnTo>
                    <a:lnTo>
                      <a:pt x="174" y="114"/>
                    </a:lnTo>
                    <a:lnTo>
                      <a:pt x="169" y="102"/>
                    </a:lnTo>
                    <a:lnTo>
                      <a:pt x="161" y="89"/>
                    </a:lnTo>
                    <a:lnTo>
                      <a:pt x="152" y="76"/>
                    </a:lnTo>
                    <a:lnTo>
                      <a:pt x="141" y="66"/>
                    </a:lnTo>
                    <a:lnTo>
                      <a:pt x="131" y="55"/>
                    </a:lnTo>
                    <a:lnTo>
                      <a:pt x="122" y="49"/>
                    </a:lnTo>
                    <a:lnTo>
                      <a:pt x="117" y="48"/>
                    </a:lnTo>
                    <a:lnTo>
                      <a:pt x="114" y="47"/>
                    </a:lnTo>
                    <a:lnTo>
                      <a:pt x="114" y="47"/>
                    </a:lnTo>
                    <a:lnTo>
                      <a:pt x="105" y="48"/>
                    </a:lnTo>
                    <a:lnTo>
                      <a:pt x="98" y="51"/>
                    </a:lnTo>
                    <a:lnTo>
                      <a:pt x="92" y="55"/>
                    </a:lnTo>
                    <a:lnTo>
                      <a:pt x="87" y="61"/>
                    </a:lnTo>
                    <a:lnTo>
                      <a:pt x="84" y="68"/>
                    </a:lnTo>
                    <a:lnTo>
                      <a:pt x="82" y="75"/>
                    </a:lnTo>
                    <a:lnTo>
                      <a:pt x="80" y="83"/>
                    </a:lnTo>
                    <a:lnTo>
                      <a:pt x="80" y="91"/>
                    </a:lnTo>
                    <a:lnTo>
                      <a:pt x="80" y="91"/>
                    </a:lnTo>
                    <a:lnTo>
                      <a:pt x="70" y="91"/>
                    </a:lnTo>
                    <a:lnTo>
                      <a:pt x="70" y="70"/>
                    </a:lnTo>
                    <a:lnTo>
                      <a:pt x="70" y="70"/>
                    </a:lnTo>
                    <a:lnTo>
                      <a:pt x="80" y="25"/>
                    </a:lnTo>
                    <a:lnTo>
                      <a:pt x="80" y="25"/>
                    </a:lnTo>
                    <a:lnTo>
                      <a:pt x="80" y="2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6" name="Freeform 11"/>
              <p:cNvSpPr>
                <a:spLocks noChangeAspect="1"/>
              </p:cNvSpPr>
              <p:nvPr/>
            </p:nvSpPr>
            <p:spPr bwMode="auto">
              <a:xfrm>
                <a:off x="355921" y="4409188"/>
                <a:ext cx="358234" cy="402167"/>
              </a:xfrm>
              <a:custGeom>
                <a:avLst/>
                <a:gdLst/>
                <a:ahLst/>
                <a:cxnLst>
                  <a:cxn ang="0">
                    <a:pos x="434" y="346"/>
                  </a:cxn>
                  <a:cxn ang="0">
                    <a:pos x="422" y="351"/>
                  </a:cxn>
                  <a:cxn ang="0">
                    <a:pos x="406" y="342"/>
                  </a:cxn>
                  <a:cxn ang="0">
                    <a:pos x="393" y="333"/>
                  </a:cxn>
                  <a:cxn ang="0">
                    <a:pos x="368" y="380"/>
                  </a:cxn>
                  <a:cxn ang="0">
                    <a:pos x="365" y="396"/>
                  </a:cxn>
                  <a:cxn ang="0">
                    <a:pos x="376" y="404"/>
                  </a:cxn>
                  <a:cxn ang="0">
                    <a:pos x="382" y="414"/>
                  </a:cxn>
                  <a:cxn ang="0">
                    <a:pos x="363" y="490"/>
                  </a:cxn>
                  <a:cxn ang="0">
                    <a:pos x="344" y="511"/>
                  </a:cxn>
                  <a:cxn ang="0">
                    <a:pos x="342" y="535"/>
                  </a:cxn>
                  <a:cxn ang="0">
                    <a:pos x="332" y="551"/>
                  </a:cxn>
                  <a:cxn ang="0">
                    <a:pos x="310" y="566"/>
                  </a:cxn>
                  <a:cxn ang="0">
                    <a:pos x="287" y="567"/>
                  </a:cxn>
                  <a:cxn ang="0">
                    <a:pos x="270" y="556"/>
                  </a:cxn>
                  <a:cxn ang="0">
                    <a:pos x="259" y="534"/>
                  </a:cxn>
                  <a:cxn ang="0">
                    <a:pos x="238" y="527"/>
                  </a:cxn>
                  <a:cxn ang="0">
                    <a:pos x="205" y="536"/>
                  </a:cxn>
                  <a:cxn ang="0">
                    <a:pos x="172" y="564"/>
                  </a:cxn>
                  <a:cxn ang="0">
                    <a:pos x="169" y="579"/>
                  </a:cxn>
                  <a:cxn ang="0">
                    <a:pos x="145" y="557"/>
                  </a:cxn>
                  <a:cxn ang="0">
                    <a:pos x="114" y="529"/>
                  </a:cxn>
                  <a:cxn ang="0">
                    <a:pos x="102" y="535"/>
                  </a:cxn>
                  <a:cxn ang="0">
                    <a:pos x="88" y="488"/>
                  </a:cxn>
                  <a:cxn ang="0">
                    <a:pos x="80" y="395"/>
                  </a:cxn>
                  <a:cxn ang="0">
                    <a:pos x="70" y="344"/>
                  </a:cxn>
                  <a:cxn ang="0">
                    <a:pos x="48" y="317"/>
                  </a:cxn>
                  <a:cxn ang="0">
                    <a:pos x="43" y="297"/>
                  </a:cxn>
                  <a:cxn ang="0">
                    <a:pos x="52" y="281"/>
                  </a:cxn>
                  <a:cxn ang="0">
                    <a:pos x="40" y="243"/>
                  </a:cxn>
                  <a:cxn ang="0">
                    <a:pos x="18" y="183"/>
                  </a:cxn>
                  <a:cxn ang="0">
                    <a:pos x="17" y="138"/>
                  </a:cxn>
                  <a:cxn ang="0">
                    <a:pos x="6" y="94"/>
                  </a:cxn>
                  <a:cxn ang="0">
                    <a:pos x="32" y="65"/>
                  </a:cxn>
                  <a:cxn ang="0">
                    <a:pos x="83" y="132"/>
                  </a:cxn>
                  <a:cxn ang="0">
                    <a:pos x="103" y="139"/>
                  </a:cxn>
                  <a:cxn ang="0">
                    <a:pos x="121" y="130"/>
                  </a:cxn>
                  <a:cxn ang="0">
                    <a:pos x="139" y="102"/>
                  </a:cxn>
                  <a:cxn ang="0">
                    <a:pos x="163" y="89"/>
                  </a:cxn>
                  <a:cxn ang="0">
                    <a:pos x="214" y="105"/>
                  </a:cxn>
                  <a:cxn ang="0">
                    <a:pos x="246" y="114"/>
                  </a:cxn>
                  <a:cxn ang="0">
                    <a:pos x="251" y="92"/>
                  </a:cxn>
                  <a:cxn ang="0">
                    <a:pos x="234" y="58"/>
                  </a:cxn>
                  <a:cxn ang="0">
                    <a:pos x="222" y="35"/>
                  </a:cxn>
                  <a:cxn ang="0">
                    <a:pos x="232" y="5"/>
                  </a:cxn>
                  <a:cxn ang="0">
                    <a:pos x="244" y="1"/>
                  </a:cxn>
                  <a:cxn ang="0">
                    <a:pos x="261" y="17"/>
                  </a:cxn>
                  <a:cxn ang="0">
                    <a:pos x="306" y="40"/>
                  </a:cxn>
                  <a:cxn ang="0">
                    <a:pos x="342" y="51"/>
                  </a:cxn>
                  <a:cxn ang="0">
                    <a:pos x="342" y="102"/>
                  </a:cxn>
                  <a:cxn ang="0">
                    <a:pos x="386" y="107"/>
                  </a:cxn>
                  <a:cxn ang="0">
                    <a:pos x="427" y="129"/>
                  </a:cxn>
                  <a:cxn ang="0">
                    <a:pos x="437" y="150"/>
                  </a:cxn>
                  <a:cxn ang="0">
                    <a:pos x="429" y="170"/>
                  </a:cxn>
                  <a:cxn ang="0">
                    <a:pos x="413" y="200"/>
                  </a:cxn>
                  <a:cxn ang="0">
                    <a:pos x="413" y="223"/>
                  </a:cxn>
                  <a:cxn ang="0">
                    <a:pos x="431" y="247"/>
                  </a:cxn>
                  <a:cxn ang="0">
                    <a:pos x="451" y="274"/>
                  </a:cxn>
                  <a:cxn ang="0">
                    <a:pos x="449" y="304"/>
                  </a:cxn>
                  <a:cxn ang="0">
                    <a:pos x="437" y="336"/>
                  </a:cxn>
                </a:cxnLst>
                <a:rect l="0" t="0" r="r" b="b"/>
                <a:pathLst>
                  <a:path w="452" h="579">
                    <a:moveTo>
                      <a:pt x="437" y="336"/>
                    </a:moveTo>
                    <a:lnTo>
                      <a:pt x="437" y="336"/>
                    </a:lnTo>
                    <a:lnTo>
                      <a:pt x="436" y="342"/>
                    </a:lnTo>
                    <a:lnTo>
                      <a:pt x="434" y="346"/>
                    </a:lnTo>
                    <a:lnTo>
                      <a:pt x="429" y="350"/>
                    </a:lnTo>
                    <a:lnTo>
                      <a:pt x="427" y="351"/>
                    </a:lnTo>
                    <a:lnTo>
                      <a:pt x="422" y="351"/>
                    </a:lnTo>
                    <a:lnTo>
                      <a:pt x="422" y="351"/>
                    </a:lnTo>
                    <a:lnTo>
                      <a:pt x="417" y="350"/>
                    </a:lnTo>
                    <a:lnTo>
                      <a:pt x="413" y="349"/>
                    </a:lnTo>
                    <a:lnTo>
                      <a:pt x="409" y="345"/>
                    </a:lnTo>
                    <a:lnTo>
                      <a:pt x="406" y="342"/>
                    </a:lnTo>
                    <a:lnTo>
                      <a:pt x="400" y="336"/>
                    </a:lnTo>
                    <a:lnTo>
                      <a:pt x="397" y="334"/>
                    </a:lnTo>
                    <a:lnTo>
                      <a:pt x="393" y="333"/>
                    </a:lnTo>
                    <a:lnTo>
                      <a:pt x="393" y="333"/>
                    </a:lnTo>
                    <a:lnTo>
                      <a:pt x="391" y="335"/>
                    </a:lnTo>
                    <a:lnTo>
                      <a:pt x="386" y="341"/>
                    </a:lnTo>
                    <a:lnTo>
                      <a:pt x="377" y="360"/>
                    </a:lnTo>
                    <a:lnTo>
                      <a:pt x="368" y="380"/>
                    </a:lnTo>
                    <a:lnTo>
                      <a:pt x="365" y="387"/>
                    </a:lnTo>
                    <a:lnTo>
                      <a:pt x="363" y="391"/>
                    </a:lnTo>
                    <a:lnTo>
                      <a:pt x="363" y="391"/>
                    </a:lnTo>
                    <a:lnTo>
                      <a:pt x="365" y="396"/>
                    </a:lnTo>
                    <a:lnTo>
                      <a:pt x="367" y="399"/>
                    </a:lnTo>
                    <a:lnTo>
                      <a:pt x="369" y="402"/>
                    </a:lnTo>
                    <a:lnTo>
                      <a:pt x="373" y="403"/>
                    </a:lnTo>
                    <a:lnTo>
                      <a:pt x="376" y="404"/>
                    </a:lnTo>
                    <a:lnTo>
                      <a:pt x="379" y="406"/>
                    </a:lnTo>
                    <a:lnTo>
                      <a:pt x="381" y="410"/>
                    </a:lnTo>
                    <a:lnTo>
                      <a:pt x="382" y="414"/>
                    </a:lnTo>
                    <a:lnTo>
                      <a:pt x="382" y="414"/>
                    </a:lnTo>
                    <a:lnTo>
                      <a:pt x="382" y="483"/>
                    </a:lnTo>
                    <a:lnTo>
                      <a:pt x="382" y="483"/>
                    </a:lnTo>
                    <a:lnTo>
                      <a:pt x="371" y="487"/>
                    </a:lnTo>
                    <a:lnTo>
                      <a:pt x="363" y="490"/>
                    </a:lnTo>
                    <a:lnTo>
                      <a:pt x="356" y="494"/>
                    </a:lnTo>
                    <a:lnTo>
                      <a:pt x="351" y="499"/>
                    </a:lnTo>
                    <a:lnTo>
                      <a:pt x="346" y="504"/>
                    </a:lnTo>
                    <a:lnTo>
                      <a:pt x="344" y="511"/>
                    </a:lnTo>
                    <a:lnTo>
                      <a:pt x="342" y="519"/>
                    </a:lnTo>
                    <a:lnTo>
                      <a:pt x="342" y="527"/>
                    </a:lnTo>
                    <a:lnTo>
                      <a:pt x="342" y="527"/>
                    </a:lnTo>
                    <a:lnTo>
                      <a:pt x="342" y="535"/>
                    </a:lnTo>
                    <a:lnTo>
                      <a:pt x="342" y="535"/>
                    </a:lnTo>
                    <a:lnTo>
                      <a:pt x="342" y="535"/>
                    </a:lnTo>
                    <a:lnTo>
                      <a:pt x="337" y="544"/>
                    </a:lnTo>
                    <a:lnTo>
                      <a:pt x="332" y="551"/>
                    </a:lnTo>
                    <a:lnTo>
                      <a:pt x="328" y="557"/>
                    </a:lnTo>
                    <a:lnTo>
                      <a:pt x="323" y="562"/>
                    </a:lnTo>
                    <a:lnTo>
                      <a:pt x="317" y="565"/>
                    </a:lnTo>
                    <a:lnTo>
                      <a:pt x="310" y="566"/>
                    </a:lnTo>
                    <a:lnTo>
                      <a:pt x="302" y="567"/>
                    </a:lnTo>
                    <a:lnTo>
                      <a:pt x="293" y="569"/>
                    </a:lnTo>
                    <a:lnTo>
                      <a:pt x="293" y="569"/>
                    </a:lnTo>
                    <a:lnTo>
                      <a:pt x="287" y="567"/>
                    </a:lnTo>
                    <a:lnTo>
                      <a:pt x="283" y="566"/>
                    </a:lnTo>
                    <a:lnTo>
                      <a:pt x="278" y="564"/>
                    </a:lnTo>
                    <a:lnTo>
                      <a:pt x="275" y="562"/>
                    </a:lnTo>
                    <a:lnTo>
                      <a:pt x="270" y="556"/>
                    </a:lnTo>
                    <a:lnTo>
                      <a:pt x="268" y="548"/>
                    </a:lnTo>
                    <a:lnTo>
                      <a:pt x="264" y="541"/>
                    </a:lnTo>
                    <a:lnTo>
                      <a:pt x="262" y="537"/>
                    </a:lnTo>
                    <a:lnTo>
                      <a:pt x="259" y="534"/>
                    </a:lnTo>
                    <a:lnTo>
                      <a:pt x="255" y="532"/>
                    </a:lnTo>
                    <a:lnTo>
                      <a:pt x="251" y="529"/>
                    </a:lnTo>
                    <a:lnTo>
                      <a:pt x="245" y="528"/>
                    </a:lnTo>
                    <a:lnTo>
                      <a:pt x="238" y="527"/>
                    </a:lnTo>
                    <a:lnTo>
                      <a:pt x="238" y="527"/>
                    </a:lnTo>
                    <a:lnTo>
                      <a:pt x="228" y="528"/>
                    </a:lnTo>
                    <a:lnTo>
                      <a:pt x="216" y="532"/>
                    </a:lnTo>
                    <a:lnTo>
                      <a:pt x="205" y="536"/>
                    </a:lnTo>
                    <a:lnTo>
                      <a:pt x="193" y="542"/>
                    </a:lnTo>
                    <a:lnTo>
                      <a:pt x="184" y="550"/>
                    </a:lnTo>
                    <a:lnTo>
                      <a:pt x="176" y="559"/>
                    </a:lnTo>
                    <a:lnTo>
                      <a:pt x="172" y="564"/>
                    </a:lnTo>
                    <a:lnTo>
                      <a:pt x="170" y="569"/>
                    </a:lnTo>
                    <a:lnTo>
                      <a:pt x="169" y="574"/>
                    </a:lnTo>
                    <a:lnTo>
                      <a:pt x="169" y="579"/>
                    </a:lnTo>
                    <a:lnTo>
                      <a:pt x="169" y="579"/>
                    </a:lnTo>
                    <a:lnTo>
                      <a:pt x="162" y="577"/>
                    </a:lnTo>
                    <a:lnTo>
                      <a:pt x="156" y="572"/>
                    </a:lnTo>
                    <a:lnTo>
                      <a:pt x="150" y="565"/>
                    </a:lnTo>
                    <a:lnTo>
                      <a:pt x="145" y="557"/>
                    </a:lnTo>
                    <a:lnTo>
                      <a:pt x="129" y="535"/>
                    </a:lnTo>
                    <a:lnTo>
                      <a:pt x="129" y="535"/>
                    </a:lnTo>
                    <a:lnTo>
                      <a:pt x="121" y="531"/>
                    </a:lnTo>
                    <a:lnTo>
                      <a:pt x="114" y="529"/>
                    </a:lnTo>
                    <a:lnTo>
                      <a:pt x="111" y="529"/>
                    </a:lnTo>
                    <a:lnTo>
                      <a:pt x="108" y="531"/>
                    </a:lnTo>
                    <a:lnTo>
                      <a:pt x="102" y="535"/>
                    </a:lnTo>
                    <a:lnTo>
                      <a:pt x="102" y="535"/>
                    </a:lnTo>
                    <a:lnTo>
                      <a:pt x="98" y="523"/>
                    </a:lnTo>
                    <a:lnTo>
                      <a:pt x="94" y="510"/>
                    </a:lnTo>
                    <a:lnTo>
                      <a:pt x="88" y="488"/>
                    </a:lnTo>
                    <a:lnTo>
                      <a:pt x="88" y="488"/>
                    </a:lnTo>
                    <a:lnTo>
                      <a:pt x="85" y="466"/>
                    </a:lnTo>
                    <a:lnTo>
                      <a:pt x="83" y="448"/>
                    </a:lnTo>
                    <a:lnTo>
                      <a:pt x="81" y="412"/>
                    </a:lnTo>
                    <a:lnTo>
                      <a:pt x="80" y="395"/>
                    </a:lnTo>
                    <a:lnTo>
                      <a:pt x="79" y="379"/>
                    </a:lnTo>
                    <a:lnTo>
                      <a:pt x="76" y="361"/>
                    </a:lnTo>
                    <a:lnTo>
                      <a:pt x="70" y="344"/>
                    </a:lnTo>
                    <a:lnTo>
                      <a:pt x="70" y="344"/>
                    </a:lnTo>
                    <a:lnTo>
                      <a:pt x="64" y="334"/>
                    </a:lnTo>
                    <a:lnTo>
                      <a:pt x="58" y="326"/>
                    </a:lnTo>
                    <a:lnTo>
                      <a:pt x="53" y="320"/>
                    </a:lnTo>
                    <a:lnTo>
                      <a:pt x="48" y="317"/>
                    </a:lnTo>
                    <a:lnTo>
                      <a:pt x="45" y="313"/>
                    </a:lnTo>
                    <a:lnTo>
                      <a:pt x="42" y="308"/>
                    </a:lnTo>
                    <a:lnTo>
                      <a:pt x="42" y="304"/>
                    </a:lnTo>
                    <a:lnTo>
                      <a:pt x="43" y="297"/>
                    </a:lnTo>
                    <a:lnTo>
                      <a:pt x="43" y="297"/>
                    </a:lnTo>
                    <a:lnTo>
                      <a:pt x="48" y="292"/>
                    </a:lnTo>
                    <a:lnTo>
                      <a:pt x="50" y="287"/>
                    </a:lnTo>
                    <a:lnTo>
                      <a:pt x="52" y="281"/>
                    </a:lnTo>
                    <a:lnTo>
                      <a:pt x="50" y="274"/>
                    </a:lnTo>
                    <a:lnTo>
                      <a:pt x="49" y="267"/>
                    </a:lnTo>
                    <a:lnTo>
                      <a:pt x="47" y="259"/>
                    </a:lnTo>
                    <a:lnTo>
                      <a:pt x="40" y="243"/>
                    </a:lnTo>
                    <a:lnTo>
                      <a:pt x="33" y="226"/>
                    </a:lnTo>
                    <a:lnTo>
                      <a:pt x="25" y="208"/>
                    </a:lnTo>
                    <a:lnTo>
                      <a:pt x="20" y="191"/>
                    </a:lnTo>
                    <a:lnTo>
                      <a:pt x="18" y="183"/>
                    </a:lnTo>
                    <a:lnTo>
                      <a:pt x="18" y="175"/>
                    </a:lnTo>
                    <a:lnTo>
                      <a:pt x="18" y="175"/>
                    </a:lnTo>
                    <a:lnTo>
                      <a:pt x="17" y="151"/>
                    </a:lnTo>
                    <a:lnTo>
                      <a:pt x="17" y="138"/>
                    </a:lnTo>
                    <a:lnTo>
                      <a:pt x="16" y="126"/>
                    </a:lnTo>
                    <a:lnTo>
                      <a:pt x="14" y="114"/>
                    </a:lnTo>
                    <a:lnTo>
                      <a:pt x="10" y="104"/>
                    </a:lnTo>
                    <a:lnTo>
                      <a:pt x="6" y="94"/>
                    </a:lnTo>
                    <a:lnTo>
                      <a:pt x="3" y="90"/>
                    </a:lnTo>
                    <a:lnTo>
                      <a:pt x="0" y="88"/>
                    </a:lnTo>
                    <a:lnTo>
                      <a:pt x="0" y="88"/>
                    </a:lnTo>
                    <a:lnTo>
                      <a:pt x="32" y="65"/>
                    </a:lnTo>
                    <a:lnTo>
                      <a:pt x="77" y="127"/>
                    </a:lnTo>
                    <a:lnTo>
                      <a:pt x="77" y="127"/>
                    </a:lnTo>
                    <a:lnTo>
                      <a:pt x="77" y="127"/>
                    </a:lnTo>
                    <a:lnTo>
                      <a:pt x="83" y="132"/>
                    </a:lnTo>
                    <a:lnTo>
                      <a:pt x="90" y="137"/>
                    </a:lnTo>
                    <a:lnTo>
                      <a:pt x="96" y="139"/>
                    </a:lnTo>
                    <a:lnTo>
                      <a:pt x="100" y="139"/>
                    </a:lnTo>
                    <a:lnTo>
                      <a:pt x="103" y="139"/>
                    </a:lnTo>
                    <a:lnTo>
                      <a:pt x="108" y="138"/>
                    </a:lnTo>
                    <a:lnTo>
                      <a:pt x="113" y="136"/>
                    </a:lnTo>
                    <a:lnTo>
                      <a:pt x="116" y="134"/>
                    </a:lnTo>
                    <a:lnTo>
                      <a:pt x="121" y="130"/>
                    </a:lnTo>
                    <a:lnTo>
                      <a:pt x="125" y="124"/>
                    </a:lnTo>
                    <a:lnTo>
                      <a:pt x="130" y="119"/>
                    </a:lnTo>
                    <a:lnTo>
                      <a:pt x="139" y="102"/>
                    </a:lnTo>
                    <a:lnTo>
                      <a:pt x="139" y="102"/>
                    </a:lnTo>
                    <a:lnTo>
                      <a:pt x="144" y="96"/>
                    </a:lnTo>
                    <a:lnTo>
                      <a:pt x="149" y="92"/>
                    </a:lnTo>
                    <a:lnTo>
                      <a:pt x="155" y="90"/>
                    </a:lnTo>
                    <a:lnTo>
                      <a:pt x="163" y="89"/>
                    </a:lnTo>
                    <a:lnTo>
                      <a:pt x="171" y="90"/>
                    </a:lnTo>
                    <a:lnTo>
                      <a:pt x="179" y="91"/>
                    </a:lnTo>
                    <a:lnTo>
                      <a:pt x="198" y="97"/>
                    </a:lnTo>
                    <a:lnTo>
                      <a:pt x="214" y="105"/>
                    </a:lnTo>
                    <a:lnTo>
                      <a:pt x="229" y="112"/>
                    </a:lnTo>
                    <a:lnTo>
                      <a:pt x="241" y="120"/>
                    </a:lnTo>
                    <a:lnTo>
                      <a:pt x="241" y="120"/>
                    </a:lnTo>
                    <a:lnTo>
                      <a:pt x="246" y="114"/>
                    </a:lnTo>
                    <a:lnTo>
                      <a:pt x="248" y="108"/>
                    </a:lnTo>
                    <a:lnTo>
                      <a:pt x="249" y="102"/>
                    </a:lnTo>
                    <a:lnTo>
                      <a:pt x="251" y="97"/>
                    </a:lnTo>
                    <a:lnTo>
                      <a:pt x="251" y="92"/>
                    </a:lnTo>
                    <a:lnTo>
                      <a:pt x="251" y="86"/>
                    </a:lnTo>
                    <a:lnTo>
                      <a:pt x="247" y="77"/>
                    </a:lnTo>
                    <a:lnTo>
                      <a:pt x="241" y="67"/>
                    </a:lnTo>
                    <a:lnTo>
                      <a:pt x="234" y="58"/>
                    </a:lnTo>
                    <a:lnTo>
                      <a:pt x="216" y="39"/>
                    </a:lnTo>
                    <a:lnTo>
                      <a:pt x="216" y="39"/>
                    </a:lnTo>
                    <a:lnTo>
                      <a:pt x="220" y="38"/>
                    </a:lnTo>
                    <a:lnTo>
                      <a:pt x="222" y="35"/>
                    </a:lnTo>
                    <a:lnTo>
                      <a:pt x="224" y="31"/>
                    </a:lnTo>
                    <a:lnTo>
                      <a:pt x="225" y="28"/>
                    </a:lnTo>
                    <a:lnTo>
                      <a:pt x="230" y="9"/>
                    </a:lnTo>
                    <a:lnTo>
                      <a:pt x="232" y="5"/>
                    </a:lnTo>
                    <a:lnTo>
                      <a:pt x="233" y="2"/>
                    </a:lnTo>
                    <a:lnTo>
                      <a:pt x="236" y="0"/>
                    </a:lnTo>
                    <a:lnTo>
                      <a:pt x="239" y="0"/>
                    </a:lnTo>
                    <a:lnTo>
                      <a:pt x="244" y="1"/>
                    </a:lnTo>
                    <a:lnTo>
                      <a:pt x="248" y="5"/>
                    </a:lnTo>
                    <a:lnTo>
                      <a:pt x="254" y="9"/>
                    </a:lnTo>
                    <a:lnTo>
                      <a:pt x="261" y="17"/>
                    </a:lnTo>
                    <a:lnTo>
                      <a:pt x="261" y="17"/>
                    </a:lnTo>
                    <a:lnTo>
                      <a:pt x="266" y="22"/>
                    </a:lnTo>
                    <a:lnTo>
                      <a:pt x="271" y="25"/>
                    </a:lnTo>
                    <a:lnTo>
                      <a:pt x="286" y="33"/>
                    </a:lnTo>
                    <a:lnTo>
                      <a:pt x="306" y="40"/>
                    </a:lnTo>
                    <a:lnTo>
                      <a:pt x="327" y="46"/>
                    </a:lnTo>
                    <a:lnTo>
                      <a:pt x="327" y="46"/>
                    </a:lnTo>
                    <a:lnTo>
                      <a:pt x="333" y="48"/>
                    </a:lnTo>
                    <a:lnTo>
                      <a:pt x="342" y="51"/>
                    </a:lnTo>
                    <a:lnTo>
                      <a:pt x="342" y="51"/>
                    </a:lnTo>
                    <a:lnTo>
                      <a:pt x="340" y="74"/>
                    </a:lnTo>
                    <a:lnTo>
                      <a:pt x="339" y="88"/>
                    </a:lnTo>
                    <a:lnTo>
                      <a:pt x="342" y="102"/>
                    </a:lnTo>
                    <a:lnTo>
                      <a:pt x="342" y="102"/>
                    </a:lnTo>
                    <a:lnTo>
                      <a:pt x="355" y="101"/>
                    </a:lnTo>
                    <a:lnTo>
                      <a:pt x="370" y="104"/>
                    </a:lnTo>
                    <a:lnTo>
                      <a:pt x="386" y="107"/>
                    </a:lnTo>
                    <a:lnTo>
                      <a:pt x="401" y="113"/>
                    </a:lnTo>
                    <a:lnTo>
                      <a:pt x="415" y="121"/>
                    </a:lnTo>
                    <a:lnTo>
                      <a:pt x="422" y="124"/>
                    </a:lnTo>
                    <a:lnTo>
                      <a:pt x="427" y="129"/>
                    </a:lnTo>
                    <a:lnTo>
                      <a:pt x="431" y="134"/>
                    </a:lnTo>
                    <a:lnTo>
                      <a:pt x="435" y="139"/>
                    </a:lnTo>
                    <a:lnTo>
                      <a:pt x="436" y="144"/>
                    </a:lnTo>
                    <a:lnTo>
                      <a:pt x="437" y="150"/>
                    </a:lnTo>
                    <a:lnTo>
                      <a:pt x="437" y="150"/>
                    </a:lnTo>
                    <a:lnTo>
                      <a:pt x="436" y="157"/>
                    </a:lnTo>
                    <a:lnTo>
                      <a:pt x="434" y="163"/>
                    </a:lnTo>
                    <a:lnTo>
                      <a:pt x="429" y="170"/>
                    </a:lnTo>
                    <a:lnTo>
                      <a:pt x="424" y="176"/>
                    </a:lnTo>
                    <a:lnTo>
                      <a:pt x="420" y="183"/>
                    </a:lnTo>
                    <a:lnTo>
                      <a:pt x="415" y="191"/>
                    </a:lnTo>
                    <a:lnTo>
                      <a:pt x="413" y="200"/>
                    </a:lnTo>
                    <a:lnTo>
                      <a:pt x="412" y="212"/>
                    </a:lnTo>
                    <a:lnTo>
                      <a:pt x="412" y="212"/>
                    </a:lnTo>
                    <a:lnTo>
                      <a:pt x="412" y="218"/>
                    </a:lnTo>
                    <a:lnTo>
                      <a:pt x="413" y="223"/>
                    </a:lnTo>
                    <a:lnTo>
                      <a:pt x="415" y="228"/>
                    </a:lnTo>
                    <a:lnTo>
                      <a:pt x="417" y="233"/>
                    </a:lnTo>
                    <a:lnTo>
                      <a:pt x="424" y="241"/>
                    </a:lnTo>
                    <a:lnTo>
                      <a:pt x="431" y="247"/>
                    </a:lnTo>
                    <a:lnTo>
                      <a:pt x="439" y="254"/>
                    </a:lnTo>
                    <a:lnTo>
                      <a:pt x="445" y="261"/>
                    </a:lnTo>
                    <a:lnTo>
                      <a:pt x="450" y="269"/>
                    </a:lnTo>
                    <a:lnTo>
                      <a:pt x="451" y="274"/>
                    </a:lnTo>
                    <a:lnTo>
                      <a:pt x="452" y="279"/>
                    </a:lnTo>
                    <a:lnTo>
                      <a:pt x="452" y="279"/>
                    </a:lnTo>
                    <a:lnTo>
                      <a:pt x="451" y="291"/>
                    </a:lnTo>
                    <a:lnTo>
                      <a:pt x="449" y="304"/>
                    </a:lnTo>
                    <a:lnTo>
                      <a:pt x="445" y="317"/>
                    </a:lnTo>
                    <a:lnTo>
                      <a:pt x="444" y="329"/>
                    </a:lnTo>
                    <a:lnTo>
                      <a:pt x="444" y="329"/>
                    </a:lnTo>
                    <a:lnTo>
                      <a:pt x="437" y="336"/>
                    </a:lnTo>
                    <a:lnTo>
                      <a:pt x="437" y="33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7" name="Freeform 12"/>
              <p:cNvSpPr>
                <a:spLocks noChangeAspect="1"/>
              </p:cNvSpPr>
              <p:nvPr/>
            </p:nvSpPr>
            <p:spPr bwMode="auto">
              <a:xfrm>
                <a:off x="626975" y="4638799"/>
                <a:ext cx="312266" cy="364594"/>
              </a:xfrm>
              <a:custGeom>
                <a:avLst/>
                <a:gdLst/>
                <a:ahLst/>
                <a:cxnLst>
                  <a:cxn ang="0">
                    <a:pos x="170" y="452"/>
                  </a:cxn>
                  <a:cxn ang="0">
                    <a:pos x="154" y="429"/>
                  </a:cxn>
                  <a:cxn ang="0">
                    <a:pos x="128" y="416"/>
                  </a:cxn>
                  <a:cxn ang="0">
                    <a:pos x="103" y="411"/>
                  </a:cxn>
                  <a:cxn ang="0">
                    <a:pos x="62" y="374"/>
                  </a:cxn>
                  <a:cxn ang="0">
                    <a:pos x="28" y="360"/>
                  </a:cxn>
                  <a:cxn ang="0">
                    <a:pos x="27" y="335"/>
                  </a:cxn>
                  <a:cxn ang="0">
                    <a:pos x="18" y="302"/>
                  </a:cxn>
                  <a:cxn ang="0">
                    <a:pos x="23" y="290"/>
                  </a:cxn>
                  <a:cxn ang="0">
                    <a:pos x="42" y="280"/>
                  </a:cxn>
                  <a:cxn ang="0">
                    <a:pos x="47" y="268"/>
                  </a:cxn>
                  <a:cxn ang="0">
                    <a:pos x="40" y="249"/>
                  </a:cxn>
                  <a:cxn ang="0">
                    <a:pos x="6" y="219"/>
                  </a:cxn>
                  <a:cxn ang="0">
                    <a:pos x="0" y="198"/>
                  </a:cxn>
                  <a:cxn ang="0">
                    <a:pos x="4" y="175"/>
                  </a:cxn>
                  <a:cxn ang="0">
                    <a:pos x="29" y="158"/>
                  </a:cxn>
                  <a:cxn ang="0">
                    <a:pos x="40" y="85"/>
                  </a:cxn>
                  <a:cxn ang="0">
                    <a:pos x="31" y="74"/>
                  </a:cxn>
                  <a:cxn ang="0">
                    <a:pos x="21" y="62"/>
                  </a:cxn>
                  <a:cxn ang="0">
                    <a:pos x="35" y="31"/>
                  </a:cxn>
                  <a:cxn ang="0">
                    <a:pos x="51" y="4"/>
                  </a:cxn>
                  <a:cxn ang="0">
                    <a:pos x="67" y="16"/>
                  </a:cxn>
                  <a:cxn ang="0">
                    <a:pos x="80" y="22"/>
                  </a:cxn>
                  <a:cxn ang="0">
                    <a:pos x="96" y="12"/>
                  </a:cxn>
                  <a:cxn ang="0">
                    <a:pos x="113" y="0"/>
                  </a:cxn>
                  <a:cxn ang="0">
                    <a:pos x="127" y="4"/>
                  </a:cxn>
                  <a:cxn ang="0">
                    <a:pos x="147" y="22"/>
                  </a:cxn>
                  <a:cxn ang="0">
                    <a:pos x="156" y="45"/>
                  </a:cxn>
                  <a:cxn ang="0">
                    <a:pos x="176" y="55"/>
                  </a:cxn>
                  <a:cxn ang="0">
                    <a:pos x="191" y="52"/>
                  </a:cxn>
                  <a:cxn ang="0">
                    <a:pos x="207" y="58"/>
                  </a:cxn>
                  <a:cxn ang="0">
                    <a:pos x="220" y="74"/>
                  </a:cxn>
                  <a:cxn ang="0">
                    <a:pos x="256" y="81"/>
                  </a:cxn>
                  <a:cxn ang="0">
                    <a:pos x="264" y="92"/>
                  </a:cxn>
                  <a:cxn ang="0">
                    <a:pos x="270" y="113"/>
                  </a:cxn>
                  <a:cxn ang="0">
                    <a:pos x="302" y="144"/>
                  </a:cxn>
                  <a:cxn ang="0">
                    <a:pos x="324" y="172"/>
                  </a:cxn>
                  <a:cxn ang="0">
                    <a:pos x="325" y="191"/>
                  </a:cxn>
                  <a:cxn ang="0">
                    <a:pos x="316" y="220"/>
                  </a:cxn>
                  <a:cxn ang="0">
                    <a:pos x="318" y="249"/>
                  </a:cxn>
                  <a:cxn ang="0">
                    <a:pos x="339" y="291"/>
                  </a:cxn>
                  <a:cxn ang="0">
                    <a:pos x="380" y="347"/>
                  </a:cxn>
                  <a:cxn ang="0">
                    <a:pos x="393" y="386"/>
                  </a:cxn>
                  <a:cxn ang="0">
                    <a:pos x="383" y="418"/>
                  </a:cxn>
                  <a:cxn ang="0">
                    <a:pos x="334" y="429"/>
                  </a:cxn>
                  <a:cxn ang="0">
                    <a:pos x="308" y="463"/>
                  </a:cxn>
                  <a:cxn ang="0">
                    <a:pos x="293" y="467"/>
                  </a:cxn>
                  <a:cxn ang="0">
                    <a:pos x="286" y="478"/>
                  </a:cxn>
                  <a:cxn ang="0">
                    <a:pos x="281" y="503"/>
                  </a:cxn>
                  <a:cxn ang="0">
                    <a:pos x="286" y="525"/>
                  </a:cxn>
                  <a:cxn ang="0">
                    <a:pos x="278" y="518"/>
                  </a:cxn>
                  <a:cxn ang="0">
                    <a:pos x="255" y="516"/>
                  </a:cxn>
                  <a:cxn ang="0">
                    <a:pos x="240" y="504"/>
                  </a:cxn>
                  <a:cxn ang="0">
                    <a:pos x="216" y="504"/>
                  </a:cxn>
                  <a:cxn ang="0">
                    <a:pos x="195" y="486"/>
                  </a:cxn>
                  <a:cxn ang="0">
                    <a:pos x="172" y="471"/>
                  </a:cxn>
                  <a:cxn ang="0">
                    <a:pos x="161" y="463"/>
                  </a:cxn>
                </a:cxnLst>
                <a:rect l="0" t="0" r="r" b="b"/>
                <a:pathLst>
                  <a:path w="393" h="525">
                    <a:moveTo>
                      <a:pt x="161" y="463"/>
                    </a:moveTo>
                    <a:lnTo>
                      <a:pt x="161" y="463"/>
                    </a:lnTo>
                    <a:lnTo>
                      <a:pt x="165" y="456"/>
                    </a:lnTo>
                    <a:lnTo>
                      <a:pt x="170" y="452"/>
                    </a:lnTo>
                    <a:lnTo>
                      <a:pt x="173" y="449"/>
                    </a:lnTo>
                    <a:lnTo>
                      <a:pt x="176" y="446"/>
                    </a:lnTo>
                    <a:lnTo>
                      <a:pt x="176" y="446"/>
                    </a:lnTo>
                    <a:lnTo>
                      <a:pt x="154" y="429"/>
                    </a:lnTo>
                    <a:lnTo>
                      <a:pt x="144" y="421"/>
                    </a:lnTo>
                    <a:lnTo>
                      <a:pt x="135" y="412"/>
                    </a:lnTo>
                    <a:lnTo>
                      <a:pt x="135" y="412"/>
                    </a:lnTo>
                    <a:lnTo>
                      <a:pt x="128" y="416"/>
                    </a:lnTo>
                    <a:lnTo>
                      <a:pt x="121" y="417"/>
                    </a:lnTo>
                    <a:lnTo>
                      <a:pt x="115" y="416"/>
                    </a:lnTo>
                    <a:lnTo>
                      <a:pt x="109" y="414"/>
                    </a:lnTo>
                    <a:lnTo>
                      <a:pt x="103" y="411"/>
                    </a:lnTo>
                    <a:lnTo>
                      <a:pt x="97" y="408"/>
                    </a:lnTo>
                    <a:lnTo>
                      <a:pt x="86" y="397"/>
                    </a:lnTo>
                    <a:lnTo>
                      <a:pt x="74" y="386"/>
                    </a:lnTo>
                    <a:lnTo>
                      <a:pt x="62" y="374"/>
                    </a:lnTo>
                    <a:lnTo>
                      <a:pt x="55" y="370"/>
                    </a:lnTo>
                    <a:lnTo>
                      <a:pt x="47" y="366"/>
                    </a:lnTo>
                    <a:lnTo>
                      <a:pt x="37" y="363"/>
                    </a:lnTo>
                    <a:lnTo>
                      <a:pt x="28" y="360"/>
                    </a:lnTo>
                    <a:lnTo>
                      <a:pt x="28" y="360"/>
                    </a:lnTo>
                    <a:lnTo>
                      <a:pt x="29" y="351"/>
                    </a:lnTo>
                    <a:lnTo>
                      <a:pt x="28" y="343"/>
                    </a:lnTo>
                    <a:lnTo>
                      <a:pt x="27" y="335"/>
                    </a:lnTo>
                    <a:lnTo>
                      <a:pt x="25" y="328"/>
                    </a:lnTo>
                    <a:lnTo>
                      <a:pt x="20" y="315"/>
                    </a:lnTo>
                    <a:lnTo>
                      <a:pt x="18" y="309"/>
                    </a:lnTo>
                    <a:lnTo>
                      <a:pt x="18" y="302"/>
                    </a:lnTo>
                    <a:lnTo>
                      <a:pt x="18" y="302"/>
                    </a:lnTo>
                    <a:lnTo>
                      <a:pt x="18" y="298"/>
                    </a:lnTo>
                    <a:lnTo>
                      <a:pt x="19" y="295"/>
                    </a:lnTo>
                    <a:lnTo>
                      <a:pt x="23" y="290"/>
                    </a:lnTo>
                    <a:lnTo>
                      <a:pt x="27" y="288"/>
                    </a:lnTo>
                    <a:lnTo>
                      <a:pt x="32" y="286"/>
                    </a:lnTo>
                    <a:lnTo>
                      <a:pt x="37" y="283"/>
                    </a:lnTo>
                    <a:lnTo>
                      <a:pt x="42" y="280"/>
                    </a:lnTo>
                    <a:lnTo>
                      <a:pt x="46" y="275"/>
                    </a:lnTo>
                    <a:lnTo>
                      <a:pt x="47" y="273"/>
                    </a:lnTo>
                    <a:lnTo>
                      <a:pt x="47" y="268"/>
                    </a:lnTo>
                    <a:lnTo>
                      <a:pt x="47" y="268"/>
                    </a:lnTo>
                    <a:lnTo>
                      <a:pt x="47" y="263"/>
                    </a:lnTo>
                    <a:lnTo>
                      <a:pt x="44" y="258"/>
                    </a:lnTo>
                    <a:lnTo>
                      <a:pt x="42" y="253"/>
                    </a:lnTo>
                    <a:lnTo>
                      <a:pt x="40" y="249"/>
                    </a:lnTo>
                    <a:lnTo>
                      <a:pt x="32" y="241"/>
                    </a:lnTo>
                    <a:lnTo>
                      <a:pt x="23" y="234"/>
                    </a:lnTo>
                    <a:lnTo>
                      <a:pt x="14" y="227"/>
                    </a:lnTo>
                    <a:lnTo>
                      <a:pt x="6" y="219"/>
                    </a:lnTo>
                    <a:lnTo>
                      <a:pt x="4" y="214"/>
                    </a:lnTo>
                    <a:lnTo>
                      <a:pt x="2" y="210"/>
                    </a:lnTo>
                    <a:lnTo>
                      <a:pt x="0" y="205"/>
                    </a:lnTo>
                    <a:lnTo>
                      <a:pt x="0" y="198"/>
                    </a:lnTo>
                    <a:lnTo>
                      <a:pt x="0" y="198"/>
                    </a:lnTo>
                    <a:lnTo>
                      <a:pt x="0" y="190"/>
                    </a:lnTo>
                    <a:lnTo>
                      <a:pt x="2" y="182"/>
                    </a:lnTo>
                    <a:lnTo>
                      <a:pt x="4" y="175"/>
                    </a:lnTo>
                    <a:lnTo>
                      <a:pt x="9" y="170"/>
                    </a:lnTo>
                    <a:lnTo>
                      <a:pt x="14" y="165"/>
                    </a:lnTo>
                    <a:lnTo>
                      <a:pt x="21" y="161"/>
                    </a:lnTo>
                    <a:lnTo>
                      <a:pt x="29" y="158"/>
                    </a:lnTo>
                    <a:lnTo>
                      <a:pt x="40" y="154"/>
                    </a:lnTo>
                    <a:lnTo>
                      <a:pt x="40" y="154"/>
                    </a:lnTo>
                    <a:lnTo>
                      <a:pt x="40" y="85"/>
                    </a:lnTo>
                    <a:lnTo>
                      <a:pt x="40" y="85"/>
                    </a:lnTo>
                    <a:lnTo>
                      <a:pt x="39" y="81"/>
                    </a:lnTo>
                    <a:lnTo>
                      <a:pt x="37" y="77"/>
                    </a:lnTo>
                    <a:lnTo>
                      <a:pt x="34" y="75"/>
                    </a:lnTo>
                    <a:lnTo>
                      <a:pt x="31" y="74"/>
                    </a:lnTo>
                    <a:lnTo>
                      <a:pt x="27" y="73"/>
                    </a:lnTo>
                    <a:lnTo>
                      <a:pt x="25" y="70"/>
                    </a:lnTo>
                    <a:lnTo>
                      <a:pt x="23" y="67"/>
                    </a:lnTo>
                    <a:lnTo>
                      <a:pt x="21" y="62"/>
                    </a:lnTo>
                    <a:lnTo>
                      <a:pt x="21" y="62"/>
                    </a:lnTo>
                    <a:lnTo>
                      <a:pt x="23" y="58"/>
                    </a:lnTo>
                    <a:lnTo>
                      <a:pt x="26" y="51"/>
                    </a:lnTo>
                    <a:lnTo>
                      <a:pt x="35" y="31"/>
                    </a:lnTo>
                    <a:lnTo>
                      <a:pt x="44" y="12"/>
                    </a:lnTo>
                    <a:lnTo>
                      <a:pt x="49" y="6"/>
                    </a:lnTo>
                    <a:lnTo>
                      <a:pt x="51" y="4"/>
                    </a:lnTo>
                    <a:lnTo>
                      <a:pt x="51" y="4"/>
                    </a:lnTo>
                    <a:lnTo>
                      <a:pt x="55" y="5"/>
                    </a:lnTo>
                    <a:lnTo>
                      <a:pt x="58" y="7"/>
                    </a:lnTo>
                    <a:lnTo>
                      <a:pt x="64" y="13"/>
                    </a:lnTo>
                    <a:lnTo>
                      <a:pt x="67" y="16"/>
                    </a:lnTo>
                    <a:lnTo>
                      <a:pt x="71" y="20"/>
                    </a:lnTo>
                    <a:lnTo>
                      <a:pt x="75" y="21"/>
                    </a:lnTo>
                    <a:lnTo>
                      <a:pt x="80" y="22"/>
                    </a:lnTo>
                    <a:lnTo>
                      <a:pt x="80" y="22"/>
                    </a:lnTo>
                    <a:lnTo>
                      <a:pt x="87" y="21"/>
                    </a:lnTo>
                    <a:lnTo>
                      <a:pt x="92" y="19"/>
                    </a:lnTo>
                    <a:lnTo>
                      <a:pt x="95" y="15"/>
                    </a:lnTo>
                    <a:lnTo>
                      <a:pt x="96" y="12"/>
                    </a:lnTo>
                    <a:lnTo>
                      <a:pt x="98" y="7"/>
                    </a:lnTo>
                    <a:lnTo>
                      <a:pt x="102" y="4"/>
                    </a:lnTo>
                    <a:lnTo>
                      <a:pt x="107" y="1"/>
                    </a:lnTo>
                    <a:lnTo>
                      <a:pt x="113" y="0"/>
                    </a:lnTo>
                    <a:lnTo>
                      <a:pt x="113" y="0"/>
                    </a:lnTo>
                    <a:lnTo>
                      <a:pt x="118" y="1"/>
                    </a:lnTo>
                    <a:lnTo>
                      <a:pt x="123" y="1"/>
                    </a:lnTo>
                    <a:lnTo>
                      <a:pt x="127" y="4"/>
                    </a:lnTo>
                    <a:lnTo>
                      <a:pt x="131" y="6"/>
                    </a:lnTo>
                    <a:lnTo>
                      <a:pt x="139" y="13"/>
                    </a:lnTo>
                    <a:lnTo>
                      <a:pt x="147" y="22"/>
                    </a:lnTo>
                    <a:lnTo>
                      <a:pt x="147" y="22"/>
                    </a:lnTo>
                    <a:lnTo>
                      <a:pt x="147" y="28"/>
                    </a:lnTo>
                    <a:lnTo>
                      <a:pt x="149" y="34"/>
                    </a:lnTo>
                    <a:lnTo>
                      <a:pt x="151" y="39"/>
                    </a:lnTo>
                    <a:lnTo>
                      <a:pt x="156" y="45"/>
                    </a:lnTo>
                    <a:lnTo>
                      <a:pt x="159" y="49"/>
                    </a:lnTo>
                    <a:lnTo>
                      <a:pt x="165" y="53"/>
                    </a:lnTo>
                    <a:lnTo>
                      <a:pt x="170" y="55"/>
                    </a:lnTo>
                    <a:lnTo>
                      <a:pt x="176" y="55"/>
                    </a:lnTo>
                    <a:lnTo>
                      <a:pt x="176" y="55"/>
                    </a:lnTo>
                    <a:lnTo>
                      <a:pt x="180" y="55"/>
                    </a:lnTo>
                    <a:lnTo>
                      <a:pt x="185" y="54"/>
                    </a:lnTo>
                    <a:lnTo>
                      <a:pt x="191" y="52"/>
                    </a:lnTo>
                    <a:lnTo>
                      <a:pt x="196" y="47"/>
                    </a:lnTo>
                    <a:lnTo>
                      <a:pt x="205" y="45"/>
                    </a:lnTo>
                    <a:lnTo>
                      <a:pt x="205" y="45"/>
                    </a:lnTo>
                    <a:lnTo>
                      <a:pt x="207" y="58"/>
                    </a:lnTo>
                    <a:lnTo>
                      <a:pt x="210" y="66"/>
                    </a:lnTo>
                    <a:lnTo>
                      <a:pt x="212" y="69"/>
                    </a:lnTo>
                    <a:lnTo>
                      <a:pt x="215" y="72"/>
                    </a:lnTo>
                    <a:lnTo>
                      <a:pt x="220" y="74"/>
                    </a:lnTo>
                    <a:lnTo>
                      <a:pt x="228" y="76"/>
                    </a:lnTo>
                    <a:lnTo>
                      <a:pt x="237" y="76"/>
                    </a:lnTo>
                    <a:lnTo>
                      <a:pt x="246" y="78"/>
                    </a:lnTo>
                    <a:lnTo>
                      <a:pt x="256" y="81"/>
                    </a:lnTo>
                    <a:lnTo>
                      <a:pt x="256" y="81"/>
                    </a:lnTo>
                    <a:lnTo>
                      <a:pt x="260" y="84"/>
                    </a:lnTo>
                    <a:lnTo>
                      <a:pt x="262" y="86"/>
                    </a:lnTo>
                    <a:lnTo>
                      <a:pt x="264" y="92"/>
                    </a:lnTo>
                    <a:lnTo>
                      <a:pt x="265" y="99"/>
                    </a:lnTo>
                    <a:lnTo>
                      <a:pt x="268" y="107"/>
                    </a:lnTo>
                    <a:lnTo>
                      <a:pt x="268" y="107"/>
                    </a:lnTo>
                    <a:lnTo>
                      <a:pt x="270" y="113"/>
                    </a:lnTo>
                    <a:lnTo>
                      <a:pt x="275" y="119"/>
                    </a:lnTo>
                    <a:lnTo>
                      <a:pt x="283" y="128"/>
                    </a:lnTo>
                    <a:lnTo>
                      <a:pt x="293" y="136"/>
                    </a:lnTo>
                    <a:lnTo>
                      <a:pt x="302" y="144"/>
                    </a:lnTo>
                    <a:lnTo>
                      <a:pt x="311" y="152"/>
                    </a:lnTo>
                    <a:lnTo>
                      <a:pt x="319" y="161"/>
                    </a:lnTo>
                    <a:lnTo>
                      <a:pt x="322" y="166"/>
                    </a:lnTo>
                    <a:lnTo>
                      <a:pt x="324" y="172"/>
                    </a:lnTo>
                    <a:lnTo>
                      <a:pt x="325" y="177"/>
                    </a:lnTo>
                    <a:lnTo>
                      <a:pt x="326" y="184"/>
                    </a:lnTo>
                    <a:lnTo>
                      <a:pt x="326" y="184"/>
                    </a:lnTo>
                    <a:lnTo>
                      <a:pt x="325" y="191"/>
                    </a:lnTo>
                    <a:lnTo>
                      <a:pt x="324" y="198"/>
                    </a:lnTo>
                    <a:lnTo>
                      <a:pt x="321" y="207"/>
                    </a:lnTo>
                    <a:lnTo>
                      <a:pt x="317" y="215"/>
                    </a:lnTo>
                    <a:lnTo>
                      <a:pt x="316" y="220"/>
                    </a:lnTo>
                    <a:lnTo>
                      <a:pt x="315" y="225"/>
                    </a:lnTo>
                    <a:lnTo>
                      <a:pt x="315" y="225"/>
                    </a:lnTo>
                    <a:lnTo>
                      <a:pt x="316" y="237"/>
                    </a:lnTo>
                    <a:lnTo>
                      <a:pt x="318" y="249"/>
                    </a:lnTo>
                    <a:lnTo>
                      <a:pt x="322" y="260"/>
                    </a:lnTo>
                    <a:lnTo>
                      <a:pt x="327" y="271"/>
                    </a:lnTo>
                    <a:lnTo>
                      <a:pt x="333" y="281"/>
                    </a:lnTo>
                    <a:lnTo>
                      <a:pt x="339" y="291"/>
                    </a:lnTo>
                    <a:lnTo>
                      <a:pt x="354" y="310"/>
                    </a:lnTo>
                    <a:lnTo>
                      <a:pt x="368" y="328"/>
                    </a:lnTo>
                    <a:lnTo>
                      <a:pt x="375" y="336"/>
                    </a:lnTo>
                    <a:lnTo>
                      <a:pt x="380" y="347"/>
                    </a:lnTo>
                    <a:lnTo>
                      <a:pt x="385" y="356"/>
                    </a:lnTo>
                    <a:lnTo>
                      <a:pt x="390" y="365"/>
                    </a:lnTo>
                    <a:lnTo>
                      <a:pt x="392" y="375"/>
                    </a:lnTo>
                    <a:lnTo>
                      <a:pt x="393" y="386"/>
                    </a:lnTo>
                    <a:lnTo>
                      <a:pt x="393" y="386"/>
                    </a:lnTo>
                    <a:lnTo>
                      <a:pt x="393" y="412"/>
                    </a:lnTo>
                    <a:lnTo>
                      <a:pt x="393" y="412"/>
                    </a:lnTo>
                    <a:lnTo>
                      <a:pt x="383" y="418"/>
                    </a:lnTo>
                    <a:lnTo>
                      <a:pt x="372" y="422"/>
                    </a:lnTo>
                    <a:lnTo>
                      <a:pt x="361" y="426"/>
                    </a:lnTo>
                    <a:lnTo>
                      <a:pt x="348" y="428"/>
                    </a:lnTo>
                    <a:lnTo>
                      <a:pt x="334" y="429"/>
                    </a:lnTo>
                    <a:lnTo>
                      <a:pt x="321" y="431"/>
                    </a:lnTo>
                    <a:lnTo>
                      <a:pt x="289" y="431"/>
                    </a:lnTo>
                    <a:lnTo>
                      <a:pt x="289" y="431"/>
                    </a:lnTo>
                    <a:lnTo>
                      <a:pt x="308" y="463"/>
                    </a:lnTo>
                    <a:lnTo>
                      <a:pt x="308" y="463"/>
                    </a:lnTo>
                    <a:lnTo>
                      <a:pt x="308" y="463"/>
                    </a:lnTo>
                    <a:lnTo>
                      <a:pt x="300" y="465"/>
                    </a:lnTo>
                    <a:lnTo>
                      <a:pt x="293" y="467"/>
                    </a:lnTo>
                    <a:lnTo>
                      <a:pt x="289" y="469"/>
                    </a:lnTo>
                    <a:lnTo>
                      <a:pt x="287" y="471"/>
                    </a:lnTo>
                    <a:lnTo>
                      <a:pt x="286" y="473"/>
                    </a:lnTo>
                    <a:lnTo>
                      <a:pt x="286" y="478"/>
                    </a:lnTo>
                    <a:lnTo>
                      <a:pt x="286" y="478"/>
                    </a:lnTo>
                    <a:lnTo>
                      <a:pt x="285" y="487"/>
                    </a:lnTo>
                    <a:lnTo>
                      <a:pt x="284" y="494"/>
                    </a:lnTo>
                    <a:lnTo>
                      <a:pt x="281" y="503"/>
                    </a:lnTo>
                    <a:lnTo>
                      <a:pt x="281" y="506"/>
                    </a:lnTo>
                    <a:lnTo>
                      <a:pt x="281" y="511"/>
                    </a:lnTo>
                    <a:lnTo>
                      <a:pt x="283" y="517"/>
                    </a:lnTo>
                    <a:lnTo>
                      <a:pt x="286" y="525"/>
                    </a:lnTo>
                    <a:lnTo>
                      <a:pt x="286" y="525"/>
                    </a:lnTo>
                    <a:lnTo>
                      <a:pt x="278" y="518"/>
                    </a:lnTo>
                    <a:lnTo>
                      <a:pt x="278" y="518"/>
                    </a:lnTo>
                    <a:lnTo>
                      <a:pt x="278" y="518"/>
                    </a:lnTo>
                    <a:lnTo>
                      <a:pt x="261" y="518"/>
                    </a:lnTo>
                    <a:lnTo>
                      <a:pt x="261" y="518"/>
                    </a:lnTo>
                    <a:lnTo>
                      <a:pt x="257" y="517"/>
                    </a:lnTo>
                    <a:lnTo>
                      <a:pt x="255" y="516"/>
                    </a:lnTo>
                    <a:lnTo>
                      <a:pt x="250" y="510"/>
                    </a:lnTo>
                    <a:lnTo>
                      <a:pt x="247" y="508"/>
                    </a:lnTo>
                    <a:lnTo>
                      <a:pt x="243" y="505"/>
                    </a:lnTo>
                    <a:lnTo>
                      <a:pt x="240" y="504"/>
                    </a:lnTo>
                    <a:lnTo>
                      <a:pt x="234" y="503"/>
                    </a:lnTo>
                    <a:lnTo>
                      <a:pt x="234" y="503"/>
                    </a:lnTo>
                    <a:lnTo>
                      <a:pt x="224" y="503"/>
                    </a:lnTo>
                    <a:lnTo>
                      <a:pt x="216" y="504"/>
                    </a:lnTo>
                    <a:lnTo>
                      <a:pt x="205" y="506"/>
                    </a:lnTo>
                    <a:lnTo>
                      <a:pt x="205" y="506"/>
                    </a:lnTo>
                    <a:lnTo>
                      <a:pt x="199" y="492"/>
                    </a:lnTo>
                    <a:lnTo>
                      <a:pt x="195" y="486"/>
                    </a:lnTo>
                    <a:lnTo>
                      <a:pt x="191" y="480"/>
                    </a:lnTo>
                    <a:lnTo>
                      <a:pt x="185" y="475"/>
                    </a:lnTo>
                    <a:lnTo>
                      <a:pt x="179" y="473"/>
                    </a:lnTo>
                    <a:lnTo>
                      <a:pt x="172" y="471"/>
                    </a:lnTo>
                    <a:lnTo>
                      <a:pt x="164" y="470"/>
                    </a:lnTo>
                    <a:lnTo>
                      <a:pt x="164" y="470"/>
                    </a:lnTo>
                    <a:lnTo>
                      <a:pt x="161" y="463"/>
                    </a:lnTo>
                    <a:lnTo>
                      <a:pt x="161" y="46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8" name="Freeform 13"/>
              <p:cNvSpPr>
                <a:spLocks noChangeAspect="1"/>
              </p:cNvSpPr>
              <p:nvPr/>
            </p:nvSpPr>
            <p:spPr bwMode="auto">
              <a:xfrm>
                <a:off x="3551499" y="4935206"/>
                <a:ext cx="643554" cy="410517"/>
              </a:xfrm>
              <a:custGeom>
                <a:avLst/>
                <a:gdLst/>
                <a:ahLst/>
                <a:cxnLst>
                  <a:cxn ang="0">
                    <a:pos x="534" y="585"/>
                  </a:cxn>
                  <a:cxn ang="0">
                    <a:pos x="566" y="563"/>
                  </a:cxn>
                  <a:cxn ang="0">
                    <a:pos x="568" y="546"/>
                  </a:cxn>
                  <a:cxn ang="0">
                    <a:pos x="548" y="528"/>
                  </a:cxn>
                  <a:cxn ang="0">
                    <a:pos x="526" y="510"/>
                  </a:cxn>
                  <a:cxn ang="0">
                    <a:pos x="536" y="493"/>
                  </a:cxn>
                  <a:cxn ang="0">
                    <a:pos x="654" y="433"/>
                  </a:cxn>
                  <a:cxn ang="0">
                    <a:pos x="682" y="418"/>
                  </a:cxn>
                  <a:cxn ang="0">
                    <a:pos x="733" y="411"/>
                  </a:cxn>
                  <a:cxn ang="0">
                    <a:pos x="779" y="392"/>
                  </a:cxn>
                  <a:cxn ang="0">
                    <a:pos x="785" y="368"/>
                  </a:cxn>
                  <a:cxn ang="0">
                    <a:pos x="770" y="340"/>
                  </a:cxn>
                  <a:cxn ang="0">
                    <a:pos x="771" y="311"/>
                  </a:cxn>
                  <a:cxn ang="0">
                    <a:pos x="811" y="294"/>
                  </a:cxn>
                  <a:cxn ang="0">
                    <a:pos x="801" y="259"/>
                  </a:cxn>
                  <a:cxn ang="0">
                    <a:pos x="808" y="238"/>
                  </a:cxn>
                  <a:cxn ang="0">
                    <a:pos x="795" y="218"/>
                  </a:cxn>
                  <a:cxn ang="0">
                    <a:pos x="782" y="197"/>
                  </a:cxn>
                  <a:cxn ang="0">
                    <a:pos x="800" y="169"/>
                  </a:cxn>
                  <a:cxn ang="0">
                    <a:pos x="777" y="158"/>
                  </a:cxn>
                  <a:cxn ang="0">
                    <a:pos x="741" y="96"/>
                  </a:cxn>
                  <a:cxn ang="0">
                    <a:pos x="724" y="73"/>
                  </a:cxn>
                  <a:cxn ang="0">
                    <a:pos x="659" y="23"/>
                  </a:cxn>
                  <a:cxn ang="0">
                    <a:pos x="642" y="2"/>
                  </a:cxn>
                  <a:cxn ang="0">
                    <a:pos x="620" y="30"/>
                  </a:cxn>
                  <a:cxn ang="0">
                    <a:pos x="602" y="43"/>
                  </a:cxn>
                  <a:cxn ang="0">
                    <a:pos x="547" y="39"/>
                  </a:cxn>
                  <a:cxn ang="0">
                    <a:pos x="521" y="45"/>
                  </a:cxn>
                  <a:cxn ang="0">
                    <a:pos x="506" y="58"/>
                  </a:cxn>
                  <a:cxn ang="0">
                    <a:pos x="453" y="94"/>
                  </a:cxn>
                  <a:cxn ang="0">
                    <a:pos x="420" y="130"/>
                  </a:cxn>
                  <a:cxn ang="0">
                    <a:pos x="399" y="124"/>
                  </a:cxn>
                  <a:cxn ang="0">
                    <a:pos x="358" y="83"/>
                  </a:cxn>
                  <a:cxn ang="0">
                    <a:pos x="355" y="51"/>
                  </a:cxn>
                  <a:cxn ang="0">
                    <a:pos x="328" y="22"/>
                  </a:cxn>
                  <a:cxn ang="0">
                    <a:pos x="303" y="0"/>
                  </a:cxn>
                  <a:cxn ang="0">
                    <a:pos x="266" y="5"/>
                  </a:cxn>
                  <a:cxn ang="0">
                    <a:pos x="214" y="38"/>
                  </a:cxn>
                  <a:cxn ang="0">
                    <a:pos x="169" y="65"/>
                  </a:cxn>
                  <a:cxn ang="0">
                    <a:pos x="87" y="69"/>
                  </a:cxn>
                  <a:cxn ang="0">
                    <a:pos x="66" y="83"/>
                  </a:cxn>
                  <a:cxn ang="0">
                    <a:pos x="37" y="65"/>
                  </a:cxn>
                  <a:cxn ang="0">
                    <a:pos x="19" y="75"/>
                  </a:cxn>
                  <a:cxn ang="0">
                    <a:pos x="0" y="91"/>
                  </a:cxn>
                  <a:cxn ang="0">
                    <a:pos x="137" y="500"/>
                  </a:cxn>
                  <a:cxn ang="0">
                    <a:pos x="153" y="505"/>
                  </a:cxn>
                  <a:cxn ang="0">
                    <a:pos x="174" y="486"/>
                  </a:cxn>
                  <a:cxn ang="0">
                    <a:pos x="198" y="447"/>
                  </a:cxn>
                  <a:cxn ang="0">
                    <a:pos x="220" y="447"/>
                  </a:cxn>
                  <a:cxn ang="0">
                    <a:pos x="250" y="468"/>
                  </a:cxn>
                  <a:cxn ang="0">
                    <a:pos x="260" y="500"/>
                  </a:cxn>
                  <a:cxn ang="0">
                    <a:pos x="271" y="539"/>
                  </a:cxn>
                  <a:cxn ang="0">
                    <a:pos x="327" y="539"/>
                  </a:cxn>
                  <a:cxn ang="0">
                    <a:pos x="414" y="520"/>
                  </a:cxn>
                  <a:cxn ang="0">
                    <a:pos x="456" y="519"/>
                  </a:cxn>
                  <a:cxn ang="0">
                    <a:pos x="502" y="551"/>
                  </a:cxn>
                  <a:cxn ang="0">
                    <a:pos x="532" y="587"/>
                  </a:cxn>
                </a:cxnLst>
                <a:rect l="0" t="0" r="r" b="b"/>
                <a:pathLst>
                  <a:path w="811" h="590">
                    <a:moveTo>
                      <a:pt x="532" y="587"/>
                    </a:moveTo>
                    <a:lnTo>
                      <a:pt x="528" y="590"/>
                    </a:lnTo>
                    <a:lnTo>
                      <a:pt x="528" y="590"/>
                    </a:lnTo>
                    <a:lnTo>
                      <a:pt x="528" y="590"/>
                    </a:lnTo>
                    <a:lnTo>
                      <a:pt x="534" y="585"/>
                    </a:lnTo>
                    <a:lnTo>
                      <a:pt x="540" y="580"/>
                    </a:lnTo>
                    <a:lnTo>
                      <a:pt x="553" y="574"/>
                    </a:lnTo>
                    <a:lnTo>
                      <a:pt x="559" y="571"/>
                    </a:lnTo>
                    <a:lnTo>
                      <a:pt x="565" y="566"/>
                    </a:lnTo>
                    <a:lnTo>
                      <a:pt x="566" y="563"/>
                    </a:lnTo>
                    <a:lnTo>
                      <a:pt x="568" y="559"/>
                    </a:lnTo>
                    <a:lnTo>
                      <a:pt x="568" y="555"/>
                    </a:lnTo>
                    <a:lnTo>
                      <a:pt x="570" y="550"/>
                    </a:lnTo>
                    <a:lnTo>
                      <a:pt x="570" y="550"/>
                    </a:lnTo>
                    <a:lnTo>
                      <a:pt x="568" y="546"/>
                    </a:lnTo>
                    <a:lnTo>
                      <a:pt x="567" y="542"/>
                    </a:lnTo>
                    <a:lnTo>
                      <a:pt x="565" y="540"/>
                    </a:lnTo>
                    <a:lnTo>
                      <a:pt x="563" y="536"/>
                    </a:lnTo>
                    <a:lnTo>
                      <a:pt x="556" y="532"/>
                    </a:lnTo>
                    <a:lnTo>
                      <a:pt x="548" y="528"/>
                    </a:lnTo>
                    <a:lnTo>
                      <a:pt x="540" y="524"/>
                    </a:lnTo>
                    <a:lnTo>
                      <a:pt x="532" y="519"/>
                    </a:lnTo>
                    <a:lnTo>
                      <a:pt x="529" y="516"/>
                    </a:lnTo>
                    <a:lnTo>
                      <a:pt x="527" y="513"/>
                    </a:lnTo>
                    <a:lnTo>
                      <a:pt x="526" y="510"/>
                    </a:lnTo>
                    <a:lnTo>
                      <a:pt x="525" y="506"/>
                    </a:lnTo>
                    <a:lnTo>
                      <a:pt x="525" y="506"/>
                    </a:lnTo>
                    <a:lnTo>
                      <a:pt x="527" y="502"/>
                    </a:lnTo>
                    <a:lnTo>
                      <a:pt x="530" y="498"/>
                    </a:lnTo>
                    <a:lnTo>
                      <a:pt x="536" y="493"/>
                    </a:lnTo>
                    <a:lnTo>
                      <a:pt x="543" y="488"/>
                    </a:lnTo>
                    <a:lnTo>
                      <a:pt x="561" y="476"/>
                    </a:lnTo>
                    <a:lnTo>
                      <a:pt x="583" y="465"/>
                    </a:lnTo>
                    <a:lnTo>
                      <a:pt x="627" y="444"/>
                    </a:lnTo>
                    <a:lnTo>
                      <a:pt x="654" y="433"/>
                    </a:lnTo>
                    <a:lnTo>
                      <a:pt x="654" y="433"/>
                    </a:lnTo>
                    <a:lnTo>
                      <a:pt x="663" y="427"/>
                    </a:lnTo>
                    <a:lnTo>
                      <a:pt x="670" y="422"/>
                    </a:lnTo>
                    <a:lnTo>
                      <a:pt x="678" y="419"/>
                    </a:lnTo>
                    <a:lnTo>
                      <a:pt x="682" y="418"/>
                    </a:lnTo>
                    <a:lnTo>
                      <a:pt x="687" y="418"/>
                    </a:lnTo>
                    <a:lnTo>
                      <a:pt x="687" y="418"/>
                    </a:lnTo>
                    <a:lnTo>
                      <a:pt x="701" y="415"/>
                    </a:lnTo>
                    <a:lnTo>
                      <a:pt x="716" y="413"/>
                    </a:lnTo>
                    <a:lnTo>
                      <a:pt x="733" y="411"/>
                    </a:lnTo>
                    <a:lnTo>
                      <a:pt x="749" y="407"/>
                    </a:lnTo>
                    <a:lnTo>
                      <a:pt x="763" y="403"/>
                    </a:lnTo>
                    <a:lnTo>
                      <a:pt x="770" y="401"/>
                    </a:lnTo>
                    <a:lnTo>
                      <a:pt x="774" y="397"/>
                    </a:lnTo>
                    <a:lnTo>
                      <a:pt x="779" y="392"/>
                    </a:lnTo>
                    <a:lnTo>
                      <a:pt x="782" y="388"/>
                    </a:lnTo>
                    <a:lnTo>
                      <a:pt x="785" y="383"/>
                    </a:lnTo>
                    <a:lnTo>
                      <a:pt x="786" y="378"/>
                    </a:lnTo>
                    <a:lnTo>
                      <a:pt x="786" y="378"/>
                    </a:lnTo>
                    <a:lnTo>
                      <a:pt x="785" y="368"/>
                    </a:lnTo>
                    <a:lnTo>
                      <a:pt x="782" y="363"/>
                    </a:lnTo>
                    <a:lnTo>
                      <a:pt x="780" y="357"/>
                    </a:lnTo>
                    <a:lnTo>
                      <a:pt x="777" y="351"/>
                    </a:lnTo>
                    <a:lnTo>
                      <a:pt x="773" y="346"/>
                    </a:lnTo>
                    <a:lnTo>
                      <a:pt x="770" y="340"/>
                    </a:lnTo>
                    <a:lnTo>
                      <a:pt x="769" y="333"/>
                    </a:lnTo>
                    <a:lnTo>
                      <a:pt x="767" y="322"/>
                    </a:lnTo>
                    <a:lnTo>
                      <a:pt x="767" y="322"/>
                    </a:lnTo>
                    <a:lnTo>
                      <a:pt x="769" y="317"/>
                    </a:lnTo>
                    <a:lnTo>
                      <a:pt x="771" y="311"/>
                    </a:lnTo>
                    <a:lnTo>
                      <a:pt x="776" y="306"/>
                    </a:lnTo>
                    <a:lnTo>
                      <a:pt x="781" y="302"/>
                    </a:lnTo>
                    <a:lnTo>
                      <a:pt x="788" y="299"/>
                    </a:lnTo>
                    <a:lnTo>
                      <a:pt x="795" y="297"/>
                    </a:lnTo>
                    <a:lnTo>
                      <a:pt x="811" y="294"/>
                    </a:lnTo>
                    <a:lnTo>
                      <a:pt x="811" y="294"/>
                    </a:lnTo>
                    <a:lnTo>
                      <a:pt x="800" y="264"/>
                    </a:lnTo>
                    <a:lnTo>
                      <a:pt x="800" y="264"/>
                    </a:lnTo>
                    <a:lnTo>
                      <a:pt x="800" y="264"/>
                    </a:lnTo>
                    <a:lnTo>
                      <a:pt x="801" y="259"/>
                    </a:lnTo>
                    <a:lnTo>
                      <a:pt x="802" y="256"/>
                    </a:lnTo>
                    <a:lnTo>
                      <a:pt x="804" y="251"/>
                    </a:lnTo>
                    <a:lnTo>
                      <a:pt x="807" y="246"/>
                    </a:lnTo>
                    <a:lnTo>
                      <a:pt x="808" y="243"/>
                    </a:lnTo>
                    <a:lnTo>
                      <a:pt x="808" y="238"/>
                    </a:lnTo>
                    <a:lnTo>
                      <a:pt x="808" y="238"/>
                    </a:lnTo>
                    <a:lnTo>
                      <a:pt x="807" y="231"/>
                    </a:lnTo>
                    <a:lnTo>
                      <a:pt x="804" y="227"/>
                    </a:lnTo>
                    <a:lnTo>
                      <a:pt x="800" y="222"/>
                    </a:lnTo>
                    <a:lnTo>
                      <a:pt x="795" y="218"/>
                    </a:lnTo>
                    <a:lnTo>
                      <a:pt x="790" y="213"/>
                    </a:lnTo>
                    <a:lnTo>
                      <a:pt x="786" y="208"/>
                    </a:lnTo>
                    <a:lnTo>
                      <a:pt x="784" y="204"/>
                    </a:lnTo>
                    <a:lnTo>
                      <a:pt x="782" y="197"/>
                    </a:lnTo>
                    <a:lnTo>
                      <a:pt x="782" y="197"/>
                    </a:lnTo>
                    <a:lnTo>
                      <a:pt x="782" y="193"/>
                    </a:lnTo>
                    <a:lnTo>
                      <a:pt x="785" y="190"/>
                    </a:lnTo>
                    <a:lnTo>
                      <a:pt x="792" y="182"/>
                    </a:lnTo>
                    <a:lnTo>
                      <a:pt x="797" y="174"/>
                    </a:lnTo>
                    <a:lnTo>
                      <a:pt x="800" y="169"/>
                    </a:lnTo>
                    <a:lnTo>
                      <a:pt x="800" y="165"/>
                    </a:lnTo>
                    <a:lnTo>
                      <a:pt x="800" y="165"/>
                    </a:lnTo>
                    <a:lnTo>
                      <a:pt x="792" y="163"/>
                    </a:lnTo>
                    <a:lnTo>
                      <a:pt x="784" y="161"/>
                    </a:lnTo>
                    <a:lnTo>
                      <a:pt x="777" y="158"/>
                    </a:lnTo>
                    <a:lnTo>
                      <a:pt x="771" y="153"/>
                    </a:lnTo>
                    <a:lnTo>
                      <a:pt x="765" y="147"/>
                    </a:lnTo>
                    <a:lnTo>
                      <a:pt x="762" y="140"/>
                    </a:lnTo>
                    <a:lnTo>
                      <a:pt x="754" y="127"/>
                    </a:lnTo>
                    <a:lnTo>
                      <a:pt x="741" y="96"/>
                    </a:lnTo>
                    <a:lnTo>
                      <a:pt x="736" y="89"/>
                    </a:lnTo>
                    <a:lnTo>
                      <a:pt x="733" y="83"/>
                    </a:lnTo>
                    <a:lnTo>
                      <a:pt x="728" y="77"/>
                    </a:lnTo>
                    <a:lnTo>
                      <a:pt x="724" y="73"/>
                    </a:lnTo>
                    <a:lnTo>
                      <a:pt x="724" y="73"/>
                    </a:lnTo>
                    <a:lnTo>
                      <a:pt x="713" y="65"/>
                    </a:lnTo>
                    <a:lnTo>
                      <a:pt x="702" y="56"/>
                    </a:lnTo>
                    <a:lnTo>
                      <a:pt x="679" y="42"/>
                    </a:lnTo>
                    <a:lnTo>
                      <a:pt x="668" y="32"/>
                    </a:lnTo>
                    <a:lnTo>
                      <a:pt x="659" y="23"/>
                    </a:lnTo>
                    <a:lnTo>
                      <a:pt x="651" y="13"/>
                    </a:lnTo>
                    <a:lnTo>
                      <a:pt x="649" y="6"/>
                    </a:lnTo>
                    <a:lnTo>
                      <a:pt x="647" y="0"/>
                    </a:lnTo>
                    <a:lnTo>
                      <a:pt x="647" y="0"/>
                    </a:lnTo>
                    <a:lnTo>
                      <a:pt x="642" y="2"/>
                    </a:lnTo>
                    <a:lnTo>
                      <a:pt x="637" y="5"/>
                    </a:lnTo>
                    <a:lnTo>
                      <a:pt x="632" y="10"/>
                    </a:lnTo>
                    <a:lnTo>
                      <a:pt x="628" y="17"/>
                    </a:lnTo>
                    <a:lnTo>
                      <a:pt x="624" y="24"/>
                    </a:lnTo>
                    <a:lnTo>
                      <a:pt x="620" y="30"/>
                    </a:lnTo>
                    <a:lnTo>
                      <a:pt x="617" y="36"/>
                    </a:lnTo>
                    <a:lnTo>
                      <a:pt x="611" y="40"/>
                    </a:lnTo>
                    <a:lnTo>
                      <a:pt x="606" y="43"/>
                    </a:lnTo>
                    <a:lnTo>
                      <a:pt x="602" y="43"/>
                    </a:lnTo>
                    <a:lnTo>
                      <a:pt x="602" y="43"/>
                    </a:lnTo>
                    <a:lnTo>
                      <a:pt x="594" y="44"/>
                    </a:lnTo>
                    <a:lnTo>
                      <a:pt x="584" y="43"/>
                    </a:lnTo>
                    <a:lnTo>
                      <a:pt x="566" y="40"/>
                    </a:lnTo>
                    <a:lnTo>
                      <a:pt x="557" y="39"/>
                    </a:lnTo>
                    <a:lnTo>
                      <a:pt x="547" y="39"/>
                    </a:lnTo>
                    <a:lnTo>
                      <a:pt x="536" y="40"/>
                    </a:lnTo>
                    <a:lnTo>
                      <a:pt x="525" y="43"/>
                    </a:lnTo>
                    <a:lnTo>
                      <a:pt x="525" y="43"/>
                    </a:lnTo>
                    <a:lnTo>
                      <a:pt x="524" y="44"/>
                    </a:lnTo>
                    <a:lnTo>
                      <a:pt x="521" y="45"/>
                    </a:lnTo>
                    <a:lnTo>
                      <a:pt x="517" y="51"/>
                    </a:lnTo>
                    <a:lnTo>
                      <a:pt x="512" y="55"/>
                    </a:lnTo>
                    <a:lnTo>
                      <a:pt x="509" y="58"/>
                    </a:lnTo>
                    <a:lnTo>
                      <a:pt x="506" y="58"/>
                    </a:lnTo>
                    <a:lnTo>
                      <a:pt x="506" y="58"/>
                    </a:lnTo>
                    <a:lnTo>
                      <a:pt x="469" y="58"/>
                    </a:lnTo>
                    <a:lnTo>
                      <a:pt x="469" y="58"/>
                    </a:lnTo>
                    <a:lnTo>
                      <a:pt x="465" y="69"/>
                    </a:lnTo>
                    <a:lnTo>
                      <a:pt x="460" y="81"/>
                    </a:lnTo>
                    <a:lnTo>
                      <a:pt x="453" y="94"/>
                    </a:lnTo>
                    <a:lnTo>
                      <a:pt x="445" y="108"/>
                    </a:lnTo>
                    <a:lnTo>
                      <a:pt x="436" y="120"/>
                    </a:lnTo>
                    <a:lnTo>
                      <a:pt x="430" y="124"/>
                    </a:lnTo>
                    <a:lnTo>
                      <a:pt x="426" y="128"/>
                    </a:lnTo>
                    <a:lnTo>
                      <a:pt x="420" y="130"/>
                    </a:lnTo>
                    <a:lnTo>
                      <a:pt x="414" y="131"/>
                    </a:lnTo>
                    <a:lnTo>
                      <a:pt x="414" y="131"/>
                    </a:lnTo>
                    <a:lnTo>
                      <a:pt x="412" y="131"/>
                    </a:lnTo>
                    <a:lnTo>
                      <a:pt x="407" y="130"/>
                    </a:lnTo>
                    <a:lnTo>
                      <a:pt x="399" y="124"/>
                    </a:lnTo>
                    <a:lnTo>
                      <a:pt x="390" y="117"/>
                    </a:lnTo>
                    <a:lnTo>
                      <a:pt x="380" y="109"/>
                    </a:lnTo>
                    <a:lnTo>
                      <a:pt x="370" y="100"/>
                    </a:lnTo>
                    <a:lnTo>
                      <a:pt x="362" y="91"/>
                    </a:lnTo>
                    <a:lnTo>
                      <a:pt x="358" y="83"/>
                    </a:lnTo>
                    <a:lnTo>
                      <a:pt x="357" y="79"/>
                    </a:lnTo>
                    <a:lnTo>
                      <a:pt x="355" y="76"/>
                    </a:lnTo>
                    <a:lnTo>
                      <a:pt x="355" y="76"/>
                    </a:lnTo>
                    <a:lnTo>
                      <a:pt x="355" y="51"/>
                    </a:lnTo>
                    <a:lnTo>
                      <a:pt x="355" y="51"/>
                    </a:lnTo>
                    <a:lnTo>
                      <a:pt x="351" y="48"/>
                    </a:lnTo>
                    <a:lnTo>
                      <a:pt x="347" y="46"/>
                    </a:lnTo>
                    <a:lnTo>
                      <a:pt x="341" y="39"/>
                    </a:lnTo>
                    <a:lnTo>
                      <a:pt x="334" y="31"/>
                    </a:lnTo>
                    <a:lnTo>
                      <a:pt x="328" y="22"/>
                    </a:lnTo>
                    <a:lnTo>
                      <a:pt x="322" y="14"/>
                    </a:lnTo>
                    <a:lnTo>
                      <a:pt x="315" y="7"/>
                    </a:lnTo>
                    <a:lnTo>
                      <a:pt x="311" y="4"/>
                    </a:lnTo>
                    <a:lnTo>
                      <a:pt x="307" y="1"/>
                    </a:lnTo>
                    <a:lnTo>
                      <a:pt x="303" y="0"/>
                    </a:lnTo>
                    <a:lnTo>
                      <a:pt x="297" y="0"/>
                    </a:lnTo>
                    <a:lnTo>
                      <a:pt x="297" y="0"/>
                    </a:lnTo>
                    <a:lnTo>
                      <a:pt x="285" y="0"/>
                    </a:lnTo>
                    <a:lnTo>
                      <a:pt x="275" y="2"/>
                    </a:lnTo>
                    <a:lnTo>
                      <a:pt x="266" y="5"/>
                    </a:lnTo>
                    <a:lnTo>
                      <a:pt x="258" y="8"/>
                    </a:lnTo>
                    <a:lnTo>
                      <a:pt x="250" y="12"/>
                    </a:lnTo>
                    <a:lnTo>
                      <a:pt x="242" y="16"/>
                    </a:lnTo>
                    <a:lnTo>
                      <a:pt x="228" y="27"/>
                    </a:lnTo>
                    <a:lnTo>
                      <a:pt x="214" y="38"/>
                    </a:lnTo>
                    <a:lnTo>
                      <a:pt x="200" y="48"/>
                    </a:lnTo>
                    <a:lnTo>
                      <a:pt x="185" y="58"/>
                    </a:lnTo>
                    <a:lnTo>
                      <a:pt x="177" y="62"/>
                    </a:lnTo>
                    <a:lnTo>
                      <a:pt x="169" y="65"/>
                    </a:lnTo>
                    <a:lnTo>
                      <a:pt x="169" y="65"/>
                    </a:lnTo>
                    <a:lnTo>
                      <a:pt x="155" y="67"/>
                    </a:lnTo>
                    <a:lnTo>
                      <a:pt x="140" y="67"/>
                    </a:lnTo>
                    <a:lnTo>
                      <a:pt x="113" y="66"/>
                    </a:lnTo>
                    <a:lnTo>
                      <a:pt x="100" y="67"/>
                    </a:lnTo>
                    <a:lnTo>
                      <a:pt x="87" y="69"/>
                    </a:lnTo>
                    <a:lnTo>
                      <a:pt x="82" y="71"/>
                    </a:lnTo>
                    <a:lnTo>
                      <a:pt x="76" y="74"/>
                    </a:lnTo>
                    <a:lnTo>
                      <a:pt x="71" y="78"/>
                    </a:lnTo>
                    <a:lnTo>
                      <a:pt x="66" y="83"/>
                    </a:lnTo>
                    <a:lnTo>
                      <a:pt x="66" y="83"/>
                    </a:lnTo>
                    <a:lnTo>
                      <a:pt x="60" y="78"/>
                    </a:lnTo>
                    <a:lnTo>
                      <a:pt x="52" y="73"/>
                    </a:lnTo>
                    <a:lnTo>
                      <a:pt x="45" y="67"/>
                    </a:lnTo>
                    <a:lnTo>
                      <a:pt x="40" y="66"/>
                    </a:lnTo>
                    <a:lnTo>
                      <a:pt x="37" y="65"/>
                    </a:lnTo>
                    <a:lnTo>
                      <a:pt x="37" y="65"/>
                    </a:lnTo>
                    <a:lnTo>
                      <a:pt x="30" y="66"/>
                    </a:lnTo>
                    <a:lnTo>
                      <a:pt x="26" y="68"/>
                    </a:lnTo>
                    <a:lnTo>
                      <a:pt x="22" y="71"/>
                    </a:lnTo>
                    <a:lnTo>
                      <a:pt x="19" y="75"/>
                    </a:lnTo>
                    <a:lnTo>
                      <a:pt x="16" y="79"/>
                    </a:lnTo>
                    <a:lnTo>
                      <a:pt x="11" y="83"/>
                    </a:lnTo>
                    <a:lnTo>
                      <a:pt x="7" y="88"/>
                    </a:lnTo>
                    <a:lnTo>
                      <a:pt x="0" y="91"/>
                    </a:lnTo>
                    <a:lnTo>
                      <a:pt x="0" y="91"/>
                    </a:lnTo>
                    <a:lnTo>
                      <a:pt x="132" y="488"/>
                    </a:lnTo>
                    <a:lnTo>
                      <a:pt x="132" y="488"/>
                    </a:lnTo>
                    <a:lnTo>
                      <a:pt x="132" y="488"/>
                    </a:lnTo>
                    <a:lnTo>
                      <a:pt x="133" y="494"/>
                    </a:lnTo>
                    <a:lnTo>
                      <a:pt x="137" y="500"/>
                    </a:lnTo>
                    <a:lnTo>
                      <a:pt x="141" y="504"/>
                    </a:lnTo>
                    <a:lnTo>
                      <a:pt x="144" y="505"/>
                    </a:lnTo>
                    <a:lnTo>
                      <a:pt x="146" y="506"/>
                    </a:lnTo>
                    <a:lnTo>
                      <a:pt x="146" y="506"/>
                    </a:lnTo>
                    <a:lnTo>
                      <a:pt x="153" y="505"/>
                    </a:lnTo>
                    <a:lnTo>
                      <a:pt x="159" y="503"/>
                    </a:lnTo>
                    <a:lnTo>
                      <a:pt x="163" y="501"/>
                    </a:lnTo>
                    <a:lnTo>
                      <a:pt x="167" y="496"/>
                    </a:lnTo>
                    <a:lnTo>
                      <a:pt x="170" y="491"/>
                    </a:lnTo>
                    <a:lnTo>
                      <a:pt x="174" y="486"/>
                    </a:lnTo>
                    <a:lnTo>
                      <a:pt x="179" y="475"/>
                    </a:lnTo>
                    <a:lnTo>
                      <a:pt x="184" y="464"/>
                    </a:lnTo>
                    <a:lnTo>
                      <a:pt x="190" y="453"/>
                    </a:lnTo>
                    <a:lnTo>
                      <a:pt x="194" y="449"/>
                    </a:lnTo>
                    <a:lnTo>
                      <a:pt x="198" y="447"/>
                    </a:lnTo>
                    <a:lnTo>
                      <a:pt x="202" y="444"/>
                    </a:lnTo>
                    <a:lnTo>
                      <a:pt x="208" y="443"/>
                    </a:lnTo>
                    <a:lnTo>
                      <a:pt x="208" y="443"/>
                    </a:lnTo>
                    <a:lnTo>
                      <a:pt x="214" y="444"/>
                    </a:lnTo>
                    <a:lnTo>
                      <a:pt x="220" y="447"/>
                    </a:lnTo>
                    <a:lnTo>
                      <a:pt x="234" y="452"/>
                    </a:lnTo>
                    <a:lnTo>
                      <a:pt x="239" y="456"/>
                    </a:lnTo>
                    <a:lnTo>
                      <a:pt x="245" y="460"/>
                    </a:lnTo>
                    <a:lnTo>
                      <a:pt x="248" y="465"/>
                    </a:lnTo>
                    <a:lnTo>
                      <a:pt x="250" y="468"/>
                    </a:lnTo>
                    <a:lnTo>
                      <a:pt x="250" y="468"/>
                    </a:lnTo>
                    <a:lnTo>
                      <a:pt x="251" y="480"/>
                    </a:lnTo>
                    <a:lnTo>
                      <a:pt x="253" y="488"/>
                    </a:lnTo>
                    <a:lnTo>
                      <a:pt x="257" y="494"/>
                    </a:lnTo>
                    <a:lnTo>
                      <a:pt x="260" y="500"/>
                    </a:lnTo>
                    <a:lnTo>
                      <a:pt x="265" y="506"/>
                    </a:lnTo>
                    <a:lnTo>
                      <a:pt x="268" y="514"/>
                    </a:lnTo>
                    <a:lnTo>
                      <a:pt x="270" y="525"/>
                    </a:lnTo>
                    <a:lnTo>
                      <a:pt x="271" y="539"/>
                    </a:lnTo>
                    <a:lnTo>
                      <a:pt x="271" y="539"/>
                    </a:lnTo>
                    <a:lnTo>
                      <a:pt x="276" y="537"/>
                    </a:lnTo>
                    <a:lnTo>
                      <a:pt x="282" y="537"/>
                    </a:lnTo>
                    <a:lnTo>
                      <a:pt x="296" y="537"/>
                    </a:lnTo>
                    <a:lnTo>
                      <a:pt x="327" y="539"/>
                    </a:lnTo>
                    <a:lnTo>
                      <a:pt x="327" y="539"/>
                    </a:lnTo>
                    <a:lnTo>
                      <a:pt x="344" y="537"/>
                    </a:lnTo>
                    <a:lnTo>
                      <a:pt x="359" y="535"/>
                    </a:lnTo>
                    <a:lnTo>
                      <a:pt x="374" y="532"/>
                    </a:lnTo>
                    <a:lnTo>
                      <a:pt x="388" y="528"/>
                    </a:lnTo>
                    <a:lnTo>
                      <a:pt x="414" y="520"/>
                    </a:lnTo>
                    <a:lnTo>
                      <a:pt x="427" y="518"/>
                    </a:lnTo>
                    <a:lnTo>
                      <a:pt x="441" y="517"/>
                    </a:lnTo>
                    <a:lnTo>
                      <a:pt x="441" y="517"/>
                    </a:lnTo>
                    <a:lnTo>
                      <a:pt x="448" y="518"/>
                    </a:lnTo>
                    <a:lnTo>
                      <a:pt x="456" y="519"/>
                    </a:lnTo>
                    <a:lnTo>
                      <a:pt x="463" y="521"/>
                    </a:lnTo>
                    <a:lnTo>
                      <a:pt x="468" y="524"/>
                    </a:lnTo>
                    <a:lnTo>
                      <a:pt x="481" y="532"/>
                    </a:lnTo>
                    <a:lnTo>
                      <a:pt x="492" y="541"/>
                    </a:lnTo>
                    <a:lnTo>
                      <a:pt x="502" y="551"/>
                    </a:lnTo>
                    <a:lnTo>
                      <a:pt x="510" y="563"/>
                    </a:lnTo>
                    <a:lnTo>
                      <a:pt x="517" y="575"/>
                    </a:lnTo>
                    <a:lnTo>
                      <a:pt x="521" y="587"/>
                    </a:lnTo>
                    <a:lnTo>
                      <a:pt x="521" y="587"/>
                    </a:lnTo>
                    <a:lnTo>
                      <a:pt x="532" y="587"/>
                    </a:lnTo>
                    <a:lnTo>
                      <a:pt x="532" y="58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29" name="Freeform 14"/>
              <p:cNvSpPr>
                <a:spLocks noChangeAspect="1"/>
              </p:cNvSpPr>
              <p:nvPr/>
            </p:nvSpPr>
            <p:spPr bwMode="auto">
              <a:xfrm>
                <a:off x="7652175" y="4471809"/>
                <a:ext cx="374086" cy="864172"/>
              </a:xfrm>
              <a:custGeom>
                <a:avLst/>
                <a:gdLst/>
                <a:ahLst/>
                <a:cxnLst>
                  <a:cxn ang="0">
                    <a:pos x="105" y="476"/>
                  </a:cxn>
                  <a:cxn ang="0">
                    <a:pos x="125" y="463"/>
                  </a:cxn>
                  <a:cxn ang="0">
                    <a:pos x="122" y="443"/>
                  </a:cxn>
                  <a:cxn ang="0">
                    <a:pos x="111" y="413"/>
                  </a:cxn>
                  <a:cxn ang="0">
                    <a:pos x="114" y="387"/>
                  </a:cxn>
                  <a:cxn ang="0">
                    <a:pos x="140" y="351"/>
                  </a:cxn>
                  <a:cxn ang="0">
                    <a:pos x="154" y="345"/>
                  </a:cxn>
                  <a:cxn ang="0">
                    <a:pos x="243" y="337"/>
                  </a:cxn>
                  <a:cxn ang="0">
                    <a:pos x="287" y="320"/>
                  </a:cxn>
                  <a:cxn ang="0">
                    <a:pos x="311" y="284"/>
                  </a:cxn>
                  <a:cxn ang="0">
                    <a:pos x="308" y="258"/>
                  </a:cxn>
                  <a:cxn ang="0">
                    <a:pos x="290" y="234"/>
                  </a:cxn>
                  <a:cxn ang="0">
                    <a:pos x="287" y="217"/>
                  </a:cxn>
                  <a:cxn ang="0">
                    <a:pos x="309" y="201"/>
                  </a:cxn>
                  <a:cxn ang="0">
                    <a:pos x="337" y="176"/>
                  </a:cxn>
                  <a:cxn ang="0">
                    <a:pos x="337" y="117"/>
                  </a:cxn>
                  <a:cxn ang="0">
                    <a:pos x="318" y="113"/>
                  </a:cxn>
                  <a:cxn ang="0">
                    <a:pos x="294" y="117"/>
                  </a:cxn>
                  <a:cxn ang="0">
                    <a:pos x="228" y="87"/>
                  </a:cxn>
                  <a:cxn ang="0">
                    <a:pos x="290" y="0"/>
                  </a:cxn>
                  <a:cxn ang="0">
                    <a:pos x="356" y="31"/>
                  </a:cxn>
                  <a:cxn ang="0">
                    <a:pos x="367" y="40"/>
                  </a:cxn>
                  <a:cxn ang="0">
                    <a:pos x="371" y="78"/>
                  </a:cxn>
                  <a:cxn ang="0">
                    <a:pos x="379" y="91"/>
                  </a:cxn>
                  <a:cxn ang="0">
                    <a:pos x="390" y="90"/>
                  </a:cxn>
                  <a:cxn ang="0">
                    <a:pos x="415" y="77"/>
                  </a:cxn>
                  <a:cxn ang="0">
                    <a:pos x="424" y="129"/>
                  </a:cxn>
                  <a:cxn ang="0">
                    <a:pos x="453" y="214"/>
                  </a:cxn>
                  <a:cxn ang="0">
                    <a:pos x="466" y="411"/>
                  </a:cxn>
                  <a:cxn ang="0">
                    <a:pos x="471" y="756"/>
                  </a:cxn>
                  <a:cxn ang="0">
                    <a:pos x="463" y="830"/>
                  </a:cxn>
                  <a:cxn ang="0">
                    <a:pos x="431" y="925"/>
                  </a:cxn>
                  <a:cxn ang="0">
                    <a:pos x="390" y="1000"/>
                  </a:cxn>
                  <a:cxn ang="0">
                    <a:pos x="348" y="1040"/>
                  </a:cxn>
                  <a:cxn ang="0">
                    <a:pos x="313" y="1055"/>
                  </a:cxn>
                  <a:cxn ang="0">
                    <a:pos x="287" y="1056"/>
                  </a:cxn>
                  <a:cxn ang="0">
                    <a:pos x="267" y="1043"/>
                  </a:cxn>
                  <a:cxn ang="0">
                    <a:pos x="250" y="1018"/>
                  </a:cxn>
                  <a:cxn ang="0">
                    <a:pos x="228" y="1022"/>
                  </a:cxn>
                  <a:cxn ang="0">
                    <a:pos x="211" y="1036"/>
                  </a:cxn>
                  <a:cxn ang="0">
                    <a:pos x="202" y="1057"/>
                  </a:cxn>
                  <a:cxn ang="0">
                    <a:pos x="199" y="1133"/>
                  </a:cxn>
                  <a:cxn ang="0">
                    <a:pos x="163" y="1179"/>
                  </a:cxn>
                  <a:cxn ang="0">
                    <a:pos x="149" y="1192"/>
                  </a:cxn>
                  <a:cxn ang="0">
                    <a:pos x="153" y="1211"/>
                  </a:cxn>
                  <a:cxn ang="0">
                    <a:pos x="159" y="1228"/>
                  </a:cxn>
                  <a:cxn ang="0">
                    <a:pos x="129" y="1196"/>
                  </a:cxn>
                  <a:cxn ang="0">
                    <a:pos x="126" y="1168"/>
                  </a:cxn>
                  <a:cxn ang="0">
                    <a:pos x="150" y="1140"/>
                  </a:cxn>
                  <a:cxn ang="0">
                    <a:pos x="158" y="1113"/>
                  </a:cxn>
                  <a:cxn ang="0">
                    <a:pos x="136" y="1049"/>
                  </a:cxn>
                  <a:cxn ang="0">
                    <a:pos x="74" y="957"/>
                  </a:cxn>
                  <a:cxn ang="0">
                    <a:pos x="14" y="903"/>
                  </a:cxn>
                  <a:cxn ang="0">
                    <a:pos x="1" y="875"/>
                  </a:cxn>
                  <a:cxn ang="0">
                    <a:pos x="21" y="787"/>
                  </a:cxn>
                  <a:cxn ang="0">
                    <a:pos x="52" y="761"/>
                  </a:cxn>
                  <a:cxn ang="0">
                    <a:pos x="154" y="744"/>
                  </a:cxn>
                  <a:cxn ang="0">
                    <a:pos x="144" y="662"/>
                  </a:cxn>
                  <a:cxn ang="0">
                    <a:pos x="105" y="530"/>
                  </a:cxn>
                  <a:cxn ang="0">
                    <a:pos x="84" y="478"/>
                  </a:cxn>
                </a:cxnLst>
                <a:rect l="0" t="0" r="r" b="b"/>
                <a:pathLst>
                  <a:path w="473" h="1240">
                    <a:moveTo>
                      <a:pt x="84" y="478"/>
                    </a:moveTo>
                    <a:lnTo>
                      <a:pt x="84" y="478"/>
                    </a:lnTo>
                    <a:lnTo>
                      <a:pt x="98" y="476"/>
                    </a:lnTo>
                    <a:lnTo>
                      <a:pt x="105" y="476"/>
                    </a:lnTo>
                    <a:lnTo>
                      <a:pt x="112" y="474"/>
                    </a:lnTo>
                    <a:lnTo>
                      <a:pt x="117" y="472"/>
                    </a:lnTo>
                    <a:lnTo>
                      <a:pt x="121" y="468"/>
                    </a:lnTo>
                    <a:lnTo>
                      <a:pt x="125" y="463"/>
                    </a:lnTo>
                    <a:lnTo>
                      <a:pt x="125" y="456"/>
                    </a:lnTo>
                    <a:lnTo>
                      <a:pt x="125" y="456"/>
                    </a:lnTo>
                    <a:lnTo>
                      <a:pt x="125" y="449"/>
                    </a:lnTo>
                    <a:lnTo>
                      <a:pt x="122" y="443"/>
                    </a:lnTo>
                    <a:lnTo>
                      <a:pt x="118" y="433"/>
                    </a:lnTo>
                    <a:lnTo>
                      <a:pt x="115" y="427"/>
                    </a:lnTo>
                    <a:lnTo>
                      <a:pt x="113" y="420"/>
                    </a:lnTo>
                    <a:lnTo>
                      <a:pt x="111" y="413"/>
                    </a:lnTo>
                    <a:lnTo>
                      <a:pt x="111" y="404"/>
                    </a:lnTo>
                    <a:lnTo>
                      <a:pt x="111" y="404"/>
                    </a:lnTo>
                    <a:lnTo>
                      <a:pt x="112" y="396"/>
                    </a:lnTo>
                    <a:lnTo>
                      <a:pt x="114" y="387"/>
                    </a:lnTo>
                    <a:lnTo>
                      <a:pt x="119" y="377"/>
                    </a:lnTo>
                    <a:lnTo>
                      <a:pt x="126" y="367"/>
                    </a:lnTo>
                    <a:lnTo>
                      <a:pt x="133" y="359"/>
                    </a:lnTo>
                    <a:lnTo>
                      <a:pt x="140" y="351"/>
                    </a:lnTo>
                    <a:lnTo>
                      <a:pt x="148" y="346"/>
                    </a:lnTo>
                    <a:lnTo>
                      <a:pt x="151" y="345"/>
                    </a:lnTo>
                    <a:lnTo>
                      <a:pt x="154" y="345"/>
                    </a:lnTo>
                    <a:lnTo>
                      <a:pt x="154" y="345"/>
                    </a:lnTo>
                    <a:lnTo>
                      <a:pt x="179" y="344"/>
                    </a:lnTo>
                    <a:lnTo>
                      <a:pt x="204" y="343"/>
                    </a:lnTo>
                    <a:lnTo>
                      <a:pt x="230" y="341"/>
                    </a:lnTo>
                    <a:lnTo>
                      <a:pt x="243" y="337"/>
                    </a:lnTo>
                    <a:lnTo>
                      <a:pt x="256" y="335"/>
                    </a:lnTo>
                    <a:lnTo>
                      <a:pt x="267" y="330"/>
                    </a:lnTo>
                    <a:lnTo>
                      <a:pt x="278" y="326"/>
                    </a:lnTo>
                    <a:lnTo>
                      <a:pt x="287" y="320"/>
                    </a:lnTo>
                    <a:lnTo>
                      <a:pt x="296" y="313"/>
                    </a:lnTo>
                    <a:lnTo>
                      <a:pt x="303" y="304"/>
                    </a:lnTo>
                    <a:lnTo>
                      <a:pt x="308" y="295"/>
                    </a:lnTo>
                    <a:lnTo>
                      <a:pt x="311" y="284"/>
                    </a:lnTo>
                    <a:lnTo>
                      <a:pt x="312" y="272"/>
                    </a:lnTo>
                    <a:lnTo>
                      <a:pt x="312" y="272"/>
                    </a:lnTo>
                    <a:lnTo>
                      <a:pt x="311" y="265"/>
                    </a:lnTo>
                    <a:lnTo>
                      <a:pt x="308" y="258"/>
                    </a:lnTo>
                    <a:lnTo>
                      <a:pt x="304" y="252"/>
                    </a:lnTo>
                    <a:lnTo>
                      <a:pt x="299" y="246"/>
                    </a:lnTo>
                    <a:lnTo>
                      <a:pt x="295" y="239"/>
                    </a:lnTo>
                    <a:lnTo>
                      <a:pt x="290" y="234"/>
                    </a:lnTo>
                    <a:lnTo>
                      <a:pt x="288" y="227"/>
                    </a:lnTo>
                    <a:lnTo>
                      <a:pt x="287" y="220"/>
                    </a:lnTo>
                    <a:lnTo>
                      <a:pt x="287" y="220"/>
                    </a:lnTo>
                    <a:lnTo>
                      <a:pt x="287" y="217"/>
                    </a:lnTo>
                    <a:lnTo>
                      <a:pt x="289" y="215"/>
                    </a:lnTo>
                    <a:lnTo>
                      <a:pt x="294" y="211"/>
                    </a:lnTo>
                    <a:lnTo>
                      <a:pt x="299" y="206"/>
                    </a:lnTo>
                    <a:lnTo>
                      <a:pt x="309" y="201"/>
                    </a:lnTo>
                    <a:lnTo>
                      <a:pt x="317" y="196"/>
                    </a:lnTo>
                    <a:lnTo>
                      <a:pt x="325" y="190"/>
                    </a:lnTo>
                    <a:lnTo>
                      <a:pt x="333" y="184"/>
                    </a:lnTo>
                    <a:lnTo>
                      <a:pt x="337" y="176"/>
                    </a:lnTo>
                    <a:lnTo>
                      <a:pt x="337" y="176"/>
                    </a:lnTo>
                    <a:lnTo>
                      <a:pt x="337" y="117"/>
                    </a:lnTo>
                    <a:lnTo>
                      <a:pt x="337" y="117"/>
                    </a:lnTo>
                    <a:lnTo>
                      <a:pt x="337" y="117"/>
                    </a:lnTo>
                    <a:lnTo>
                      <a:pt x="331" y="114"/>
                    </a:lnTo>
                    <a:lnTo>
                      <a:pt x="326" y="113"/>
                    </a:lnTo>
                    <a:lnTo>
                      <a:pt x="321" y="113"/>
                    </a:lnTo>
                    <a:lnTo>
                      <a:pt x="318" y="113"/>
                    </a:lnTo>
                    <a:lnTo>
                      <a:pt x="309" y="116"/>
                    </a:lnTo>
                    <a:lnTo>
                      <a:pt x="302" y="117"/>
                    </a:lnTo>
                    <a:lnTo>
                      <a:pt x="294" y="117"/>
                    </a:lnTo>
                    <a:lnTo>
                      <a:pt x="294" y="117"/>
                    </a:lnTo>
                    <a:lnTo>
                      <a:pt x="289" y="116"/>
                    </a:lnTo>
                    <a:lnTo>
                      <a:pt x="281" y="113"/>
                    </a:lnTo>
                    <a:lnTo>
                      <a:pt x="258" y="102"/>
                    </a:lnTo>
                    <a:lnTo>
                      <a:pt x="228" y="87"/>
                    </a:lnTo>
                    <a:lnTo>
                      <a:pt x="228" y="87"/>
                    </a:lnTo>
                    <a:lnTo>
                      <a:pt x="290" y="0"/>
                    </a:lnTo>
                    <a:lnTo>
                      <a:pt x="290" y="0"/>
                    </a:lnTo>
                    <a:lnTo>
                      <a:pt x="290" y="0"/>
                    </a:lnTo>
                    <a:lnTo>
                      <a:pt x="296" y="1"/>
                    </a:lnTo>
                    <a:lnTo>
                      <a:pt x="305" y="5"/>
                    </a:lnTo>
                    <a:lnTo>
                      <a:pt x="332" y="17"/>
                    </a:lnTo>
                    <a:lnTo>
                      <a:pt x="356" y="31"/>
                    </a:lnTo>
                    <a:lnTo>
                      <a:pt x="364" y="37"/>
                    </a:lnTo>
                    <a:lnTo>
                      <a:pt x="366" y="39"/>
                    </a:lnTo>
                    <a:lnTo>
                      <a:pt x="367" y="40"/>
                    </a:lnTo>
                    <a:lnTo>
                      <a:pt x="367" y="40"/>
                    </a:lnTo>
                    <a:lnTo>
                      <a:pt x="370" y="46"/>
                    </a:lnTo>
                    <a:lnTo>
                      <a:pt x="371" y="53"/>
                    </a:lnTo>
                    <a:lnTo>
                      <a:pt x="371" y="70"/>
                    </a:lnTo>
                    <a:lnTo>
                      <a:pt x="371" y="78"/>
                    </a:lnTo>
                    <a:lnTo>
                      <a:pt x="373" y="85"/>
                    </a:lnTo>
                    <a:lnTo>
                      <a:pt x="374" y="87"/>
                    </a:lnTo>
                    <a:lnTo>
                      <a:pt x="377" y="90"/>
                    </a:lnTo>
                    <a:lnTo>
                      <a:pt x="379" y="91"/>
                    </a:lnTo>
                    <a:lnTo>
                      <a:pt x="382" y="92"/>
                    </a:lnTo>
                    <a:lnTo>
                      <a:pt x="382" y="92"/>
                    </a:lnTo>
                    <a:lnTo>
                      <a:pt x="386" y="91"/>
                    </a:lnTo>
                    <a:lnTo>
                      <a:pt x="390" y="90"/>
                    </a:lnTo>
                    <a:lnTo>
                      <a:pt x="397" y="85"/>
                    </a:lnTo>
                    <a:lnTo>
                      <a:pt x="405" y="81"/>
                    </a:lnTo>
                    <a:lnTo>
                      <a:pt x="410" y="78"/>
                    </a:lnTo>
                    <a:lnTo>
                      <a:pt x="415" y="77"/>
                    </a:lnTo>
                    <a:lnTo>
                      <a:pt x="415" y="77"/>
                    </a:lnTo>
                    <a:lnTo>
                      <a:pt x="417" y="93"/>
                    </a:lnTo>
                    <a:lnTo>
                      <a:pt x="420" y="110"/>
                    </a:lnTo>
                    <a:lnTo>
                      <a:pt x="424" y="129"/>
                    </a:lnTo>
                    <a:lnTo>
                      <a:pt x="430" y="148"/>
                    </a:lnTo>
                    <a:lnTo>
                      <a:pt x="436" y="169"/>
                    </a:lnTo>
                    <a:lnTo>
                      <a:pt x="443" y="191"/>
                    </a:lnTo>
                    <a:lnTo>
                      <a:pt x="453" y="214"/>
                    </a:lnTo>
                    <a:lnTo>
                      <a:pt x="463" y="238"/>
                    </a:lnTo>
                    <a:lnTo>
                      <a:pt x="463" y="238"/>
                    </a:lnTo>
                    <a:lnTo>
                      <a:pt x="464" y="324"/>
                    </a:lnTo>
                    <a:lnTo>
                      <a:pt x="466" y="411"/>
                    </a:lnTo>
                    <a:lnTo>
                      <a:pt x="471" y="579"/>
                    </a:lnTo>
                    <a:lnTo>
                      <a:pt x="473" y="656"/>
                    </a:lnTo>
                    <a:lnTo>
                      <a:pt x="472" y="725"/>
                    </a:lnTo>
                    <a:lnTo>
                      <a:pt x="471" y="756"/>
                    </a:lnTo>
                    <a:lnTo>
                      <a:pt x="470" y="784"/>
                    </a:lnTo>
                    <a:lnTo>
                      <a:pt x="466" y="808"/>
                    </a:lnTo>
                    <a:lnTo>
                      <a:pt x="463" y="830"/>
                    </a:lnTo>
                    <a:lnTo>
                      <a:pt x="463" y="830"/>
                    </a:lnTo>
                    <a:lnTo>
                      <a:pt x="456" y="855"/>
                    </a:lnTo>
                    <a:lnTo>
                      <a:pt x="446" y="888"/>
                    </a:lnTo>
                    <a:lnTo>
                      <a:pt x="439" y="907"/>
                    </a:lnTo>
                    <a:lnTo>
                      <a:pt x="431" y="925"/>
                    </a:lnTo>
                    <a:lnTo>
                      <a:pt x="423" y="945"/>
                    </a:lnTo>
                    <a:lnTo>
                      <a:pt x="413" y="964"/>
                    </a:lnTo>
                    <a:lnTo>
                      <a:pt x="402" y="983"/>
                    </a:lnTo>
                    <a:lnTo>
                      <a:pt x="390" y="1000"/>
                    </a:lnTo>
                    <a:lnTo>
                      <a:pt x="378" y="1015"/>
                    </a:lnTo>
                    <a:lnTo>
                      <a:pt x="363" y="1029"/>
                    </a:lnTo>
                    <a:lnTo>
                      <a:pt x="356" y="1036"/>
                    </a:lnTo>
                    <a:lnTo>
                      <a:pt x="348" y="1040"/>
                    </a:lnTo>
                    <a:lnTo>
                      <a:pt x="340" y="1045"/>
                    </a:lnTo>
                    <a:lnTo>
                      <a:pt x="331" y="1049"/>
                    </a:lnTo>
                    <a:lnTo>
                      <a:pt x="322" y="1053"/>
                    </a:lnTo>
                    <a:lnTo>
                      <a:pt x="313" y="1055"/>
                    </a:lnTo>
                    <a:lnTo>
                      <a:pt x="304" y="1056"/>
                    </a:lnTo>
                    <a:lnTo>
                      <a:pt x="294" y="1056"/>
                    </a:lnTo>
                    <a:lnTo>
                      <a:pt x="294" y="1056"/>
                    </a:lnTo>
                    <a:lnTo>
                      <a:pt x="287" y="1056"/>
                    </a:lnTo>
                    <a:lnTo>
                      <a:pt x="280" y="1054"/>
                    </a:lnTo>
                    <a:lnTo>
                      <a:pt x="274" y="1051"/>
                    </a:lnTo>
                    <a:lnTo>
                      <a:pt x="271" y="1047"/>
                    </a:lnTo>
                    <a:lnTo>
                      <a:pt x="267" y="1043"/>
                    </a:lnTo>
                    <a:lnTo>
                      <a:pt x="264" y="1038"/>
                    </a:lnTo>
                    <a:lnTo>
                      <a:pt x="258" y="1029"/>
                    </a:lnTo>
                    <a:lnTo>
                      <a:pt x="252" y="1021"/>
                    </a:lnTo>
                    <a:lnTo>
                      <a:pt x="250" y="1018"/>
                    </a:lnTo>
                    <a:lnTo>
                      <a:pt x="245" y="1017"/>
                    </a:lnTo>
                    <a:lnTo>
                      <a:pt x="241" y="1016"/>
                    </a:lnTo>
                    <a:lnTo>
                      <a:pt x="235" y="1018"/>
                    </a:lnTo>
                    <a:lnTo>
                      <a:pt x="228" y="1022"/>
                    </a:lnTo>
                    <a:lnTo>
                      <a:pt x="220" y="1028"/>
                    </a:lnTo>
                    <a:lnTo>
                      <a:pt x="220" y="1028"/>
                    </a:lnTo>
                    <a:lnTo>
                      <a:pt x="215" y="1032"/>
                    </a:lnTo>
                    <a:lnTo>
                      <a:pt x="211" y="1036"/>
                    </a:lnTo>
                    <a:lnTo>
                      <a:pt x="207" y="1040"/>
                    </a:lnTo>
                    <a:lnTo>
                      <a:pt x="205" y="1046"/>
                    </a:lnTo>
                    <a:lnTo>
                      <a:pt x="203" y="1052"/>
                    </a:lnTo>
                    <a:lnTo>
                      <a:pt x="202" y="1057"/>
                    </a:lnTo>
                    <a:lnTo>
                      <a:pt x="199" y="1071"/>
                    </a:lnTo>
                    <a:lnTo>
                      <a:pt x="199" y="1087"/>
                    </a:lnTo>
                    <a:lnTo>
                      <a:pt x="199" y="1108"/>
                    </a:lnTo>
                    <a:lnTo>
                      <a:pt x="199" y="1133"/>
                    </a:lnTo>
                    <a:lnTo>
                      <a:pt x="198" y="1163"/>
                    </a:lnTo>
                    <a:lnTo>
                      <a:pt x="198" y="1163"/>
                    </a:lnTo>
                    <a:lnTo>
                      <a:pt x="178" y="1171"/>
                    </a:lnTo>
                    <a:lnTo>
                      <a:pt x="163" y="1179"/>
                    </a:lnTo>
                    <a:lnTo>
                      <a:pt x="157" y="1182"/>
                    </a:lnTo>
                    <a:lnTo>
                      <a:pt x="153" y="1185"/>
                    </a:lnTo>
                    <a:lnTo>
                      <a:pt x="150" y="1189"/>
                    </a:lnTo>
                    <a:lnTo>
                      <a:pt x="149" y="1192"/>
                    </a:lnTo>
                    <a:lnTo>
                      <a:pt x="148" y="1197"/>
                    </a:lnTo>
                    <a:lnTo>
                      <a:pt x="149" y="1200"/>
                    </a:lnTo>
                    <a:lnTo>
                      <a:pt x="151" y="1205"/>
                    </a:lnTo>
                    <a:lnTo>
                      <a:pt x="153" y="1211"/>
                    </a:lnTo>
                    <a:lnTo>
                      <a:pt x="163" y="1224"/>
                    </a:lnTo>
                    <a:lnTo>
                      <a:pt x="176" y="1240"/>
                    </a:lnTo>
                    <a:lnTo>
                      <a:pt x="176" y="1240"/>
                    </a:lnTo>
                    <a:lnTo>
                      <a:pt x="159" y="1228"/>
                    </a:lnTo>
                    <a:lnTo>
                      <a:pt x="144" y="1215"/>
                    </a:lnTo>
                    <a:lnTo>
                      <a:pt x="138" y="1208"/>
                    </a:lnTo>
                    <a:lnTo>
                      <a:pt x="134" y="1202"/>
                    </a:lnTo>
                    <a:lnTo>
                      <a:pt x="129" y="1196"/>
                    </a:lnTo>
                    <a:lnTo>
                      <a:pt x="127" y="1189"/>
                    </a:lnTo>
                    <a:lnTo>
                      <a:pt x="125" y="1182"/>
                    </a:lnTo>
                    <a:lnTo>
                      <a:pt x="125" y="1175"/>
                    </a:lnTo>
                    <a:lnTo>
                      <a:pt x="126" y="1168"/>
                    </a:lnTo>
                    <a:lnTo>
                      <a:pt x="129" y="1161"/>
                    </a:lnTo>
                    <a:lnTo>
                      <a:pt x="134" y="1154"/>
                    </a:lnTo>
                    <a:lnTo>
                      <a:pt x="142" y="1147"/>
                    </a:lnTo>
                    <a:lnTo>
                      <a:pt x="150" y="1140"/>
                    </a:lnTo>
                    <a:lnTo>
                      <a:pt x="161" y="1133"/>
                    </a:lnTo>
                    <a:lnTo>
                      <a:pt x="161" y="1133"/>
                    </a:lnTo>
                    <a:lnTo>
                      <a:pt x="160" y="1124"/>
                    </a:lnTo>
                    <a:lnTo>
                      <a:pt x="158" y="1113"/>
                    </a:lnTo>
                    <a:lnTo>
                      <a:pt x="150" y="1086"/>
                    </a:lnTo>
                    <a:lnTo>
                      <a:pt x="142" y="1063"/>
                    </a:lnTo>
                    <a:lnTo>
                      <a:pt x="136" y="1049"/>
                    </a:lnTo>
                    <a:lnTo>
                      <a:pt x="136" y="1049"/>
                    </a:lnTo>
                    <a:lnTo>
                      <a:pt x="113" y="1010"/>
                    </a:lnTo>
                    <a:lnTo>
                      <a:pt x="102" y="994"/>
                    </a:lnTo>
                    <a:lnTo>
                      <a:pt x="92" y="979"/>
                    </a:lnTo>
                    <a:lnTo>
                      <a:pt x="74" y="957"/>
                    </a:lnTo>
                    <a:lnTo>
                      <a:pt x="58" y="940"/>
                    </a:lnTo>
                    <a:lnTo>
                      <a:pt x="43" y="926"/>
                    </a:lnTo>
                    <a:lnTo>
                      <a:pt x="29" y="915"/>
                    </a:lnTo>
                    <a:lnTo>
                      <a:pt x="14" y="903"/>
                    </a:lnTo>
                    <a:lnTo>
                      <a:pt x="0" y="888"/>
                    </a:lnTo>
                    <a:lnTo>
                      <a:pt x="0" y="888"/>
                    </a:lnTo>
                    <a:lnTo>
                      <a:pt x="0" y="884"/>
                    </a:lnTo>
                    <a:lnTo>
                      <a:pt x="1" y="875"/>
                    </a:lnTo>
                    <a:lnTo>
                      <a:pt x="10" y="846"/>
                    </a:lnTo>
                    <a:lnTo>
                      <a:pt x="14" y="827"/>
                    </a:lnTo>
                    <a:lnTo>
                      <a:pt x="19" y="807"/>
                    </a:lnTo>
                    <a:lnTo>
                      <a:pt x="21" y="787"/>
                    </a:lnTo>
                    <a:lnTo>
                      <a:pt x="22" y="768"/>
                    </a:lnTo>
                    <a:lnTo>
                      <a:pt x="22" y="768"/>
                    </a:lnTo>
                    <a:lnTo>
                      <a:pt x="36" y="763"/>
                    </a:lnTo>
                    <a:lnTo>
                      <a:pt x="52" y="761"/>
                    </a:lnTo>
                    <a:lnTo>
                      <a:pt x="88" y="756"/>
                    </a:lnTo>
                    <a:lnTo>
                      <a:pt x="125" y="751"/>
                    </a:lnTo>
                    <a:lnTo>
                      <a:pt x="141" y="748"/>
                    </a:lnTo>
                    <a:lnTo>
                      <a:pt x="154" y="744"/>
                    </a:lnTo>
                    <a:lnTo>
                      <a:pt x="154" y="744"/>
                    </a:lnTo>
                    <a:lnTo>
                      <a:pt x="152" y="723"/>
                    </a:lnTo>
                    <a:lnTo>
                      <a:pt x="150" y="702"/>
                    </a:lnTo>
                    <a:lnTo>
                      <a:pt x="144" y="662"/>
                    </a:lnTo>
                    <a:lnTo>
                      <a:pt x="136" y="625"/>
                    </a:lnTo>
                    <a:lnTo>
                      <a:pt x="127" y="591"/>
                    </a:lnTo>
                    <a:lnTo>
                      <a:pt x="117" y="560"/>
                    </a:lnTo>
                    <a:lnTo>
                      <a:pt x="105" y="530"/>
                    </a:lnTo>
                    <a:lnTo>
                      <a:pt x="84" y="474"/>
                    </a:lnTo>
                    <a:lnTo>
                      <a:pt x="84" y="474"/>
                    </a:lnTo>
                    <a:lnTo>
                      <a:pt x="84" y="478"/>
                    </a:lnTo>
                    <a:lnTo>
                      <a:pt x="84" y="478"/>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0" name="Freeform 15"/>
              <p:cNvSpPr>
                <a:spLocks noChangeAspect="1"/>
              </p:cNvSpPr>
              <p:nvPr/>
            </p:nvSpPr>
            <p:spPr bwMode="auto">
              <a:xfrm>
                <a:off x="3938266" y="2366347"/>
                <a:ext cx="1386970" cy="2865265"/>
              </a:xfrm>
              <a:custGeom>
                <a:avLst/>
                <a:gdLst/>
                <a:ahLst/>
                <a:cxnLst>
                  <a:cxn ang="0">
                    <a:pos x="117" y="1687"/>
                  </a:cxn>
                  <a:cxn ang="0">
                    <a:pos x="232" y="1982"/>
                  </a:cxn>
                  <a:cxn ang="0">
                    <a:pos x="319" y="2178"/>
                  </a:cxn>
                  <a:cxn ang="0">
                    <a:pos x="279" y="2383"/>
                  </a:cxn>
                  <a:cxn ang="0">
                    <a:pos x="202" y="2499"/>
                  </a:cxn>
                  <a:cxn ang="0">
                    <a:pos x="285" y="2641"/>
                  </a:cxn>
                  <a:cxn ang="0">
                    <a:pos x="193" y="2781"/>
                  </a:cxn>
                  <a:cxn ang="0">
                    <a:pos x="342" y="2879"/>
                  </a:cxn>
                  <a:cxn ang="0">
                    <a:pos x="481" y="3009"/>
                  </a:cxn>
                  <a:cxn ang="0">
                    <a:pos x="510" y="3176"/>
                  </a:cxn>
                  <a:cxn ang="0">
                    <a:pos x="480" y="3405"/>
                  </a:cxn>
                  <a:cxn ang="0">
                    <a:pos x="485" y="3556"/>
                  </a:cxn>
                  <a:cxn ang="0">
                    <a:pos x="613" y="3620"/>
                  </a:cxn>
                  <a:cxn ang="0">
                    <a:pos x="756" y="3872"/>
                  </a:cxn>
                  <a:cxn ang="0">
                    <a:pos x="658" y="4013"/>
                  </a:cxn>
                  <a:cxn ang="0">
                    <a:pos x="857" y="4092"/>
                  </a:cxn>
                  <a:cxn ang="0">
                    <a:pos x="993" y="3873"/>
                  </a:cxn>
                  <a:cxn ang="0">
                    <a:pos x="1123" y="3785"/>
                  </a:cxn>
                  <a:cxn ang="0">
                    <a:pos x="1147" y="3662"/>
                  </a:cxn>
                  <a:cxn ang="0">
                    <a:pos x="1139" y="3497"/>
                  </a:cxn>
                  <a:cxn ang="0">
                    <a:pos x="1178" y="3301"/>
                  </a:cxn>
                  <a:cxn ang="0">
                    <a:pos x="1308" y="3153"/>
                  </a:cxn>
                  <a:cxn ang="0">
                    <a:pos x="1436" y="3199"/>
                  </a:cxn>
                  <a:cxn ang="0">
                    <a:pos x="1475" y="3057"/>
                  </a:cxn>
                  <a:cxn ang="0">
                    <a:pos x="1521" y="2928"/>
                  </a:cxn>
                  <a:cxn ang="0">
                    <a:pos x="1675" y="2967"/>
                  </a:cxn>
                  <a:cxn ang="0">
                    <a:pos x="1705" y="2842"/>
                  </a:cxn>
                  <a:cxn ang="0">
                    <a:pos x="1705" y="2714"/>
                  </a:cxn>
                  <a:cxn ang="0">
                    <a:pos x="1625" y="2548"/>
                  </a:cxn>
                  <a:cxn ang="0">
                    <a:pos x="1709" y="2416"/>
                  </a:cxn>
                  <a:cxn ang="0">
                    <a:pos x="1665" y="2288"/>
                  </a:cxn>
                  <a:cxn ang="0">
                    <a:pos x="1672" y="2136"/>
                  </a:cxn>
                  <a:cxn ang="0">
                    <a:pos x="1656" y="2064"/>
                  </a:cxn>
                  <a:cxn ang="0">
                    <a:pos x="1603" y="1880"/>
                  </a:cxn>
                  <a:cxn ang="0">
                    <a:pos x="1506" y="1703"/>
                  </a:cxn>
                  <a:cxn ang="0">
                    <a:pos x="1504" y="1431"/>
                  </a:cxn>
                  <a:cxn ang="0">
                    <a:pos x="1576" y="1208"/>
                  </a:cxn>
                  <a:cxn ang="0">
                    <a:pos x="1674" y="960"/>
                  </a:cxn>
                  <a:cxn ang="0">
                    <a:pos x="1595" y="802"/>
                  </a:cxn>
                  <a:cxn ang="0">
                    <a:pos x="1488" y="601"/>
                  </a:cxn>
                  <a:cxn ang="0">
                    <a:pos x="1457" y="618"/>
                  </a:cxn>
                  <a:cxn ang="0">
                    <a:pos x="1308" y="705"/>
                  </a:cxn>
                  <a:cxn ang="0">
                    <a:pos x="1460" y="193"/>
                  </a:cxn>
                  <a:cxn ang="0">
                    <a:pos x="1228" y="173"/>
                  </a:cxn>
                  <a:cxn ang="0">
                    <a:pos x="1167" y="86"/>
                  </a:cxn>
                  <a:cxn ang="0">
                    <a:pos x="1055" y="2"/>
                  </a:cxn>
                  <a:cxn ang="0">
                    <a:pos x="961" y="231"/>
                  </a:cxn>
                  <a:cxn ang="0">
                    <a:pos x="877" y="294"/>
                  </a:cxn>
                  <a:cxn ang="0">
                    <a:pos x="783" y="300"/>
                  </a:cxn>
                  <a:cxn ang="0">
                    <a:pos x="682" y="375"/>
                  </a:cxn>
                  <a:cxn ang="0">
                    <a:pos x="439" y="642"/>
                  </a:cxn>
                  <a:cxn ang="0">
                    <a:pos x="179" y="702"/>
                  </a:cxn>
                  <a:cxn ang="0">
                    <a:pos x="144" y="901"/>
                  </a:cxn>
                  <a:cxn ang="0">
                    <a:pos x="256" y="1039"/>
                  </a:cxn>
                  <a:cxn ang="0">
                    <a:pos x="210" y="1282"/>
                  </a:cxn>
                  <a:cxn ang="0">
                    <a:pos x="166" y="1233"/>
                  </a:cxn>
                  <a:cxn ang="0">
                    <a:pos x="162" y="1012"/>
                  </a:cxn>
                  <a:cxn ang="0">
                    <a:pos x="36" y="934"/>
                  </a:cxn>
                  <a:cxn ang="0">
                    <a:pos x="57" y="1046"/>
                  </a:cxn>
                  <a:cxn ang="0">
                    <a:pos x="70" y="1234"/>
                  </a:cxn>
                  <a:cxn ang="0">
                    <a:pos x="103" y="1416"/>
                  </a:cxn>
                  <a:cxn ang="0">
                    <a:pos x="162" y="1530"/>
                  </a:cxn>
                </a:cxnLst>
                <a:rect l="0" t="0" r="r" b="b"/>
                <a:pathLst>
                  <a:path w="1749" h="4117">
                    <a:moveTo>
                      <a:pt x="169" y="1560"/>
                    </a:moveTo>
                    <a:lnTo>
                      <a:pt x="166" y="1548"/>
                    </a:lnTo>
                    <a:lnTo>
                      <a:pt x="166" y="1548"/>
                    </a:lnTo>
                    <a:lnTo>
                      <a:pt x="169" y="1560"/>
                    </a:lnTo>
                    <a:lnTo>
                      <a:pt x="166" y="1560"/>
                    </a:lnTo>
                    <a:lnTo>
                      <a:pt x="166" y="1560"/>
                    </a:lnTo>
                    <a:lnTo>
                      <a:pt x="166" y="1560"/>
                    </a:lnTo>
                    <a:lnTo>
                      <a:pt x="164" y="1566"/>
                    </a:lnTo>
                    <a:lnTo>
                      <a:pt x="163" y="1573"/>
                    </a:lnTo>
                    <a:lnTo>
                      <a:pt x="161" y="1580"/>
                    </a:lnTo>
                    <a:lnTo>
                      <a:pt x="159" y="1588"/>
                    </a:lnTo>
                    <a:lnTo>
                      <a:pt x="154" y="1595"/>
                    </a:lnTo>
                    <a:lnTo>
                      <a:pt x="151" y="1600"/>
                    </a:lnTo>
                    <a:lnTo>
                      <a:pt x="145" y="1606"/>
                    </a:lnTo>
                    <a:lnTo>
                      <a:pt x="140" y="1611"/>
                    </a:lnTo>
                    <a:lnTo>
                      <a:pt x="140" y="1611"/>
                    </a:lnTo>
                    <a:lnTo>
                      <a:pt x="130" y="1613"/>
                    </a:lnTo>
                    <a:lnTo>
                      <a:pt x="120" y="1615"/>
                    </a:lnTo>
                    <a:lnTo>
                      <a:pt x="114" y="1616"/>
                    </a:lnTo>
                    <a:lnTo>
                      <a:pt x="110" y="1620"/>
                    </a:lnTo>
                    <a:lnTo>
                      <a:pt x="107" y="1624"/>
                    </a:lnTo>
                    <a:lnTo>
                      <a:pt x="107" y="1630"/>
                    </a:lnTo>
                    <a:lnTo>
                      <a:pt x="107" y="1630"/>
                    </a:lnTo>
                    <a:lnTo>
                      <a:pt x="117" y="1687"/>
                    </a:lnTo>
                    <a:lnTo>
                      <a:pt x="125" y="1729"/>
                    </a:lnTo>
                    <a:lnTo>
                      <a:pt x="129" y="1745"/>
                    </a:lnTo>
                    <a:lnTo>
                      <a:pt x="132" y="1754"/>
                    </a:lnTo>
                    <a:lnTo>
                      <a:pt x="132" y="1754"/>
                    </a:lnTo>
                    <a:lnTo>
                      <a:pt x="139" y="1761"/>
                    </a:lnTo>
                    <a:lnTo>
                      <a:pt x="145" y="1767"/>
                    </a:lnTo>
                    <a:lnTo>
                      <a:pt x="155" y="1775"/>
                    </a:lnTo>
                    <a:lnTo>
                      <a:pt x="160" y="1780"/>
                    </a:lnTo>
                    <a:lnTo>
                      <a:pt x="162" y="1786"/>
                    </a:lnTo>
                    <a:lnTo>
                      <a:pt x="164" y="1795"/>
                    </a:lnTo>
                    <a:lnTo>
                      <a:pt x="166" y="1806"/>
                    </a:lnTo>
                    <a:lnTo>
                      <a:pt x="166" y="1806"/>
                    </a:lnTo>
                    <a:lnTo>
                      <a:pt x="166" y="1905"/>
                    </a:lnTo>
                    <a:lnTo>
                      <a:pt x="166" y="1905"/>
                    </a:lnTo>
                    <a:lnTo>
                      <a:pt x="166" y="1913"/>
                    </a:lnTo>
                    <a:lnTo>
                      <a:pt x="167" y="1920"/>
                    </a:lnTo>
                    <a:lnTo>
                      <a:pt x="169" y="1927"/>
                    </a:lnTo>
                    <a:lnTo>
                      <a:pt x="171" y="1933"/>
                    </a:lnTo>
                    <a:lnTo>
                      <a:pt x="175" y="1939"/>
                    </a:lnTo>
                    <a:lnTo>
                      <a:pt x="178" y="1944"/>
                    </a:lnTo>
                    <a:lnTo>
                      <a:pt x="187" y="1954"/>
                    </a:lnTo>
                    <a:lnTo>
                      <a:pt x="198" y="1962"/>
                    </a:lnTo>
                    <a:lnTo>
                      <a:pt x="209" y="1968"/>
                    </a:lnTo>
                    <a:lnTo>
                      <a:pt x="232" y="1982"/>
                    </a:lnTo>
                    <a:lnTo>
                      <a:pt x="232" y="1982"/>
                    </a:lnTo>
                    <a:lnTo>
                      <a:pt x="236" y="2052"/>
                    </a:lnTo>
                    <a:lnTo>
                      <a:pt x="236" y="2052"/>
                    </a:lnTo>
                    <a:lnTo>
                      <a:pt x="236" y="2052"/>
                    </a:lnTo>
                    <a:lnTo>
                      <a:pt x="231" y="2057"/>
                    </a:lnTo>
                    <a:lnTo>
                      <a:pt x="227" y="2064"/>
                    </a:lnTo>
                    <a:lnTo>
                      <a:pt x="222" y="2072"/>
                    </a:lnTo>
                    <a:lnTo>
                      <a:pt x="221" y="2077"/>
                    </a:lnTo>
                    <a:lnTo>
                      <a:pt x="221" y="2081"/>
                    </a:lnTo>
                    <a:lnTo>
                      <a:pt x="221" y="2081"/>
                    </a:lnTo>
                    <a:lnTo>
                      <a:pt x="221" y="2086"/>
                    </a:lnTo>
                    <a:lnTo>
                      <a:pt x="223" y="2090"/>
                    </a:lnTo>
                    <a:lnTo>
                      <a:pt x="227" y="2095"/>
                    </a:lnTo>
                    <a:lnTo>
                      <a:pt x="231" y="2100"/>
                    </a:lnTo>
                    <a:lnTo>
                      <a:pt x="243" y="2107"/>
                    </a:lnTo>
                    <a:lnTo>
                      <a:pt x="256" y="2113"/>
                    </a:lnTo>
                    <a:lnTo>
                      <a:pt x="273" y="2118"/>
                    </a:lnTo>
                    <a:lnTo>
                      <a:pt x="288" y="2123"/>
                    </a:lnTo>
                    <a:lnTo>
                      <a:pt x="301" y="2125"/>
                    </a:lnTo>
                    <a:lnTo>
                      <a:pt x="312" y="2125"/>
                    </a:lnTo>
                    <a:lnTo>
                      <a:pt x="312" y="2125"/>
                    </a:lnTo>
                    <a:lnTo>
                      <a:pt x="314" y="2142"/>
                    </a:lnTo>
                    <a:lnTo>
                      <a:pt x="316" y="2160"/>
                    </a:lnTo>
                    <a:lnTo>
                      <a:pt x="319" y="2178"/>
                    </a:lnTo>
                    <a:lnTo>
                      <a:pt x="320" y="2199"/>
                    </a:lnTo>
                    <a:lnTo>
                      <a:pt x="320" y="2199"/>
                    </a:lnTo>
                    <a:lnTo>
                      <a:pt x="320" y="2210"/>
                    </a:lnTo>
                    <a:lnTo>
                      <a:pt x="317" y="2220"/>
                    </a:lnTo>
                    <a:lnTo>
                      <a:pt x="314" y="2229"/>
                    </a:lnTo>
                    <a:lnTo>
                      <a:pt x="309" y="2237"/>
                    </a:lnTo>
                    <a:lnTo>
                      <a:pt x="305" y="2242"/>
                    </a:lnTo>
                    <a:lnTo>
                      <a:pt x="299" y="2248"/>
                    </a:lnTo>
                    <a:lnTo>
                      <a:pt x="286" y="2257"/>
                    </a:lnTo>
                    <a:lnTo>
                      <a:pt x="275" y="2268"/>
                    </a:lnTo>
                    <a:lnTo>
                      <a:pt x="269" y="2272"/>
                    </a:lnTo>
                    <a:lnTo>
                      <a:pt x="263" y="2278"/>
                    </a:lnTo>
                    <a:lnTo>
                      <a:pt x="260" y="2285"/>
                    </a:lnTo>
                    <a:lnTo>
                      <a:pt x="256" y="2293"/>
                    </a:lnTo>
                    <a:lnTo>
                      <a:pt x="254" y="2302"/>
                    </a:lnTo>
                    <a:lnTo>
                      <a:pt x="253" y="2314"/>
                    </a:lnTo>
                    <a:lnTo>
                      <a:pt x="253" y="2314"/>
                    </a:lnTo>
                    <a:lnTo>
                      <a:pt x="254" y="2321"/>
                    </a:lnTo>
                    <a:lnTo>
                      <a:pt x="258" y="2329"/>
                    </a:lnTo>
                    <a:lnTo>
                      <a:pt x="267" y="2344"/>
                    </a:lnTo>
                    <a:lnTo>
                      <a:pt x="271" y="2352"/>
                    </a:lnTo>
                    <a:lnTo>
                      <a:pt x="275" y="2361"/>
                    </a:lnTo>
                    <a:lnTo>
                      <a:pt x="278" y="2371"/>
                    </a:lnTo>
                    <a:lnTo>
                      <a:pt x="279" y="2383"/>
                    </a:lnTo>
                    <a:lnTo>
                      <a:pt x="279" y="2383"/>
                    </a:lnTo>
                    <a:lnTo>
                      <a:pt x="278" y="2388"/>
                    </a:lnTo>
                    <a:lnTo>
                      <a:pt x="277" y="2394"/>
                    </a:lnTo>
                    <a:lnTo>
                      <a:pt x="276" y="2399"/>
                    </a:lnTo>
                    <a:lnTo>
                      <a:pt x="273" y="2403"/>
                    </a:lnTo>
                    <a:lnTo>
                      <a:pt x="266" y="2412"/>
                    </a:lnTo>
                    <a:lnTo>
                      <a:pt x="258" y="2420"/>
                    </a:lnTo>
                    <a:lnTo>
                      <a:pt x="250" y="2426"/>
                    </a:lnTo>
                    <a:lnTo>
                      <a:pt x="243" y="2433"/>
                    </a:lnTo>
                    <a:lnTo>
                      <a:pt x="236" y="2443"/>
                    </a:lnTo>
                    <a:lnTo>
                      <a:pt x="233" y="2447"/>
                    </a:lnTo>
                    <a:lnTo>
                      <a:pt x="232" y="2453"/>
                    </a:lnTo>
                    <a:lnTo>
                      <a:pt x="232" y="2453"/>
                    </a:lnTo>
                    <a:lnTo>
                      <a:pt x="230" y="2466"/>
                    </a:lnTo>
                    <a:lnTo>
                      <a:pt x="229" y="2478"/>
                    </a:lnTo>
                    <a:lnTo>
                      <a:pt x="228" y="2484"/>
                    </a:lnTo>
                    <a:lnTo>
                      <a:pt x="227" y="2490"/>
                    </a:lnTo>
                    <a:lnTo>
                      <a:pt x="224" y="2493"/>
                    </a:lnTo>
                    <a:lnTo>
                      <a:pt x="221" y="2497"/>
                    </a:lnTo>
                    <a:lnTo>
                      <a:pt x="221" y="2497"/>
                    </a:lnTo>
                    <a:lnTo>
                      <a:pt x="216" y="2499"/>
                    </a:lnTo>
                    <a:lnTo>
                      <a:pt x="214" y="2500"/>
                    </a:lnTo>
                    <a:lnTo>
                      <a:pt x="208" y="2500"/>
                    </a:lnTo>
                    <a:lnTo>
                      <a:pt x="202" y="2499"/>
                    </a:lnTo>
                    <a:lnTo>
                      <a:pt x="199" y="2499"/>
                    </a:lnTo>
                    <a:lnTo>
                      <a:pt x="194" y="2500"/>
                    </a:lnTo>
                    <a:lnTo>
                      <a:pt x="194" y="2500"/>
                    </a:lnTo>
                    <a:lnTo>
                      <a:pt x="195" y="2512"/>
                    </a:lnTo>
                    <a:lnTo>
                      <a:pt x="197" y="2523"/>
                    </a:lnTo>
                    <a:lnTo>
                      <a:pt x="198" y="2533"/>
                    </a:lnTo>
                    <a:lnTo>
                      <a:pt x="201" y="2545"/>
                    </a:lnTo>
                    <a:lnTo>
                      <a:pt x="205" y="2554"/>
                    </a:lnTo>
                    <a:lnTo>
                      <a:pt x="208" y="2563"/>
                    </a:lnTo>
                    <a:lnTo>
                      <a:pt x="213" y="2573"/>
                    </a:lnTo>
                    <a:lnTo>
                      <a:pt x="218" y="2581"/>
                    </a:lnTo>
                    <a:lnTo>
                      <a:pt x="225" y="2588"/>
                    </a:lnTo>
                    <a:lnTo>
                      <a:pt x="232" y="2594"/>
                    </a:lnTo>
                    <a:lnTo>
                      <a:pt x="239" y="2600"/>
                    </a:lnTo>
                    <a:lnTo>
                      <a:pt x="247" y="2605"/>
                    </a:lnTo>
                    <a:lnTo>
                      <a:pt x="256" y="2609"/>
                    </a:lnTo>
                    <a:lnTo>
                      <a:pt x="266" y="2612"/>
                    </a:lnTo>
                    <a:lnTo>
                      <a:pt x="276" y="2614"/>
                    </a:lnTo>
                    <a:lnTo>
                      <a:pt x="288" y="2614"/>
                    </a:lnTo>
                    <a:lnTo>
                      <a:pt x="288" y="2614"/>
                    </a:lnTo>
                    <a:lnTo>
                      <a:pt x="288" y="2621"/>
                    </a:lnTo>
                    <a:lnTo>
                      <a:pt x="288" y="2628"/>
                    </a:lnTo>
                    <a:lnTo>
                      <a:pt x="286" y="2635"/>
                    </a:lnTo>
                    <a:lnTo>
                      <a:pt x="285" y="2641"/>
                    </a:lnTo>
                    <a:lnTo>
                      <a:pt x="283" y="2645"/>
                    </a:lnTo>
                    <a:lnTo>
                      <a:pt x="281" y="2650"/>
                    </a:lnTo>
                    <a:lnTo>
                      <a:pt x="273" y="2658"/>
                    </a:lnTo>
                    <a:lnTo>
                      <a:pt x="264" y="2665"/>
                    </a:lnTo>
                    <a:lnTo>
                      <a:pt x="254" y="2670"/>
                    </a:lnTo>
                    <a:lnTo>
                      <a:pt x="244" y="2675"/>
                    </a:lnTo>
                    <a:lnTo>
                      <a:pt x="232" y="2680"/>
                    </a:lnTo>
                    <a:lnTo>
                      <a:pt x="209" y="2688"/>
                    </a:lnTo>
                    <a:lnTo>
                      <a:pt x="199" y="2692"/>
                    </a:lnTo>
                    <a:lnTo>
                      <a:pt x="190" y="2697"/>
                    </a:lnTo>
                    <a:lnTo>
                      <a:pt x="182" y="2703"/>
                    </a:lnTo>
                    <a:lnTo>
                      <a:pt x="175" y="2710"/>
                    </a:lnTo>
                    <a:lnTo>
                      <a:pt x="172" y="2714"/>
                    </a:lnTo>
                    <a:lnTo>
                      <a:pt x="171" y="2719"/>
                    </a:lnTo>
                    <a:lnTo>
                      <a:pt x="170" y="2723"/>
                    </a:lnTo>
                    <a:lnTo>
                      <a:pt x="169" y="2728"/>
                    </a:lnTo>
                    <a:lnTo>
                      <a:pt x="169" y="2728"/>
                    </a:lnTo>
                    <a:lnTo>
                      <a:pt x="170" y="2738"/>
                    </a:lnTo>
                    <a:lnTo>
                      <a:pt x="174" y="2746"/>
                    </a:lnTo>
                    <a:lnTo>
                      <a:pt x="177" y="2753"/>
                    </a:lnTo>
                    <a:lnTo>
                      <a:pt x="182" y="2759"/>
                    </a:lnTo>
                    <a:lnTo>
                      <a:pt x="186" y="2766"/>
                    </a:lnTo>
                    <a:lnTo>
                      <a:pt x="191" y="2773"/>
                    </a:lnTo>
                    <a:lnTo>
                      <a:pt x="193" y="2781"/>
                    </a:lnTo>
                    <a:lnTo>
                      <a:pt x="194" y="2790"/>
                    </a:lnTo>
                    <a:lnTo>
                      <a:pt x="194" y="2790"/>
                    </a:lnTo>
                    <a:lnTo>
                      <a:pt x="194" y="2850"/>
                    </a:lnTo>
                    <a:lnTo>
                      <a:pt x="194" y="2850"/>
                    </a:lnTo>
                    <a:lnTo>
                      <a:pt x="195" y="2857"/>
                    </a:lnTo>
                    <a:lnTo>
                      <a:pt x="197" y="2861"/>
                    </a:lnTo>
                    <a:lnTo>
                      <a:pt x="199" y="2867"/>
                    </a:lnTo>
                    <a:lnTo>
                      <a:pt x="202" y="2872"/>
                    </a:lnTo>
                    <a:lnTo>
                      <a:pt x="206" y="2875"/>
                    </a:lnTo>
                    <a:lnTo>
                      <a:pt x="210" y="2878"/>
                    </a:lnTo>
                    <a:lnTo>
                      <a:pt x="217" y="2879"/>
                    </a:lnTo>
                    <a:lnTo>
                      <a:pt x="217" y="2879"/>
                    </a:lnTo>
                    <a:lnTo>
                      <a:pt x="229" y="2879"/>
                    </a:lnTo>
                    <a:lnTo>
                      <a:pt x="239" y="2878"/>
                    </a:lnTo>
                    <a:lnTo>
                      <a:pt x="259" y="2873"/>
                    </a:lnTo>
                    <a:lnTo>
                      <a:pt x="279" y="2869"/>
                    </a:lnTo>
                    <a:lnTo>
                      <a:pt x="290" y="2868"/>
                    </a:lnTo>
                    <a:lnTo>
                      <a:pt x="301" y="2867"/>
                    </a:lnTo>
                    <a:lnTo>
                      <a:pt x="301" y="2867"/>
                    </a:lnTo>
                    <a:lnTo>
                      <a:pt x="313" y="2868"/>
                    </a:lnTo>
                    <a:lnTo>
                      <a:pt x="322" y="2869"/>
                    </a:lnTo>
                    <a:lnTo>
                      <a:pt x="330" y="2872"/>
                    </a:lnTo>
                    <a:lnTo>
                      <a:pt x="336" y="2875"/>
                    </a:lnTo>
                    <a:lnTo>
                      <a:pt x="342" y="2879"/>
                    </a:lnTo>
                    <a:lnTo>
                      <a:pt x="346" y="2883"/>
                    </a:lnTo>
                    <a:lnTo>
                      <a:pt x="355" y="2891"/>
                    </a:lnTo>
                    <a:lnTo>
                      <a:pt x="362" y="2902"/>
                    </a:lnTo>
                    <a:lnTo>
                      <a:pt x="370" y="2910"/>
                    </a:lnTo>
                    <a:lnTo>
                      <a:pt x="376" y="2913"/>
                    </a:lnTo>
                    <a:lnTo>
                      <a:pt x="382" y="2916"/>
                    </a:lnTo>
                    <a:lnTo>
                      <a:pt x="389" y="2918"/>
                    </a:lnTo>
                    <a:lnTo>
                      <a:pt x="397" y="2919"/>
                    </a:lnTo>
                    <a:lnTo>
                      <a:pt x="397" y="2919"/>
                    </a:lnTo>
                    <a:lnTo>
                      <a:pt x="401" y="2933"/>
                    </a:lnTo>
                    <a:lnTo>
                      <a:pt x="408" y="2948"/>
                    </a:lnTo>
                    <a:lnTo>
                      <a:pt x="418" y="2963"/>
                    </a:lnTo>
                    <a:lnTo>
                      <a:pt x="422" y="2970"/>
                    </a:lnTo>
                    <a:lnTo>
                      <a:pt x="427" y="2974"/>
                    </a:lnTo>
                    <a:lnTo>
                      <a:pt x="427" y="2974"/>
                    </a:lnTo>
                    <a:lnTo>
                      <a:pt x="435" y="2979"/>
                    </a:lnTo>
                    <a:lnTo>
                      <a:pt x="444" y="2982"/>
                    </a:lnTo>
                    <a:lnTo>
                      <a:pt x="462" y="2988"/>
                    </a:lnTo>
                    <a:lnTo>
                      <a:pt x="469" y="2991"/>
                    </a:lnTo>
                    <a:lnTo>
                      <a:pt x="473" y="2994"/>
                    </a:lnTo>
                    <a:lnTo>
                      <a:pt x="476" y="2996"/>
                    </a:lnTo>
                    <a:lnTo>
                      <a:pt x="479" y="3000"/>
                    </a:lnTo>
                    <a:lnTo>
                      <a:pt x="480" y="3004"/>
                    </a:lnTo>
                    <a:lnTo>
                      <a:pt x="481" y="3009"/>
                    </a:lnTo>
                    <a:lnTo>
                      <a:pt x="482" y="3014"/>
                    </a:lnTo>
                    <a:lnTo>
                      <a:pt x="482" y="3014"/>
                    </a:lnTo>
                    <a:lnTo>
                      <a:pt x="481" y="3020"/>
                    </a:lnTo>
                    <a:lnTo>
                      <a:pt x="480" y="3026"/>
                    </a:lnTo>
                    <a:lnTo>
                      <a:pt x="477" y="3032"/>
                    </a:lnTo>
                    <a:lnTo>
                      <a:pt x="474" y="3037"/>
                    </a:lnTo>
                    <a:lnTo>
                      <a:pt x="466" y="3049"/>
                    </a:lnTo>
                    <a:lnTo>
                      <a:pt x="458" y="3061"/>
                    </a:lnTo>
                    <a:lnTo>
                      <a:pt x="449" y="3073"/>
                    </a:lnTo>
                    <a:lnTo>
                      <a:pt x="441" y="3087"/>
                    </a:lnTo>
                    <a:lnTo>
                      <a:pt x="438" y="3095"/>
                    </a:lnTo>
                    <a:lnTo>
                      <a:pt x="436" y="3103"/>
                    </a:lnTo>
                    <a:lnTo>
                      <a:pt x="434" y="3112"/>
                    </a:lnTo>
                    <a:lnTo>
                      <a:pt x="434" y="3121"/>
                    </a:lnTo>
                    <a:lnTo>
                      <a:pt x="434" y="3121"/>
                    </a:lnTo>
                    <a:lnTo>
                      <a:pt x="435" y="3132"/>
                    </a:lnTo>
                    <a:lnTo>
                      <a:pt x="437" y="3140"/>
                    </a:lnTo>
                    <a:lnTo>
                      <a:pt x="443" y="3148"/>
                    </a:lnTo>
                    <a:lnTo>
                      <a:pt x="449" y="3153"/>
                    </a:lnTo>
                    <a:lnTo>
                      <a:pt x="457" y="3157"/>
                    </a:lnTo>
                    <a:lnTo>
                      <a:pt x="465" y="3161"/>
                    </a:lnTo>
                    <a:lnTo>
                      <a:pt x="483" y="3166"/>
                    </a:lnTo>
                    <a:lnTo>
                      <a:pt x="502" y="3172"/>
                    </a:lnTo>
                    <a:lnTo>
                      <a:pt x="510" y="3176"/>
                    </a:lnTo>
                    <a:lnTo>
                      <a:pt x="518" y="3179"/>
                    </a:lnTo>
                    <a:lnTo>
                      <a:pt x="523" y="3185"/>
                    </a:lnTo>
                    <a:lnTo>
                      <a:pt x="528" y="3191"/>
                    </a:lnTo>
                    <a:lnTo>
                      <a:pt x="531" y="3200"/>
                    </a:lnTo>
                    <a:lnTo>
                      <a:pt x="533" y="3209"/>
                    </a:lnTo>
                    <a:lnTo>
                      <a:pt x="533" y="3209"/>
                    </a:lnTo>
                    <a:lnTo>
                      <a:pt x="533" y="3217"/>
                    </a:lnTo>
                    <a:lnTo>
                      <a:pt x="530" y="3225"/>
                    </a:lnTo>
                    <a:lnTo>
                      <a:pt x="528" y="3232"/>
                    </a:lnTo>
                    <a:lnTo>
                      <a:pt x="525" y="3238"/>
                    </a:lnTo>
                    <a:lnTo>
                      <a:pt x="520" y="3242"/>
                    </a:lnTo>
                    <a:lnTo>
                      <a:pt x="515" y="3247"/>
                    </a:lnTo>
                    <a:lnTo>
                      <a:pt x="505" y="3256"/>
                    </a:lnTo>
                    <a:lnTo>
                      <a:pt x="495" y="3264"/>
                    </a:lnTo>
                    <a:lnTo>
                      <a:pt x="487" y="3273"/>
                    </a:lnTo>
                    <a:lnTo>
                      <a:pt x="482" y="3278"/>
                    </a:lnTo>
                    <a:lnTo>
                      <a:pt x="480" y="3284"/>
                    </a:lnTo>
                    <a:lnTo>
                      <a:pt x="479" y="3291"/>
                    </a:lnTo>
                    <a:lnTo>
                      <a:pt x="477" y="3298"/>
                    </a:lnTo>
                    <a:lnTo>
                      <a:pt x="477" y="3298"/>
                    </a:lnTo>
                    <a:lnTo>
                      <a:pt x="477" y="3393"/>
                    </a:lnTo>
                    <a:lnTo>
                      <a:pt x="477" y="3393"/>
                    </a:lnTo>
                    <a:lnTo>
                      <a:pt x="479" y="3399"/>
                    </a:lnTo>
                    <a:lnTo>
                      <a:pt x="480" y="3405"/>
                    </a:lnTo>
                    <a:lnTo>
                      <a:pt x="482" y="3410"/>
                    </a:lnTo>
                    <a:lnTo>
                      <a:pt x="485" y="3416"/>
                    </a:lnTo>
                    <a:lnTo>
                      <a:pt x="493" y="3428"/>
                    </a:lnTo>
                    <a:lnTo>
                      <a:pt x="504" y="3439"/>
                    </a:lnTo>
                    <a:lnTo>
                      <a:pt x="513" y="3452"/>
                    </a:lnTo>
                    <a:lnTo>
                      <a:pt x="518" y="3459"/>
                    </a:lnTo>
                    <a:lnTo>
                      <a:pt x="521" y="3466"/>
                    </a:lnTo>
                    <a:lnTo>
                      <a:pt x="525" y="3474"/>
                    </a:lnTo>
                    <a:lnTo>
                      <a:pt x="527" y="3483"/>
                    </a:lnTo>
                    <a:lnTo>
                      <a:pt x="529" y="3493"/>
                    </a:lnTo>
                    <a:lnTo>
                      <a:pt x="529" y="3504"/>
                    </a:lnTo>
                    <a:lnTo>
                      <a:pt x="529" y="3504"/>
                    </a:lnTo>
                    <a:lnTo>
                      <a:pt x="529" y="3510"/>
                    </a:lnTo>
                    <a:lnTo>
                      <a:pt x="527" y="3516"/>
                    </a:lnTo>
                    <a:lnTo>
                      <a:pt x="526" y="3521"/>
                    </a:lnTo>
                    <a:lnTo>
                      <a:pt x="522" y="3525"/>
                    </a:lnTo>
                    <a:lnTo>
                      <a:pt x="519" y="3528"/>
                    </a:lnTo>
                    <a:lnTo>
                      <a:pt x="515" y="3531"/>
                    </a:lnTo>
                    <a:lnTo>
                      <a:pt x="507" y="3536"/>
                    </a:lnTo>
                    <a:lnTo>
                      <a:pt x="499" y="3539"/>
                    </a:lnTo>
                    <a:lnTo>
                      <a:pt x="492" y="3545"/>
                    </a:lnTo>
                    <a:lnTo>
                      <a:pt x="489" y="3548"/>
                    </a:lnTo>
                    <a:lnTo>
                      <a:pt x="487" y="3552"/>
                    </a:lnTo>
                    <a:lnTo>
                      <a:pt x="485" y="3556"/>
                    </a:lnTo>
                    <a:lnTo>
                      <a:pt x="485" y="3562"/>
                    </a:lnTo>
                    <a:lnTo>
                      <a:pt x="485" y="3562"/>
                    </a:lnTo>
                    <a:lnTo>
                      <a:pt x="485" y="3562"/>
                    </a:lnTo>
                    <a:lnTo>
                      <a:pt x="485" y="3562"/>
                    </a:lnTo>
                    <a:lnTo>
                      <a:pt x="485" y="3562"/>
                    </a:lnTo>
                    <a:lnTo>
                      <a:pt x="485" y="3562"/>
                    </a:lnTo>
                    <a:lnTo>
                      <a:pt x="485" y="3566"/>
                    </a:lnTo>
                    <a:lnTo>
                      <a:pt x="487" y="3569"/>
                    </a:lnTo>
                    <a:lnTo>
                      <a:pt x="492" y="3578"/>
                    </a:lnTo>
                    <a:lnTo>
                      <a:pt x="500" y="3589"/>
                    </a:lnTo>
                    <a:lnTo>
                      <a:pt x="510" y="3599"/>
                    </a:lnTo>
                    <a:lnTo>
                      <a:pt x="520" y="3608"/>
                    </a:lnTo>
                    <a:lnTo>
                      <a:pt x="530" y="3616"/>
                    </a:lnTo>
                    <a:lnTo>
                      <a:pt x="540" y="3622"/>
                    </a:lnTo>
                    <a:lnTo>
                      <a:pt x="544" y="3623"/>
                    </a:lnTo>
                    <a:lnTo>
                      <a:pt x="548" y="3624"/>
                    </a:lnTo>
                    <a:lnTo>
                      <a:pt x="548" y="3624"/>
                    </a:lnTo>
                    <a:lnTo>
                      <a:pt x="563" y="3623"/>
                    </a:lnTo>
                    <a:lnTo>
                      <a:pt x="575" y="3621"/>
                    </a:lnTo>
                    <a:lnTo>
                      <a:pt x="587" y="3619"/>
                    </a:lnTo>
                    <a:lnTo>
                      <a:pt x="599" y="3617"/>
                    </a:lnTo>
                    <a:lnTo>
                      <a:pt x="599" y="3617"/>
                    </a:lnTo>
                    <a:lnTo>
                      <a:pt x="606" y="3617"/>
                    </a:lnTo>
                    <a:lnTo>
                      <a:pt x="613" y="3620"/>
                    </a:lnTo>
                    <a:lnTo>
                      <a:pt x="619" y="3622"/>
                    </a:lnTo>
                    <a:lnTo>
                      <a:pt x="624" y="3626"/>
                    </a:lnTo>
                    <a:lnTo>
                      <a:pt x="634" y="3635"/>
                    </a:lnTo>
                    <a:lnTo>
                      <a:pt x="643" y="3643"/>
                    </a:lnTo>
                    <a:lnTo>
                      <a:pt x="643" y="3643"/>
                    </a:lnTo>
                    <a:lnTo>
                      <a:pt x="656" y="3652"/>
                    </a:lnTo>
                    <a:lnTo>
                      <a:pt x="665" y="3661"/>
                    </a:lnTo>
                    <a:lnTo>
                      <a:pt x="674" y="3672"/>
                    </a:lnTo>
                    <a:lnTo>
                      <a:pt x="681" y="3683"/>
                    </a:lnTo>
                    <a:lnTo>
                      <a:pt x="687" y="3696"/>
                    </a:lnTo>
                    <a:lnTo>
                      <a:pt x="691" y="3710"/>
                    </a:lnTo>
                    <a:lnTo>
                      <a:pt x="699" y="3737"/>
                    </a:lnTo>
                    <a:lnTo>
                      <a:pt x="706" y="3766"/>
                    </a:lnTo>
                    <a:lnTo>
                      <a:pt x="714" y="3794"/>
                    </a:lnTo>
                    <a:lnTo>
                      <a:pt x="720" y="3806"/>
                    </a:lnTo>
                    <a:lnTo>
                      <a:pt x="726" y="3819"/>
                    </a:lnTo>
                    <a:lnTo>
                      <a:pt x="733" y="3830"/>
                    </a:lnTo>
                    <a:lnTo>
                      <a:pt x="742" y="3841"/>
                    </a:lnTo>
                    <a:lnTo>
                      <a:pt x="742" y="3841"/>
                    </a:lnTo>
                    <a:lnTo>
                      <a:pt x="743" y="3845"/>
                    </a:lnTo>
                    <a:lnTo>
                      <a:pt x="744" y="3850"/>
                    </a:lnTo>
                    <a:lnTo>
                      <a:pt x="749" y="3859"/>
                    </a:lnTo>
                    <a:lnTo>
                      <a:pt x="755" y="3867"/>
                    </a:lnTo>
                    <a:lnTo>
                      <a:pt x="756" y="3872"/>
                    </a:lnTo>
                    <a:lnTo>
                      <a:pt x="757" y="3878"/>
                    </a:lnTo>
                    <a:lnTo>
                      <a:pt x="757" y="3878"/>
                    </a:lnTo>
                    <a:lnTo>
                      <a:pt x="756" y="3883"/>
                    </a:lnTo>
                    <a:lnTo>
                      <a:pt x="752" y="3889"/>
                    </a:lnTo>
                    <a:lnTo>
                      <a:pt x="749" y="3894"/>
                    </a:lnTo>
                    <a:lnTo>
                      <a:pt x="743" y="3898"/>
                    </a:lnTo>
                    <a:lnTo>
                      <a:pt x="734" y="3906"/>
                    </a:lnTo>
                    <a:lnTo>
                      <a:pt x="729" y="3910"/>
                    </a:lnTo>
                    <a:lnTo>
                      <a:pt x="727" y="3914"/>
                    </a:lnTo>
                    <a:lnTo>
                      <a:pt x="727" y="3914"/>
                    </a:lnTo>
                    <a:lnTo>
                      <a:pt x="726" y="3921"/>
                    </a:lnTo>
                    <a:lnTo>
                      <a:pt x="725" y="3928"/>
                    </a:lnTo>
                    <a:lnTo>
                      <a:pt x="725" y="3941"/>
                    </a:lnTo>
                    <a:lnTo>
                      <a:pt x="725" y="3945"/>
                    </a:lnTo>
                    <a:lnTo>
                      <a:pt x="724" y="3951"/>
                    </a:lnTo>
                    <a:lnTo>
                      <a:pt x="721" y="3957"/>
                    </a:lnTo>
                    <a:lnTo>
                      <a:pt x="717" y="3962"/>
                    </a:lnTo>
                    <a:lnTo>
                      <a:pt x="717" y="3962"/>
                    </a:lnTo>
                    <a:lnTo>
                      <a:pt x="712" y="3967"/>
                    </a:lnTo>
                    <a:lnTo>
                      <a:pt x="708" y="3973"/>
                    </a:lnTo>
                    <a:lnTo>
                      <a:pt x="695" y="3983"/>
                    </a:lnTo>
                    <a:lnTo>
                      <a:pt x="682" y="3993"/>
                    </a:lnTo>
                    <a:lnTo>
                      <a:pt x="670" y="4002"/>
                    </a:lnTo>
                    <a:lnTo>
                      <a:pt x="658" y="4013"/>
                    </a:lnTo>
                    <a:lnTo>
                      <a:pt x="652" y="4020"/>
                    </a:lnTo>
                    <a:lnTo>
                      <a:pt x="648" y="4027"/>
                    </a:lnTo>
                    <a:lnTo>
                      <a:pt x="644" y="4035"/>
                    </a:lnTo>
                    <a:lnTo>
                      <a:pt x="642" y="4043"/>
                    </a:lnTo>
                    <a:lnTo>
                      <a:pt x="640" y="4054"/>
                    </a:lnTo>
                    <a:lnTo>
                      <a:pt x="640" y="4065"/>
                    </a:lnTo>
                    <a:lnTo>
                      <a:pt x="640" y="4065"/>
                    </a:lnTo>
                    <a:lnTo>
                      <a:pt x="668" y="4097"/>
                    </a:lnTo>
                    <a:lnTo>
                      <a:pt x="668" y="4097"/>
                    </a:lnTo>
                    <a:lnTo>
                      <a:pt x="732" y="4097"/>
                    </a:lnTo>
                    <a:lnTo>
                      <a:pt x="732" y="4097"/>
                    </a:lnTo>
                    <a:lnTo>
                      <a:pt x="732" y="4097"/>
                    </a:lnTo>
                    <a:lnTo>
                      <a:pt x="736" y="4103"/>
                    </a:lnTo>
                    <a:lnTo>
                      <a:pt x="741" y="4106"/>
                    </a:lnTo>
                    <a:lnTo>
                      <a:pt x="747" y="4110"/>
                    </a:lnTo>
                    <a:lnTo>
                      <a:pt x="752" y="4112"/>
                    </a:lnTo>
                    <a:lnTo>
                      <a:pt x="765" y="4116"/>
                    </a:lnTo>
                    <a:lnTo>
                      <a:pt x="779" y="4117"/>
                    </a:lnTo>
                    <a:lnTo>
                      <a:pt x="779" y="4117"/>
                    </a:lnTo>
                    <a:lnTo>
                      <a:pt x="797" y="4116"/>
                    </a:lnTo>
                    <a:lnTo>
                      <a:pt x="813" y="4112"/>
                    </a:lnTo>
                    <a:lnTo>
                      <a:pt x="829" y="4106"/>
                    </a:lnTo>
                    <a:lnTo>
                      <a:pt x="843" y="4101"/>
                    </a:lnTo>
                    <a:lnTo>
                      <a:pt x="857" y="4092"/>
                    </a:lnTo>
                    <a:lnTo>
                      <a:pt x="870" y="4082"/>
                    </a:lnTo>
                    <a:lnTo>
                      <a:pt x="880" y="4071"/>
                    </a:lnTo>
                    <a:lnTo>
                      <a:pt x="892" y="4059"/>
                    </a:lnTo>
                    <a:lnTo>
                      <a:pt x="901" y="4046"/>
                    </a:lnTo>
                    <a:lnTo>
                      <a:pt x="910" y="4032"/>
                    </a:lnTo>
                    <a:lnTo>
                      <a:pt x="918" y="4018"/>
                    </a:lnTo>
                    <a:lnTo>
                      <a:pt x="926" y="4003"/>
                    </a:lnTo>
                    <a:lnTo>
                      <a:pt x="940" y="3973"/>
                    </a:lnTo>
                    <a:lnTo>
                      <a:pt x="951" y="3943"/>
                    </a:lnTo>
                    <a:lnTo>
                      <a:pt x="951" y="3943"/>
                    </a:lnTo>
                    <a:lnTo>
                      <a:pt x="955" y="3938"/>
                    </a:lnTo>
                    <a:lnTo>
                      <a:pt x="958" y="3935"/>
                    </a:lnTo>
                    <a:lnTo>
                      <a:pt x="963" y="3932"/>
                    </a:lnTo>
                    <a:lnTo>
                      <a:pt x="969" y="3929"/>
                    </a:lnTo>
                    <a:lnTo>
                      <a:pt x="978" y="3926"/>
                    </a:lnTo>
                    <a:lnTo>
                      <a:pt x="981" y="3924"/>
                    </a:lnTo>
                    <a:lnTo>
                      <a:pt x="985" y="3921"/>
                    </a:lnTo>
                    <a:lnTo>
                      <a:pt x="985" y="3921"/>
                    </a:lnTo>
                    <a:lnTo>
                      <a:pt x="987" y="3919"/>
                    </a:lnTo>
                    <a:lnTo>
                      <a:pt x="988" y="3915"/>
                    </a:lnTo>
                    <a:lnTo>
                      <a:pt x="989" y="3909"/>
                    </a:lnTo>
                    <a:lnTo>
                      <a:pt x="991" y="3890"/>
                    </a:lnTo>
                    <a:lnTo>
                      <a:pt x="992" y="3881"/>
                    </a:lnTo>
                    <a:lnTo>
                      <a:pt x="993" y="3873"/>
                    </a:lnTo>
                    <a:lnTo>
                      <a:pt x="995" y="3867"/>
                    </a:lnTo>
                    <a:lnTo>
                      <a:pt x="997" y="3864"/>
                    </a:lnTo>
                    <a:lnTo>
                      <a:pt x="1000" y="3863"/>
                    </a:lnTo>
                    <a:lnTo>
                      <a:pt x="1000" y="3863"/>
                    </a:lnTo>
                    <a:lnTo>
                      <a:pt x="1015" y="3854"/>
                    </a:lnTo>
                    <a:lnTo>
                      <a:pt x="1033" y="3848"/>
                    </a:lnTo>
                    <a:lnTo>
                      <a:pt x="1054" y="3842"/>
                    </a:lnTo>
                    <a:lnTo>
                      <a:pt x="1075" y="3837"/>
                    </a:lnTo>
                    <a:lnTo>
                      <a:pt x="1095" y="3834"/>
                    </a:lnTo>
                    <a:lnTo>
                      <a:pt x="1116" y="3831"/>
                    </a:lnTo>
                    <a:lnTo>
                      <a:pt x="1134" y="3830"/>
                    </a:lnTo>
                    <a:lnTo>
                      <a:pt x="1151" y="3829"/>
                    </a:lnTo>
                    <a:lnTo>
                      <a:pt x="1151" y="3829"/>
                    </a:lnTo>
                    <a:lnTo>
                      <a:pt x="1153" y="3823"/>
                    </a:lnTo>
                    <a:lnTo>
                      <a:pt x="1154" y="3817"/>
                    </a:lnTo>
                    <a:lnTo>
                      <a:pt x="1154" y="3810"/>
                    </a:lnTo>
                    <a:lnTo>
                      <a:pt x="1153" y="3806"/>
                    </a:lnTo>
                    <a:lnTo>
                      <a:pt x="1151" y="3804"/>
                    </a:lnTo>
                    <a:lnTo>
                      <a:pt x="1151" y="3804"/>
                    </a:lnTo>
                    <a:lnTo>
                      <a:pt x="1145" y="3803"/>
                    </a:lnTo>
                    <a:lnTo>
                      <a:pt x="1140" y="3802"/>
                    </a:lnTo>
                    <a:lnTo>
                      <a:pt x="1136" y="3798"/>
                    </a:lnTo>
                    <a:lnTo>
                      <a:pt x="1131" y="3795"/>
                    </a:lnTo>
                    <a:lnTo>
                      <a:pt x="1123" y="3785"/>
                    </a:lnTo>
                    <a:lnTo>
                      <a:pt x="1114" y="3774"/>
                    </a:lnTo>
                    <a:lnTo>
                      <a:pt x="1096" y="3751"/>
                    </a:lnTo>
                    <a:lnTo>
                      <a:pt x="1088" y="3742"/>
                    </a:lnTo>
                    <a:lnTo>
                      <a:pt x="1080" y="3734"/>
                    </a:lnTo>
                    <a:lnTo>
                      <a:pt x="1080" y="3734"/>
                    </a:lnTo>
                    <a:lnTo>
                      <a:pt x="1076" y="3731"/>
                    </a:lnTo>
                    <a:lnTo>
                      <a:pt x="1070" y="3728"/>
                    </a:lnTo>
                    <a:lnTo>
                      <a:pt x="1067" y="3726"/>
                    </a:lnTo>
                    <a:lnTo>
                      <a:pt x="1064" y="3722"/>
                    </a:lnTo>
                    <a:lnTo>
                      <a:pt x="1063" y="3719"/>
                    </a:lnTo>
                    <a:lnTo>
                      <a:pt x="1062" y="3715"/>
                    </a:lnTo>
                    <a:lnTo>
                      <a:pt x="1062" y="3715"/>
                    </a:lnTo>
                    <a:lnTo>
                      <a:pt x="1063" y="3712"/>
                    </a:lnTo>
                    <a:lnTo>
                      <a:pt x="1068" y="3706"/>
                    </a:lnTo>
                    <a:lnTo>
                      <a:pt x="1081" y="3693"/>
                    </a:lnTo>
                    <a:lnTo>
                      <a:pt x="1096" y="3682"/>
                    </a:lnTo>
                    <a:lnTo>
                      <a:pt x="1102" y="3677"/>
                    </a:lnTo>
                    <a:lnTo>
                      <a:pt x="1106" y="3676"/>
                    </a:lnTo>
                    <a:lnTo>
                      <a:pt x="1106" y="3676"/>
                    </a:lnTo>
                    <a:lnTo>
                      <a:pt x="1125" y="3676"/>
                    </a:lnTo>
                    <a:lnTo>
                      <a:pt x="1133" y="3674"/>
                    </a:lnTo>
                    <a:lnTo>
                      <a:pt x="1139" y="3672"/>
                    </a:lnTo>
                    <a:lnTo>
                      <a:pt x="1144" y="3668"/>
                    </a:lnTo>
                    <a:lnTo>
                      <a:pt x="1147" y="3662"/>
                    </a:lnTo>
                    <a:lnTo>
                      <a:pt x="1149" y="3654"/>
                    </a:lnTo>
                    <a:lnTo>
                      <a:pt x="1151" y="3643"/>
                    </a:lnTo>
                    <a:lnTo>
                      <a:pt x="1151" y="3643"/>
                    </a:lnTo>
                    <a:lnTo>
                      <a:pt x="1149" y="3638"/>
                    </a:lnTo>
                    <a:lnTo>
                      <a:pt x="1148" y="3632"/>
                    </a:lnTo>
                    <a:lnTo>
                      <a:pt x="1145" y="3623"/>
                    </a:lnTo>
                    <a:lnTo>
                      <a:pt x="1140" y="3613"/>
                    </a:lnTo>
                    <a:lnTo>
                      <a:pt x="1139" y="3608"/>
                    </a:lnTo>
                    <a:lnTo>
                      <a:pt x="1139" y="3602"/>
                    </a:lnTo>
                    <a:lnTo>
                      <a:pt x="1139" y="3602"/>
                    </a:lnTo>
                    <a:lnTo>
                      <a:pt x="1139" y="3596"/>
                    </a:lnTo>
                    <a:lnTo>
                      <a:pt x="1141" y="3590"/>
                    </a:lnTo>
                    <a:lnTo>
                      <a:pt x="1146" y="3578"/>
                    </a:lnTo>
                    <a:lnTo>
                      <a:pt x="1152" y="3565"/>
                    </a:lnTo>
                    <a:lnTo>
                      <a:pt x="1153" y="3556"/>
                    </a:lnTo>
                    <a:lnTo>
                      <a:pt x="1154" y="3547"/>
                    </a:lnTo>
                    <a:lnTo>
                      <a:pt x="1154" y="3547"/>
                    </a:lnTo>
                    <a:lnTo>
                      <a:pt x="1153" y="3539"/>
                    </a:lnTo>
                    <a:lnTo>
                      <a:pt x="1152" y="3532"/>
                    </a:lnTo>
                    <a:lnTo>
                      <a:pt x="1146" y="3521"/>
                    </a:lnTo>
                    <a:lnTo>
                      <a:pt x="1141" y="3509"/>
                    </a:lnTo>
                    <a:lnTo>
                      <a:pt x="1139" y="3502"/>
                    </a:lnTo>
                    <a:lnTo>
                      <a:pt x="1139" y="3497"/>
                    </a:lnTo>
                    <a:lnTo>
                      <a:pt x="1139" y="3497"/>
                    </a:lnTo>
                    <a:lnTo>
                      <a:pt x="1140" y="3491"/>
                    </a:lnTo>
                    <a:lnTo>
                      <a:pt x="1141" y="3485"/>
                    </a:lnTo>
                    <a:lnTo>
                      <a:pt x="1148" y="3471"/>
                    </a:lnTo>
                    <a:lnTo>
                      <a:pt x="1156" y="3454"/>
                    </a:lnTo>
                    <a:lnTo>
                      <a:pt x="1160" y="3446"/>
                    </a:lnTo>
                    <a:lnTo>
                      <a:pt x="1161" y="3438"/>
                    </a:lnTo>
                    <a:lnTo>
                      <a:pt x="1161" y="3438"/>
                    </a:lnTo>
                    <a:lnTo>
                      <a:pt x="1172" y="3433"/>
                    </a:lnTo>
                    <a:lnTo>
                      <a:pt x="1182" y="3426"/>
                    </a:lnTo>
                    <a:lnTo>
                      <a:pt x="1191" y="3418"/>
                    </a:lnTo>
                    <a:lnTo>
                      <a:pt x="1198" y="3409"/>
                    </a:lnTo>
                    <a:lnTo>
                      <a:pt x="1203" y="3398"/>
                    </a:lnTo>
                    <a:lnTo>
                      <a:pt x="1208" y="3386"/>
                    </a:lnTo>
                    <a:lnTo>
                      <a:pt x="1212" y="3375"/>
                    </a:lnTo>
                    <a:lnTo>
                      <a:pt x="1213" y="3364"/>
                    </a:lnTo>
                    <a:lnTo>
                      <a:pt x="1213" y="3364"/>
                    </a:lnTo>
                    <a:lnTo>
                      <a:pt x="1212" y="3357"/>
                    </a:lnTo>
                    <a:lnTo>
                      <a:pt x="1210" y="3350"/>
                    </a:lnTo>
                    <a:lnTo>
                      <a:pt x="1209" y="3345"/>
                    </a:lnTo>
                    <a:lnTo>
                      <a:pt x="1206" y="3340"/>
                    </a:lnTo>
                    <a:lnTo>
                      <a:pt x="1200" y="3330"/>
                    </a:lnTo>
                    <a:lnTo>
                      <a:pt x="1192" y="3319"/>
                    </a:lnTo>
                    <a:lnTo>
                      <a:pt x="1185" y="3310"/>
                    </a:lnTo>
                    <a:lnTo>
                      <a:pt x="1178" y="3301"/>
                    </a:lnTo>
                    <a:lnTo>
                      <a:pt x="1174" y="3291"/>
                    </a:lnTo>
                    <a:lnTo>
                      <a:pt x="1172" y="3285"/>
                    </a:lnTo>
                    <a:lnTo>
                      <a:pt x="1172" y="3279"/>
                    </a:lnTo>
                    <a:lnTo>
                      <a:pt x="1172" y="3279"/>
                    </a:lnTo>
                    <a:lnTo>
                      <a:pt x="1172" y="3260"/>
                    </a:lnTo>
                    <a:lnTo>
                      <a:pt x="1176" y="3241"/>
                    </a:lnTo>
                    <a:lnTo>
                      <a:pt x="1179" y="3223"/>
                    </a:lnTo>
                    <a:lnTo>
                      <a:pt x="1185" y="3207"/>
                    </a:lnTo>
                    <a:lnTo>
                      <a:pt x="1193" y="3193"/>
                    </a:lnTo>
                    <a:lnTo>
                      <a:pt x="1197" y="3187"/>
                    </a:lnTo>
                    <a:lnTo>
                      <a:pt x="1201" y="3182"/>
                    </a:lnTo>
                    <a:lnTo>
                      <a:pt x="1207" y="3178"/>
                    </a:lnTo>
                    <a:lnTo>
                      <a:pt x="1212" y="3176"/>
                    </a:lnTo>
                    <a:lnTo>
                      <a:pt x="1217" y="3173"/>
                    </a:lnTo>
                    <a:lnTo>
                      <a:pt x="1224" y="3173"/>
                    </a:lnTo>
                    <a:lnTo>
                      <a:pt x="1224" y="3173"/>
                    </a:lnTo>
                    <a:lnTo>
                      <a:pt x="1271" y="3173"/>
                    </a:lnTo>
                    <a:lnTo>
                      <a:pt x="1271" y="3173"/>
                    </a:lnTo>
                    <a:lnTo>
                      <a:pt x="1279" y="3172"/>
                    </a:lnTo>
                    <a:lnTo>
                      <a:pt x="1286" y="3170"/>
                    </a:lnTo>
                    <a:lnTo>
                      <a:pt x="1292" y="3168"/>
                    </a:lnTo>
                    <a:lnTo>
                      <a:pt x="1298" y="3163"/>
                    </a:lnTo>
                    <a:lnTo>
                      <a:pt x="1304" y="3158"/>
                    </a:lnTo>
                    <a:lnTo>
                      <a:pt x="1308" y="3153"/>
                    </a:lnTo>
                    <a:lnTo>
                      <a:pt x="1317" y="3142"/>
                    </a:lnTo>
                    <a:lnTo>
                      <a:pt x="1325" y="3131"/>
                    </a:lnTo>
                    <a:lnTo>
                      <a:pt x="1333" y="3120"/>
                    </a:lnTo>
                    <a:lnTo>
                      <a:pt x="1337" y="3116"/>
                    </a:lnTo>
                    <a:lnTo>
                      <a:pt x="1342" y="3113"/>
                    </a:lnTo>
                    <a:lnTo>
                      <a:pt x="1346" y="3111"/>
                    </a:lnTo>
                    <a:lnTo>
                      <a:pt x="1352" y="3110"/>
                    </a:lnTo>
                    <a:lnTo>
                      <a:pt x="1352" y="3110"/>
                    </a:lnTo>
                    <a:lnTo>
                      <a:pt x="1360" y="3111"/>
                    </a:lnTo>
                    <a:lnTo>
                      <a:pt x="1367" y="3115"/>
                    </a:lnTo>
                    <a:lnTo>
                      <a:pt x="1373" y="3119"/>
                    </a:lnTo>
                    <a:lnTo>
                      <a:pt x="1377" y="3124"/>
                    </a:lnTo>
                    <a:lnTo>
                      <a:pt x="1382" y="3131"/>
                    </a:lnTo>
                    <a:lnTo>
                      <a:pt x="1385" y="3139"/>
                    </a:lnTo>
                    <a:lnTo>
                      <a:pt x="1391" y="3155"/>
                    </a:lnTo>
                    <a:lnTo>
                      <a:pt x="1397" y="3171"/>
                    </a:lnTo>
                    <a:lnTo>
                      <a:pt x="1401" y="3178"/>
                    </a:lnTo>
                    <a:lnTo>
                      <a:pt x="1405" y="3185"/>
                    </a:lnTo>
                    <a:lnTo>
                      <a:pt x="1411" y="3191"/>
                    </a:lnTo>
                    <a:lnTo>
                      <a:pt x="1416" y="3195"/>
                    </a:lnTo>
                    <a:lnTo>
                      <a:pt x="1424" y="3197"/>
                    </a:lnTo>
                    <a:lnTo>
                      <a:pt x="1432" y="3199"/>
                    </a:lnTo>
                    <a:lnTo>
                      <a:pt x="1432" y="3199"/>
                    </a:lnTo>
                    <a:lnTo>
                      <a:pt x="1436" y="3199"/>
                    </a:lnTo>
                    <a:lnTo>
                      <a:pt x="1437" y="3197"/>
                    </a:lnTo>
                    <a:lnTo>
                      <a:pt x="1438" y="3195"/>
                    </a:lnTo>
                    <a:lnTo>
                      <a:pt x="1439" y="3193"/>
                    </a:lnTo>
                    <a:lnTo>
                      <a:pt x="1439" y="3187"/>
                    </a:lnTo>
                    <a:lnTo>
                      <a:pt x="1438" y="3179"/>
                    </a:lnTo>
                    <a:lnTo>
                      <a:pt x="1435" y="3161"/>
                    </a:lnTo>
                    <a:lnTo>
                      <a:pt x="1434" y="3153"/>
                    </a:lnTo>
                    <a:lnTo>
                      <a:pt x="1432" y="3143"/>
                    </a:lnTo>
                    <a:lnTo>
                      <a:pt x="1432" y="3143"/>
                    </a:lnTo>
                    <a:lnTo>
                      <a:pt x="1435" y="3128"/>
                    </a:lnTo>
                    <a:lnTo>
                      <a:pt x="1439" y="3105"/>
                    </a:lnTo>
                    <a:lnTo>
                      <a:pt x="1445" y="3085"/>
                    </a:lnTo>
                    <a:lnTo>
                      <a:pt x="1449" y="3077"/>
                    </a:lnTo>
                    <a:lnTo>
                      <a:pt x="1451" y="3073"/>
                    </a:lnTo>
                    <a:lnTo>
                      <a:pt x="1451" y="3073"/>
                    </a:lnTo>
                    <a:lnTo>
                      <a:pt x="1454" y="3072"/>
                    </a:lnTo>
                    <a:lnTo>
                      <a:pt x="1458" y="3072"/>
                    </a:lnTo>
                    <a:lnTo>
                      <a:pt x="1464" y="3072"/>
                    </a:lnTo>
                    <a:lnTo>
                      <a:pt x="1467" y="3072"/>
                    </a:lnTo>
                    <a:lnTo>
                      <a:pt x="1469" y="3071"/>
                    </a:lnTo>
                    <a:lnTo>
                      <a:pt x="1472" y="3070"/>
                    </a:lnTo>
                    <a:lnTo>
                      <a:pt x="1474" y="3066"/>
                    </a:lnTo>
                    <a:lnTo>
                      <a:pt x="1474" y="3066"/>
                    </a:lnTo>
                    <a:lnTo>
                      <a:pt x="1475" y="3057"/>
                    </a:lnTo>
                    <a:lnTo>
                      <a:pt x="1476" y="3048"/>
                    </a:lnTo>
                    <a:lnTo>
                      <a:pt x="1478" y="3041"/>
                    </a:lnTo>
                    <a:lnTo>
                      <a:pt x="1481" y="3036"/>
                    </a:lnTo>
                    <a:lnTo>
                      <a:pt x="1484" y="3033"/>
                    </a:lnTo>
                    <a:lnTo>
                      <a:pt x="1484" y="3033"/>
                    </a:lnTo>
                    <a:lnTo>
                      <a:pt x="1490" y="3026"/>
                    </a:lnTo>
                    <a:lnTo>
                      <a:pt x="1498" y="3018"/>
                    </a:lnTo>
                    <a:lnTo>
                      <a:pt x="1515" y="3003"/>
                    </a:lnTo>
                    <a:lnTo>
                      <a:pt x="1523" y="2995"/>
                    </a:lnTo>
                    <a:lnTo>
                      <a:pt x="1530" y="2986"/>
                    </a:lnTo>
                    <a:lnTo>
                      <a:pt x="1534" y="2977"/>
                    </a:lnTo>
                    <a:lnTo>
                      <a:pt x="1536" y="2972"/>
                    </a:lnTo>
                    <a:lnTo>
                      <a:pt x="1536" y="2967"/>
                    </a:lnTo>
                    <a:lnTo>
                      <a:pt x="1536" y="2967"/>
                    </a:lnTo>
                    <a:lnTo>
                      <a:pt x="1535" y="2963"/>
                    </a:lnTo>
                    <a:lnTo>
                      <a:pt x="1534" y="2960"/>
                    </a:lnTo>
                    <a:lnTo>
                      <a:pt x="1530" y="2956"/>
                    </a:lnTo>
                    <a:lnTo>
                      <a:pt x="1524" y="2953"/>
                    </a:lnTo>
                    <a:lnTo>
                      <a:pt x="1523" y="2951"/>
                    </a:lnTo>
                    <a:lnTo>
                      <a:pt x="1521" y="2949"/>
                    </a:lnTo>
                    <a:lnTo>
                      <a:pt x="1521" y="2949"/>
                    </a:lnTo>
                    <a:lnTo>
                      <a:pt x="1521" y="2934"/>
                    </a:lnTo>
                    <a:lnTo>
                      <a:pt x="1521" y="2934"/>
                    </a:lnTo>
                    <a:lnTo>
                      <a:pt x="1521" y="2928"/>
                    </a:lnTo>
                    <a:lnTo>
                      <a:pt x="1522" y="2924"/>
                    </a:lnTo>
                    <a:lnTo>
                      <a:pt x="1524" y="2919"/>
                    </a:lnTo>
                    <a:lnTo>
                      <a:pt x="1528" y="2916"/>
                    </a:lnTo>
                    <a:lnTo>
                      <a:pt x="1528" y="2916"/>
                    </a:lnTo>
                    <a:lnTo>
                      <a:pt x="1531" y="2910"/>
                    </a:lnTo>
                    <a:lnTo>
                      <a:pt x="1536" y="2905"/>
                    </a:lnTo>
                    <a:lnTo>
                      <a:pt x="1541" y="2902"/>
                    </a:lnTo>
                    <a:lnTo>
                      <a:pt x="1546" y="2898"/>
                    </a:lnTo>
                    <a:lnTo>
                      <a:pt x="1551" y="2896"/>
                    </a:lnTo>
                    <a:lnTo>
                      <a:pt x="1557" y="2895"/>
                    </a:lnTo>
                    <a:lnTo>
                      <a:pt x="1568" y="2894"/>
                    </a:lnTo>
                    <a:lnTo>
                      <a:pt x="1568" y="2894"/>
                    </a:lnTo>
                    <a:lnTo>
                      <a:pt x="1573" y="2895"/>
                    </a:lnTo>
                    <a:lnTo>
                      <a:pt x="1575" y="2896"/>
                    </a:lnTo>
                    <a:lnTo>
                      <a:pt x="1577" y="2899"/>
                    </a:lnTo>
                    <a:lnTo>
                      <a:pt x="1580" y="2904"/>
                    </a:lnTo>
                    <a:lnTo>
                      <a:pt x="1583" y="2913"/>
                    </a:lnTo>
                    <a:lnTo>
                      <a:pt x="1587" y="2922"/>
                    </a:lnTo>
                    <a:lnTo>
                      <a:pt x="1587" y="2922"/>
                    </a:lnTo>
                    <a:lnTo>
                      <a:pt x="1626" y="2945"/>
                    </a:lnTo>
                    <a:lnTo>
                      <a:pt x="1656" y="2960"/>
                    </a:lnTo>
                    <a:lnTo>
                      <a:pt x="1667" y="2965"/>
                    </a:lnTo>
                    <a:lnTo>
                      <a:pt x="1675" y="2967"/>
                    </a:lnTo>
                    <a:lnTo>
                      <a:pt x="1675" y="2967"/>
                    </a:lnTo>
                    <a:lnTo>
                      <a:pt x="1684" y="2966"/>
                    </a:lnTo>
                    <a:lnTo>
                      <a:pt x="1691" y="2965"/>
                    </a:lnTo>
                    <a:lnTo>
                      <a:pt x="1697" y="2962"/>
                    </a:lnTo>
                    <a:lnTo>
                      <a:pt x="1702" y="2958"/>
                    </a:lnTo>
                    <a:lnTo>
                      <a:pt x="1704" y="2955"/>
                    </a:lnTo>
                    <a:lnTo>
                      <a:pt x="1706" y="2950"/>
                    </a:lnTo>
                    <a:lnTo>
                      <a:pt x="1707" y="2945"/>
                    </a:lnTo>
                    <a:lnTo>
                      <a:pt x="1709" y="2941"/>
                    </a:lnTo>
                    <a:lnTo>
                      <a:pt x="1709" y="2941"/>
                    </a:lnTo>
                    <a:lnTo>
                      <a:pt x="1709" y="2916"/>
                    </a:lnTo>
                    <a:lnTo>
                      <a:pt x="1709" y="2916"/>
                    </a:lnTo>
                    <a:lnTo>
                      <a:pt x="1709" y="2910"/>
                    </a:lnTo>
                    <a:lnTo>
                      <a:pt x="1711" y="2905"/>
                    </a:lnTo>
                    <a:lnTo>
                      <a:pt x="1716" y="2897"/>
                    </a:lnTo>
                    <a:lnTo>
                      <a:pt x="1720" y="2890"/>
                    </a:lnTo>
                    <a:lnTo>
                      <a:pt x="1722" y="2887"/>
                    </a:lnTo>
                    <a:lnTo>
                      <a:pt x="1722" y="2882"/>
                    </a:lnTo>
                    <a:lnTo>
                      <a:pt x="1722" y="2882"/>
                    </a:lnTo>
                    <a:lnTo>
                      <a:pt x="1722" y="2864"/>
                    </a:lnTo>
                    <a:lnTo>
                      <a:pt x="1722" y="2864"/>
                    </a:lnTo>
                    <a:lnTo>
                      <a:pt x="1721" y="2860"/>
                    </a:lnTo>
                    <a:lnTo>
                      <a:pt x="1719" y="2856"/>
                    </a:lnTo>
                    <a:lnTo>
                      <a:pt x="1712" y="2849"/>
                    </a:lnTo>
                    <a:lnTo>
                      <a:pt x="1705" y="2842"/>
                    </a:lnTo>
                    <a:lnTo>
                      <a:pt x="1696" y="2835"/>
                    </a:lnTo>
                    <a:lnTo>
                      <a:pt x="1688" y="2829"/>
                    </a:lnTo>
                    <a:lnTo>
                      <a:pt x="1682" y="2823"/>
                    </a:lnTo>
                    <a:lnTo>
                      <a:pt x="1676" y="2818"/>
                    </a:lnTo>
                    <a:lnTo>
                      <a:pt x="1675" y="2815"/>
                    </a:lnTo>
                    <a:lnTo>
                      <a:pt x="1675" y="2812"/>
                    </a:lnTo>
                    <a:lnTo>
                      <a:pt x="1675" y="2812"/>
                    </a:lnTo>
                    <a:lnTo>
                      <a:pt x="1675" y="2806"/>
                    </a:lnTo>
                    <a:lnTo>
                      <a:pt x="1676" y="2802"/>
                    </a:lnTo>
                    <a:lnTo>
                      <a:pt x="1679" y="2797"/>
                    </a:lnTo>
                    <a:lnTo>
                      <a:pt x="1681" y="2792"/>
                    </a:lnTo>
                    <a:lnTo>
                      <a:pt x="1688" y="2784"/>
                    </a:lnTo>
                    <a:lnTo>
                      <a:pt x="1696" y="2779"/>
                    </a:lnTo>
                    <a:lnTo>
                      <a:pt x="1703" y="2772"/>
                    </a:lnTo>
                    <a:lnTo>
                      <a:pt x="1710" y="2765"/>
                    </a:lnTo>
                    <a:lnTo>
                      <a:pt x="1712" y="2760"/>
                    </a:lnTo>
                    <a:lnTo>
                      <a:pt x="1714" y="2757"/>
                    </a:lnTo>
                    <a:lnTo>
                      <a:pt x="1716" y="2752"/>
                    </a:lnTo>
                    <a:lnTo>
                      <a:pt x="1716" y="2746"/>
                    </a:lnTo>
                    <a:lnTo>
                      <a:pt x="1716" y="2746"/>
                    </a:lnTo>
                    <a:lnTo>
                      <a:pt x="1716" y="2739"/>
                    </a:lnTo>
                    <a:lnTo>
                      <a:pt x="1714" y="2734"/>
                    </a:lnTo>
                    <a:lnTo>
                      <a:pt x="1710" y="2723"/>
                    </a:lnTo>
                    <a:lnTo>
                      <a:pt x="1705" y="2714"/>
                    </a:lnTo>
                    <a:lnTo>
                      <a:pt x="1701" y="2706"/>
                    </a:lnTo>
                    <a:lnTo>
                      <a:pt x="1701" y="2706"/>
                    </a:lnTo>
                    <a:lnTo>
                      <a:pt x="1635" y="2706"/>
                    </a:lnTo>
                    <a:lnTo>
                      <a:pt x="1635" y="2706"/>
                    </a:lnTo>
                    <a:lnTo>
                      <a:pt x="1635" y="2706"/>
                    </a:lnTo>
                    <a:lnTo>
                      <a:pt x="1632" y="2700"/>
                    </a:lnTo>
                    <a:lnTo>
                      <a:pt x="1628" y="2693"/>
                    </a:lnTo>
                    <a:lnTo>
                      <a:pt x="1626" y="2684"/>
                    </a:lnTo>
                    <a:lnTo>
                      <a:pt x="1623" y="2675"/>
                    </a:lnTo>
                    <a:lnTo>
                      <a:pt x="1621" y="2652"/>
                    </a:lnTo>
                    <a:lnTo>
                      <a:pt x="1620" y="2629"/>
                    </a:lnTo>
                    <a:lnTo>
                      <a:pt x="1620" y="2629"/>
                    </a:lnTo>
                    <a:lnTo>
                      <a:pt x="1621" y="2616"/>
                    </a:lnTo>
                    <a:lnTo>
                      <a:pt x="1623" y="2607"/>
                    </a:lnTo>
                    <a:lnTo>
                      <a:pt x="1626" y="2600"/>
                    </a:lnTo>
                    <a:lnTo>
                      <a:pt x="1628" y="2593"/>
                    </a:lnTo>
                    <a:lnTo>
                      <a:pt x="1635" y="2581"/>
                    </a:lnTo>
                    <a:lnTo>
                      <a:pt x="1637" y="2573"/>
                    </a:lnTo>
                    <a:lnTo>
                      <a:pt x="1638" y="2563"/>
                    </a:lnTo>
                    <a:lnTo>
                      <a:pt x="1638" y="2563"/>
                    </a:lnTo>
                    <a:lnTo>
                      <a:pt x="1634" y="2562"/>
                    </a:lnTo>
                    <a:lnTo>
                      <a:pt x="1630" y="2560"/>
                    </a:lnTo>
                    <a:lnTo>
                      <a:pt x="1627" y="2555"/>
                    </a:lnTo>
                    <a:lnTo>
                      <a:pt x="1625" y="2548"/>
                    </a:lnTo>
                    <a:lnTo>
                      <a:pt x="1625" y="2548"/>
                    </a:lnTo>
                    <a:lnTo>
                      <a:pt x="1632" y="2544"/>
                    </a:lnTo>
                    <a:lnTo>
                      <a:pt x="1637" y="2539"/>
                    </a:lnTo>
                    <a:lnTo>
                      <a:pt x="1645" y="2529"/>
                    </a:lnTo>
                    <a:lnTo>
                      <a:pt x="1655" y="2519"/>
                    </a:lnTo>
                    <a:lnTo>
                      <a:pt x="1660" y="2513"/>
                    </a:lnTo>
                    <a:lnTo>
                      <a:pt x="1668" y="2508"/>
                    </a:lnTo>
                    <a:lnTo>
                      <a:pt x="1668" y="2508"/>
                    </a:lnTo>
                    <a:lnTo>
                      <a:pt x="1672" y="2502"/>
                    </a:lnTo>
                    <a:lnTo>
                      <a:pt x="1676" y="2498"/>
                    </a:lnTo>
                    <a:lnTo>
                      <a:pt x="1679" y="2494"/>
                    </a:lnTo>
                    <a:lnTo>
                      <a:pt x="1681" y="2491"/>
                    </a:lnTo>
                    <a:lnTo>
                      <a:pt x="1682" y="2487"/>
                    </a:lnTo>
                    <a:lnTo>
                      <a:pt x="1683" y="2482"/>
                    </a:lnTo>
                    <a:lnTo>
                      <a:pt x="1683" y="2482"/>
                    </a:lnTo>
                    <a:lnTo>
                      <a:pt x="1684" y="2472"/>
                    </a:lnTo>
                    <a:lnTo>
                      <a:pt x="1687" y="2464"/>
                    </a:lnTo>
                    <a:lnTo>
                      <a:pt x="1691" y="2458"/>
                    </a:lnTo>
                    <a:lnTo>
                      <a:pt x="1696" y="2451"/>
                    </a:lnTo>
                    <a:lnTo>
                      <a:pt x="1701" y="2443"/>
                    </a:lnTo>
                    <a:lnTo>
                      <a:pt x="1704" y="2436"/>
                    </a:lnTo>
                    <a:lnTo>
                      <a:pt x="1707" y="2426"/>
                    </a:lnTo>
                    <a:lnTo>
                      <a:pt x="1709" y="2416"/>
                    </a:lnTo>
                    <a:lnTo>
                      <a:pt x="1709" y="2416"/>
                    </a:lnTo>
                    <a:lnTo>
                      <a:pt x="1707" y="2413"/>
                    </a:lnTo>
                    <a:lnTo>
                      <a:pt x="1706" y="2409"/>
                    </a:lnTo>
                    <a:lnTo>
                      <a:pt x="1701" y="2402"/>
                    </a:lnTo>
                    <a:lnTo>
                      <a:pt x="1698" y="2399"/>
                    </a:lnTo>
                    <a:lnTo>
                      <a:pt x="1696" y="2394"/>
                    </a:lnTo>
                    <a:lnTo>
                      <a:pt x="1694" y="2388"/>
                    </a:lnTo>
                    <a:lnTo>
                      <a:pt x="1694" y="2383"/>
                    </a:lnTo>
                    <a:lnTo>
                      <a:pt x="1694" y="2383"/>
                    </a:lnTo>
                    <a:lnTo>
                      <a:pt x="1694" y="2378"/>
                    </a:lnTo>
                    <a:lnTo>
                      <a:pt x="1696" y="2375"/>
                    </a:lnTo>
                    <a:lnTo>
                      <a:pt x="1701" y="2365"/>
                    </a:lnTo>
                    <a:lnTo>
                      <a:pt x="1706" y="2356"/>
                    </a:lnTo>
                    <a:lnTo>
                      <a:pt x="1707" y="2352"/>
                    </a:lnTo>
                    <a:lnTo>
                      <a:pt x="1709" y="2346"/>
                    </a:lnTo>
                    <a:lnTo>
                      <a:pt x="1709" y="2346"/>
                    </a:lnTo>
                    <a:lnTo>
                      <a:pt x="1707" y="2340"/>
                    </a:lnTo>
                    <a:lnTo>
                      <a:pt x="1706" y="2334"/>
                    </a:lnTo>
                    <a:lnTo>
                      <a:pt x="1704" y="2329"/>
                    </a:lnTo>
                    <a:lnTo>
                      <a:pt x="1701" y="2324"/>
                    </a:lnTo>
                    <a:lnTo>
                      <a:pt x="1693" y="2316"/>
                    </a:lnTo>
                    <a:lnTo>
                      <a:pt x="1684" y="2309"/>
                    </a:lnTo>
                    <a:lnTo>
                      <a:pt x="1675" y="2302"/>
                    </a:lnTo>
                    <a:lnTo>
                      <a:pt x="1668" y="2293"/>
                    </a:lnTo>
                    <a:lnTo>
                      <a:pt x="1665" y="2288"/>
                    </a:lnTo>
                    <a:lnTo>
                      <a:pt x="1663" y="2283"/>
                    </a:lnTo>
                    <a:lnTo>
                      <a:pt x="1661" y="2276"/>
                    </a:lnTo>
                    <a:lnTo>
                      <a:pt x="1660" y="2269"/>
                    </a:lnTo>
                    <a:lnTo>
                      <a:pt x="1660" y="2269"/>
                    </a:lnTo>
                    <a:lnTo>
                      <a:pt x="1661" y="2260"/>
                    </a:lnTo>
                    <a:lnTo>
                      <a:pt x="1664" y="2253"/>
                    </a:lnTo>
                    <a:lnTo>
                      <a:pt x="1667" y="2247"/>
                    </a:lnTo>
                    <a:lnTo>
                      <a:pt x="1672" y="2241"/>
                    </a:lnTo>
                    <a:lnTo>
                      <a:pt x="1680" y="2232"/>
                    </a:lnTo>
                    <a:lnTo>
                      <a:pt x="1682" y="2226"/>
                    </a:lnTo>
                    <a:lnTo>
                      <a:pt x="1683" y="2222"/>
                    </a:lnTo>
                    <a:lnTo>
                      <a:pt x="1683" y="2222"/>
                    </a:lnTo>
                    <a:lnTo>
                      <a:pt x="1682" y="2215"/>
                    </a:lnTo>
                    <a:lnTo>
                      <a:pt x="1680" y="2209"/>
                    </a:lnTo>
                    <a:lnTo>
                      <a:pt x="1672" y="2199"/>
                    </a:lnTo>
                    <a:lnTo>
                      <a:pt x="1667" y="2193"/>
                    </a:lnTo>
                    <a:lnTo>
                      <a:pt x="1664" y="2186"/>
                    </a:lnTo>
                    <a:lnTo>
                      <a:pt x="1661" y="2177"/>
                    </a:lnTo>
                    <a:lnTo>
                      <a:pt x="1660" y="2166"/>
                    </a:lnTo>
                    <a:lnTo>
                      <a:pt x="1660" y="2166"/>
                    </a:lnTo>
                    <a:lnTo>
                      <a:pt x="1661" y="2157"/>
                    </a:lnTo>
                    <a:lnTo>
                      <a:pt x="1664" y="2149"/>
                    </a:lnTo>
                    <a:lnTo>
                      <a:pt x="1667" y="2142"/>
                    </a:lnTo>
                    <a:lnTo>
                      <a:pt x="1672" y="2136"/>
                    </a:lnTo>
                    <a:lnTo>
                      <a:pt x="1678" y="2133"/>
                    </a:lnTo>
                    <a:lnTo>
                      <a:pt x="1684" y="2130"/>
                    </a:lnTo>
                    <a:lnTo>
                      <a:pt x="1699" y="2124"/>
                    </a:lnTo>
                    <a:lnTo>
                      <a:pt x="1714" y="2119"/>
                    </a:lnTo>
                    <a:lnTo>
                      <a:pt x="1728" y="2113"/>
                    </a:lnTo>
                    <a:lnTo>
                      <a:pt x="1735" y="2110"/>
                    </a:lnTo>
                    <a:lnTo>
                      <a:pt x="1741" y="2105"/>
                    </a:lnTo>
                    <a:lnTo>
                      <a:pt x="1745" y="2100"/>
                    </a:lnTo>
                    <a:lnTo>
                      <a:pt x="1749" y="2093"/>
                    </a:lnTo>
                    <a:lnTo>
                      <a:pt x="1749" y="2093"/>
                    </a:lnTo>
                    <a:lnTo>
                      <a:pt x="1749" y="2078"/>
                    </a:lnTo>
                    <a:lnTo>
                      <a:pt x="1749" y="2078"/>
                    </a:lnTo>
                    <a:lnTo>
                      <a:pt x="1749" y="2078"/>
                    </a:lnTo>
                    <a:lnTo>
                      <a:pt x="1742" y="2078"/>
                    </a:lnTo>
                    <a:lnTo>
                      <a:pt x="1742" y="2078"/>
                    </a:lnTo>
                    <a:lnTo>
                      <a:pt x="1728" y="2079"/>
                    </a:lnTo>
                    <a:lnTo>
                      <a:pt x="1716" y="2080"/>
                    </a:lnTo>
                    <a:lnTo>
                      <a:pt x="1703" y="2081"/>
                    </a:lnTo>
                    <a:lnTo>
                      <a:pt x="1697" y="2080"/>
                    </a:lnTo>
                    <a:lnTo>
                      <a:pt x="1690" y="2078"/>
                    </a:lnTo>
                    <a:lnTo>
                      <a:pt x="1690" y="2078"/>
                    </a:lnTo>
                    <a:lnTo>
                      <a:pt x="1676" y="2072"/>
                    </a:lnTo>
                    <a:lnTo>
                      <a:pt x="1665" y="2067"/>
                    </a:lnTo>
                    <a:lnTo>
                      <a:pt x="1656" y="2064"/>
                    </a:lnTo>
                    <a:lnTo>
                      <a:pt x="1645" y="2063"/>
                    </a:lnTo>
                    <a:lnTo>
                      <a:pt x="1645" y="2063"/>
                    </a:lnTo>
                    <a:lnTo>
                      <a:pt x="1629" y="2064"/>
                    </a:lnTo>
                    <a:lnTo>
                      <a:pt x="1613" y="2066"/>
                    </a:lnTo>
                    <a:lnTo>
                      <a:pt x="1596" y="2066"/>
                    </a:lnTo>
                    <a:lnTo>
                      <a:pt x="1588" y="2065"/>
                    </a:lnTo>
                    <a:lnTo>
                      <a:pt x="1580" y="2063"/>
                    </a:lnTo>
                    <a:lnTo>
                      <a:pt x="1580" y="2063"/>
                    </a:lnTo>
                    <a:lnTo>
                      <a:pt x="1580" y="1979"/>
                    </a:lnTo>
                    <a:lnTo>
                      <a:pt x="1580" y="1979"/>
                    </a:lnTo>
                    <a:lnTo>
                      <a:pt x="1581" y="1973"/>
                    </a:lnTo>
                    <a:lnTo>
                      <a:pt x="1581" y="1967"/>
                    </a:lnTo>
                    <a:lnTo>
                      <a:pt x="1585" y="1957"/>
                    </a:lnTo>
                    <a:lnTo>
                      <a:pt x="1590" y="1948"/>
                    </a:lnTo>
                    <a:lnTo>
                      <a:pt x="1596" y="1940"/>
                    </a:lnTo>
                    <a:lnTo>
                      <a:pt x="1607" y="1926"/>
                    </a:lnTo>
                    <a:lnTo>
                      <a:pt x="1612" y="1919"/>
                    </a:lnTo>
                    <a:lnTo>
                      <a:pt x="1612" y="1916"/>
                    </a:lnTo>
                    <a:lnTo>
                      <a:pt x="1613" y="1913"/>
                    </a:lnTo>
                    <a:lnTo>
                      <a:pt x="1613" y="1913"/>
                    </a:lnTo>
                    <a:lnTo>
                      <a:pt x="1612" y="1904"/>
                    </a:lnTo>
                    <a:lnTo>
                      <a:pt x="1610" y="1896"/>
                    </a:lnTo>
                    <a:lnTo>
                      <a:pt x="1607" y="1888"/>
                    </a:lnTo>
                    <a:lnTo>
                      <a:pt x="1603" y="1880"/>
                    </a:lnTo>
                    <a:lnTo>
                      <a:pt x="1592" y="1866"/>
                    </a:lnTo>
                    <a:lnTo>
                      <a:pt x="1581" y="1852"/>
                    </a:lnTo>
                    <a:lnTo>
                      <a:pt x="1568" y="1838"/>
                    </a:lnTo>
                    <a:lnTo>
                      <a:pt x="1557" y="1824"/>
                    </a:lnTo>
                    <a:lnTo>
                      <a:pt x="1552" y="1817"/>
                    </a:lnTo>
                    <a:lnTo>
                      <a:pt x="1548" y="1809"/>
                    </a:lnTo>
                    <a:lnTo>
                      <a:pt x="1545" y="1800"/>
                    </a:lnTo>
                    <a:lnTo>
                      <a:pt x="1543" y="1791"/>
                    </a:lnTo>
                    <a:lnTo>
                      <a:pt x="1543" y="1791"/>
                    </a:lnTo>
                    <a:lnTo>
                      <a:pt x="1542" y="1782"/>
                    </a:lnTo>
                    <a:lnTo>
                      <a:pt x="1542" y="1774"/>
                    </a:lnTo>
                    <a:lnTo>
                      <a:pt x="1543" y="1765"/>
                    </a:lnTo>
                    <a:lnTo>
                      <a:pt x="1545" y="1757"/>
                    </a:lnTo>
                    <a:lnTo>
                      <a:pt x="1548" y="1749"/>
                    </a:lnTo>
                    <a:lnTo>
                      <a:pt x="1549" y="1742"/>
                    </a:lnTo>
                    <a:lnTo>
                      <a:pt x="1549" y="1734"/>
                    </a:lnTo>
                    <a:lnTo>
                      <a:pt x="1548" y="1726"/>
                    </a:lnTo>
                    <a:lnTo>
                      <a:pt x="1548" y="1726"/>
                    </a:lnTo>
                    <a:lnTo>
                      <a:pt x="1546" y="1722"/>
                    </a:lnTo>
                    <a:lnTo>
                      <a:pt x="1544" y="1719"/>
                    </a:lnTo>
                    <a:lnTo>
                      <a:pt x="1539" y="1714"/>
                    </a:lnTo>
                    <a:lnTo>
                      <a:pt x="1533" y="1710"/>
                    </a:lnTo>
                    <a:lnTo>
                      <a:pt x="1524" y="1707"/>
                    </a:lnTo>
                    <a:lnTo>
                      <a:pt x="1506" y="1703"/>
                    </a:lnTo>
                    <a:lnTo>
                      <a:pt x="1488" y="1699"/>
                    </a:lnTo>
                    <a:lnTo>
                      <a:pt x="1488" y="1699"/>
                    </a:lnTo>
                    <a:lnTo>
                      <a:pt x="1490" y="1692"/>
                    </a:lnTo>
                    <a:lnTo>
                      <a:pt x="1492" y="1688"/>
                    </a:lnTo>
                    <a:lnTo>
                      <a:pt x="1496" y="1682"/>
                    </a:lnTo>
                    <a:lnTo>
                      <a:pt x="1499" y="1679"/>
                    </a:lnTo>
                    <a:lnTo>
                      <a:pt x="1508" y="1670"/>
                    </a:lnTo>
                    <a:lnTo>
                      <a:pt x="1519" y="1665"/>
                    </a:lnTo>
                    <a:lnTo>
                      <a:pt x="1528" y="1658"/>
                    </a:lnTo>
                    <a:lnTo>
                      <a:pt x="1535" y="1651"/>
                    </a:lnTo>
                    <a:lnTo>
                      <a:pt x="1538" y="1646"/>
                    </a:lnTo>
                    <a:lnTo>
                      <a:pt x="1541" y="1642"/>
                    </a:lnTo>
                    <a:lnTo>
                      <a:pt x="1542" y="1636"/>
                    </a:lnTo>
                    <a:lnTo>
                      <a:pt x="1543" y="1630"/>
                    </a:lnTo>
                    <a:lnTo>
                      <a:pt x="1543" y="1630"/>
                    </a:lnTo>
                    <a:lnTo>
                      <a:pt x="1542" y="1606"/>
                    </a:lnTo>
                    <a:lnTo>
                      <a:pt x="1541" y="1583"/>
                    </a:lnTo>
                    <a:lnTo>
                      <a:pt x="1538" y="1561"/>
                    </a:lnTo>
                    <a:lnTo>
                      <a:pt x="1535" y="1538"/>
                    </a:lnTo>
                    <a:lnTo>
                      <a:pt x="1530" y="1516"/>
                    </a:lnTo>
                    <a:lnTo>
                      <a:pt x="1524" y="1494"/>
                    </a:lnTo>
                    <a:lnTo>
                      <a:pt x="1519" y="1473"/>
                    </a:lnTo>
                    <a:lnTo>
                      <a:pt x="1512" y="1452"/>
                    </a:lnTo>
                    <a:lnTo>
                      <a:pt x="1504" y="1431"/>
                    </a:lnTo>
                    <a:lnTo>
                      <a:pt x="1496" y="1410"/>
                    </a:lnTo>
                    <a:lnTo>
                      <a:pt x="1477" y="1370"/>
                    </a:lnTo>
                    <a:lnTo>
                      <a:pt x="1458" y="1332"/>
                    </a:lnTo>
                    <a:lnTo>
                      <a:pt x="1436" y="1295"/>
                    </a:lnTo>
                    <a:lnTo>
                      <a:pt x="1436" y="1295"/>
                    </a:lnTo>
                    <a:lnTo>
                      <a:pt x="1443" y="1292"/>
                    </a:lnTo>
                    <a:lnTo>
                      <a:pt x="1449" y="1288"/>
                    </a:lnTo>
                    <a:lnTo>
                      <a:pt x="1460" y="1278"/>
                    </a:lnTo>
                    <a:lnTo>
                      <a:pt x="1472" y="1267"/>
                    </a:lnTo>
                    <a:lnTo>
                      <a:pt x="1483" y="1254"/>
                    </a:lnTo>
                    <a:lnTo>
                      <a:pt x="1493" y="1242"/>
                    </a:lnTo>
                    <a:lnTo>
                      <a:pt x="1503" y="1231"/>
                    </a:lnTo>
                    <a:lnTo>
                      <a:pt x="1513" y="1223"/>
                    </a:lnTo>
                    <a:lnTo>
                      <a:pt x="1516" y="1221"/>
                    </a:lnTo>
                    <a:lnTo>
                      <a:pt x="1521" y="1218"/>
                    </a:lnTo>
                    <a:lnTo>
                      <a:pt x="1521" y="1218"/>
                    </a:lnTo>
                    <a:lnTo>
                      <a:pt x="1526" y="1217"/>
                    </a:lnTo>
                    <a:lnTo>
                      <a:pt x="1531" y="1216"/>
                    </a:lnTo>
                    <a:lnTo>
                      <a:pt x="1542" y="1215"/>
                    </a:lnTo>
                    <a:lnTo>
                      <a:pt x="1560" y="1215"/>
                    </a:lnTo>
                    <a:lnTo>
                      <a:pt x="1568" y="1214"/>
                    </a:lnTo>
                    <a:lnTo>
                      <a:pt x="1572" y="1212"/>
                    </a:lnTo>
                    <a:lnTo>
                      <a:pt x="1574" y="1210"/>
                    </a:lnTo>
                    <a:lnTo>
                      <a:pt x="1576" y="1208"/>
                    </a:lnTo>
                    <a:lnTo>
                      <a:pt x="1579" y="1203"/>
                    </a:lnTo>
                    <a:lnTo>
                      <a:pt x="1580" y="1199"/>
                    </a:lnTo>
                    <a:lnTo>
                      <a:pt x="1580" y="1193"/>
                    </a:lnTo>
                    <a:lnTo>
                      <a:pt x="1580" y="1193"/>
                    </a:lnTo>
                    <a:lnTo>
                      <a:pt x="1580" y="1186"/>
                    </a:lnTo>
                    <a:lnTo>
                      <a:pt x="1577" y="1180"/>
                    </a:lnTo>
                    <a:lnTo>
                      <a:pt x="1571" y="1169"/>
                    </a:lnTo>
                    <a:lnTo>
                      <a:pt x="1565" y="1157"/>
                    </a:lnTo>
                    <a:lnTo>
                      <a:pt x="1562" y="1151"/>
                    </a:lnTo>
                    <a:lnTo>
                      <a:pt x="1561" y="1145"/>
                    </a:lnTo>
                    <a:lnTo>
                      <a:pt x="1561" y="1145"/>
                    </a:lnTo>
                    <a:lnTo>
                      <a:pt x="1613" y="1012"/>
                    </a:lnTo>
                    <a:lnTo>
                      <a:pt x="1613" y="1012"/>
                    </a:lnTo>
                    <a:lnTo>
                      <a:pt x="1613" y="1012"/>
                    </a:lnTo>
                    <a:lnTo>
                      <a:pt x="1620" y="1008"/>
                    </a:lnTo>
                    <a:lnTo>
                      <a:pt x="1629" y="1002"/>
                    </a:lnTo>
                    <a:lnTo>
                      <a:pt x="1640" y="997"/>
                    </a:lnTo>
                    <a:lnTo>
                      <a:pt x="1650" y="992"/>
                    </a:lnTo>
                    <a:lnTo>
                      <a:pt x="1659" y="985"/>
                    </a:lnTo>
                    <a:lnTo>
                      <a:pt x="1664" y="981"/>
                    </a:lnTo>
                    <a:lnTo>
                      <a:pt x="1667" y="977"/>
                    </a:lnTo>
                    <a:lnTo>
                      <a:pt x="1671" y="972"/>
                    </a:lnTo>
                    <a:lnTo>
                      <a:pt x="1673" y="966"/>
                    </a:lnTo>
                    <a:lnTo>
                      <a:pt x="1674" y="960"/>
                    </a:lnTo>
                    <a:lnTo>
                      <a:pt x="1675" y="954"/>
                    </a:lnTo>
                    <a:lnTo>
                      <a:pt x="1675" y="954"/>
                    </a:lnTo>
                    <a:lnTo>
                      <a:pt x="1675" y="949"/>
                    </a:lnTo>
                    <a:lnTo>
                      <a:pt x="1674" y="944"/>
                    </a:lnTo>
                    <a:lnTo>
                      <a:pt x="1672" y="940"/>
                    </a:lnTo>
                    <a:lnTo>
                      <a:pt x="1669" y="936"/>
                    </a:lnTo>
                    <a:lnTo>
                      <a:pt x="1664" y="929"/>
                    </a:lnTo>
                    <a:lnTo>
                      <a:pt x="1657" y="925"/>
                    </a:lnTo>
                    <a:lnTo>
                      <a:pt x="1643" y="916"/>
                    </a:lnTo>
                    <a:lnTo>
                      <a:pt x="1636" y="911"/>
                    </a:lnTo>
                    <a:lnTo>
                      <a:pt x="1632" y="906"/>
                    </a:lnTo>
                    <a:lnTo>
                      <a:pt x="1632" y="906"/>
                    </a:lnTo>
                    <a:lnTo>
                      <a:pt x="1628" y="901"/>
                    </a:lnTo>
                    <a:lnTo>
                      <a:pt x="1626" y="895"/>
                    </a:lnTo>
                    <a:lnTo>
                      <a:pt x="1622" y="883"/>
                    </a:lnTo>
                    <a:lnTo>
                      <a:pt x="1621" y="871"/>
                    </a:lnTo>
                    <a:lnTo>
                      <a:pt x="1620" y="859"/>
                    </a:lnTo>
                    <a:lnTo>
                      <a:pt x="1619" y="847"/>
                    </a:lnTo>
                    <a:lnTo>
                      <a:pt x="1617" y="835"/>
                    </a:lnTo>
                    <a:lnTo>
                      <a:pt x="1612" y="825"/>
                    </a:lnTo>
                    <a:lnTo>
                      <a:pt x="1610" y="819"/>
                    </a:lnTo>
                    <a:lnTo>
                      <a:pt x="1606" y="814"/>
                    </a:lnTo>
                    <a:lnTo>
                      <a:pt x="1606" y="814"/>
                    </a:lnTo>
                    <a:lnTo>
                      <a:pt x="1595" y="802"/>
                    </a:lnTo>
                    <a:lnTo>
                      <a:pt x="1583" y="791"/>
                    </a:lnTo>
                    <a:lnTo>
                      <a:pt x="1559" y="773"/>
                    </a:lnTo>
                    <a:lnTo>
                      <a:pt x="1548" y="764"/>
                    </a:lnTo>
                    <a:lnTo>
                      <a:pt x="1536" y="753"/>
                    </a:lnTo>
                    <a:lnTo>
                      <a:pt x="1527" y="741"/>
                    </a:lnTo>
                    <a:lnTo>
                      <a:pt x="1522" y="734"/>
                    </a:lnTo>
                    <a:lnTo>
                      <a:pt x="1518" y="726"/>
                    </a:lnTo>
                    <a:lnTo>
                      <a:pt x="1518" y="726"/>
                    </a:lnTo>
                    <a:lnTo>
                      <a:pt x="1511" y="713"/>
                    </a:lnTo>
                    <a:lnTo>
                      <a:pt x="1507" y="702"/>
                    </a:lnTo>
                    <a:lnTo>
                      <a:pt x="1501" y="681"/>
                    </a:lnTo>
                    <a:lnTo>
                      <a:pt x="1498" y="673"/>
                    </a:lnTo>
                    <a:lnTo>
                      <a:pt x="1496" y="669"/>
                    </a:lnTo>
                    <a:lnTo>
                      <a:pt x="1492" y="665"/>
                    </a:lnTo>
                    <a:lnTo>
                      <a:pt x="1489" y="661"/>
                    </a:lnTo>
                    <a:lnTo>
                      <a:pt x="1483" y="659"/>
                    </a:lnTo>
                    <a:lnTo>
                      <a:pt x="1469" y="653"/>
                    </a:lnTo>
                    <a:lnTo>
                      <a:pt x="1469" y="653"/>
                    </a:lnTo>
                    <a:lnTo>
                      <a:pt x="1475" y="636"/>
                    </a:lnTo>
                    <a:lnTo>
                      <a:pt x="1482" y="622"/>
                    </a:lnTo>
                    <a:lnTo>
                      <a:pt x="1487" y="612"/>
                    </a:lnTo>
                    <a:lnTo>
                      <a:pt x="1488" y="606"/>
                    </a:lnTo>
                    <a:lnTo>
                      <a:pt x="1488" y="601"/>
                    </a:lnTo>
                    <a:lnTo>
                      <a:pt x="1488" y="601"/>
                    </a:lnTo>
                    <a:lnTo>
                      <a:pt x="1489" y="593"/>
                    </a:lnTo>
                    <a:lnTo>
                      <a:pt x="1492" y="586"/>
                    </a:lnTo>
                    <a:lnTo>
                      <a:pt x="1495" y="575"/>
                    </a:lnTo>
                    <a:lnTo>
                      <a:pt x="1496" y="557"/>
                    </a:lnTo>
                    <a:lnTo>
                      <a:pt x="1496" y="557"/>
                    </a:lnTo>
                    <a:lnTo>
                      <a:pt x="1484" y="557"/>
                    </a:lnTo>
                    <a:lnTo>
                      <a:pt x="1484" y="557"/>
                    </a:lnTo>
                    <a:lnTo>
                      <a:pt x="1484" y="557"/>
                    </a:lnTo>
                    <a:lnTo>
                      <a:pt x="1473" y="551"/>
                    </a:lnTo>
                    <a:lnTo>
                      <a:pt x="1459" y="542"/>
                    </a:lnTo>
                    <a:lnTo>
                      <a:pt x="1459" y="542"/>
                    </a:lnTo>
                    <a:lnTo>
                      <a:pt x="1440" y="549"/>
                    </a:lnTo>
                    <a:lnTo>
                      <a:pt x="1428" y="554"/>
                    </a:lnTo>
                    <a:lnTo>
                      <a:pt x="1420" y="561"/>
                    </a:lnTo>
                    <a:lnTo>
                      <a:pt x="1417" y="563"/>
                    </a:lnTo>
                    <a:lnTo>
                      <a:pt x="1416" y="567"/>
                    </a:lnTo>
                    <a:lnTo>
                      <a:pt x="1415" y="570"/>
                    </a:lnTo>
                    <a:lnTo>
                      <a:pt x="1415" y="573"/>
                    </a:lnTo>
                    <a:lnTo>
                      <a:pt x="1417" y="580"/>
                    </a:lnTo>
                    <a:lnTo>
                      <a:pt x="1422" y="585"/>
                    </a:lnTo>
                    <a:lnTo>
                      <a:pt x="1428" y="591"/>
                    </a:lnTo>
                    <a:lnTo>
                      <a:pt x="1440" y="601"/>
                    </a:lnTo>
                    <a:lnTo>
                      <a:pt x="1452" y="612"/>
                    </a:lnTo>
                    <a:lnTo>
                      <a:pt x="1457" y="618"/>
                    </a:lnTo>
                    <a:lnTo>
                      <a:pt x="1458" y="622"/>
                    </a:lnTo>
                    <a:lnTo>
                      <a:pt x="1458" y="624"/>
                    </a:lnTo>
                    <a:lnTo>
                      <a:pt x="1457" y="626"/>
                    </a:lnTo>
                    <a:lnTo>
                      <a:pt x="1451" y="630"/>
                    </a:lnTo>
                    <a:lnTo>
                      <a:pt x="1451" y="630"/>
                    </a:lnTo>
                    <a:lnTo>
                      <a:pt x="1444" y="645"/>
                    </a:lnTo>
                    <a:lnTo>
                      <a:pt x="1435" y="658"/>
                    </a:lnTo>
                    <a:lnTo>
                      <a:pt x="1426" y="669"/>
                    </a:lnTo>
                    <a:lnTo>
                      <a:pt x="1415" y="680"/>
                    </a:lnTo>
                    <a:lnTo>
                      <a:pt x="1404" y="689"/>
                    </a:lnTo>
                    <a:lnTo>
                      <a:pt x="1392" y="697"/>
                    </a:lnTo>
                    <a:lnTo>
                      <a:pt x="1369" y="712"/>
                    </a:lnTo>
                    <a:lnTo>
                      <a:pt x="1345" y="726"/>
                    </a:lnTo>
                    <a:lnTo>
                      <a:pt x="1323" y="737"/>
                    </a:lnTo>
                    <a:lnTo>
                      <a:pt x="1314" y="744"/>
                    </a:lnTo>
                    <a:lnTo>
                      <a:pt x="1305" y="751"/>
                    </a:lnTo>
                    <a:lnTo>
                      <a:pt x="1297" y="758"/>
                    </a:lnTo>
                    <a:lnTo>
                      <a:pt x="1290" y="766"/>
                    </a:lnTo>
                    <a:lnTo>
                      <a:pt x="1290" y="766"/>
                    </a:lnTo>
                    <a:lnTo>
                      <a:pt x="1290" y="758"/>
                    </a:lnTo>
                    <a:lnTo>
                      <a:pt x="1291" y="749"/>
                    </a:lnTo>
                    <a:lnTo>
                      <a:pt x="1294" y="738"/>
                    </a:lnTo>
                    <a:lnTo>
                      <a:pt x="1298" y="728"/>
                    </a:lnTo>
                    <a:lnTo>
                      <a:pt x="1308" y="705"/>
                    </a:lnTo>
                    <a:lnTo>
                      <a:pt x="1322" y="681"/>
                    </a:lnTo>
                    <a:lnTo>
                      <a:pt x="1339" y="653"/>
                    </a:lnTo>
                    <a:lnTo>
                      <a:pt x="1358" y="626"/>
                    </a:lnTo>
                    <a:lnTo>
                      <a:pt x="1398" y="565"/>
                    </a:lnTo>
                    <a:lnTo>
                      <a:pt x="1419" y="532"/>
                    </a:lnTo>
                    <a:lnTo>
                      <a:pt x="1439" y="499"/>
                    </a:lnTo>
                    <a:lnTo>
                      <a:pt x="1458" y="466"/>
                    </a:lnTo>
                    <a:lnTo>
                      <a:pt x="1475" y="432"/>
                    </a:lnTo>
                    <a:lnTo>
                      <a:pt x="1483" y="415"/>
                    </a:lnTo>
                    <a:lnTo>
                      <a:pt x="1489" y="398"/>
                    </a:lnTo>
                    <a:lnTo>
                      <a:pt x="1496" y="381"/>
                    </a:lnTo>
                    <a:lnTo>
                      <a:pt x="1500" y="363"/>
                    </a:lnTo>
                    <a:lnTo>
                      <a:pt x="1505" y="347"/>
                    </a:lnTo>
                    <a:lnTo>
                      <a:pt x="1507" y="330"/>
                    </a:lnTo>
                    <a:lnTo>
                      <a:pt x="1510" y="313"/>
                    </a:lnTo>
                    <a:lnTo>
                      <a:pt x="1510" y="297"/>
                    </a:lnTo>
                    <a:lnTo>
                      <a:pt x="1510" y="297"/>
                    </a:lnTo>
                    <a:lnTo>
                      <a:pt x="1508" y="284"/>
                    </a:lnTo>
                    <a:lnTo>
                      <a:pt x="1505" y="269"/>
                    </a:lnTo>
                    <a:lnTo>
                      <a:pt x="1499" y="254"/>
                    </a:lnTo>
                    <a:lnTo>
                      <a:pt x="1492" y="239"/>
                    </a:lnTo>
                    <a:lnTo>
                      <a:pt x="1483" y="223"/>
                    </a:lnTo>
                    <a:lnTo>
                      <a:pt x="1472" y="208"/>
                    </a:lnTo>
                    <a:lnTo>
                      <a:pt x="1460" y="193"/>
                    </a:lnTo>
                    <a:lnTo>
                      <a:pt x="1447" y="178"/>
                    </a:lnTo>
                    <a:lnTo>
                      <a:pt x="1434" y="164"/>
                    </a:lnTo>
                    <a:lnTo>
                      <a:pt x="1420" y="150"/>
                    </a:lnTo>
                    <a:lnTo>
                      <a:pt x="1405" y="139"/>
                    </a:lnTo>
                    <a:lnTo>
                      <a:pt x="1391" y="129"/>
                    </a:lnTo>
                    <a:lnTo>
                      <a:pt x="1376" y="120"/>
                    </a:lnTo>
                    <a:lnTo>
                      <a:pt x="1362" y="115"/>
                    </a:lnTo>
                    <a:lnTo>
                      <a:pt x="1350" y="110"/>
                    </a:lnTo>
                    <a:lnTo>
                      <a:pt x="1337" y="109"/>
                    </a:lnTo>
                    <a:lnTo>
                      <a:pt x="1337" y="109"/>
                    </a:lnTo>
                    <a:lnTo>
                      <a:pt x="1317" y="109"/>
                    </a:lnTo>
                    <a:lnTo>
                      <a:pt x="1293" y="110"/>
                    </a:lnTo>
                    <a:lnTo>
                      <a:pt x="1281" y="112"/>
                    </a:lnTo>
                    <a:lnTo>
                      <a:pt x="1269" y="115"/>
                    </a:lnTo>
                    <a:lnTo>
                      <a:pt x="1259" y="118"/>
                    </a:lnTo>
                    <a:lnTo>
                      <a:pt x="1248" y="124"/>
                    </a:lnTo>
                    <a:lnTo>
                      <a:pt x="1248" y="124"/>
                    </a:lnTo>
                    <a:lnTo>
                      <a:pt x="1247" y="135"/>
                    </a:lnTo>
                    <a:lnTo>
                      <a:pt x="1245" y="145"/>
                    </a:lnTo>
                    <a:lnTo>
                      <a:pt x="1243" y="153"/>
                    </a:lnTo>
                    <a:lnTo>
                      <a:pt x="1239" y="160"/>
                    </a:lnTo>
                    <a:lnTo>
                      <a:pt x="1236" y="165"/>
                    </a:lnTo>
                    <a:lnTo>
                      <a:pt x="1232" y="170"/>
                    </a:lnTo>
                    <a:lnTo>
                      <a:pt x="1228" y="173"/>
                    </a:lnTo>
                    <a:lnTo>
                      <a:pt x="1223" y="176"/>
                    </a:lnTo>
                    <a:lnTo>
                      <a:pt x="1218" y="178"/>
                    </a:lnTo>
                    <a:lnTo>
                      <a:pt x="1214" y="179"/>
                    </a:lnTo>
                    <a:lnTo>
                      <a:pt x="1205" y="179"/>
                    </a:lnTo>
                    <a:lnTo>
                      <a:pt x="1186" y="179"/>
                    </a:lnTo>
                    <a:lnTo>
                      <a:pt x="1186" y="179"/>
                    </a:lnTo>
                    <a:lnTo>
                      <a:pt x="1185" y="178"/>
                    </a:lnTo>
                    <a:lnTo>
                      <a:pt x="1184" y="178"/>
                    </a:lnTo>
                    <a:lnTo>
                      <a:pt x="1185" y="173"/>
                    </a:lnTo>
                    <a:lnTo>
                      <a:pt x="1187" y="168"/>
                    </a:lnTo>
                    <a:lnTo>
                      <a:pt x="1192" y="161"/>
                    </a:lnTo>
                    <a:lnTo>
                      <a:pt x="1201" y="142"/>
                    </a:lnTo>
                    <a:lnTo>
                      <a:pt x="1206" y="132"/>
                    </a:lnTo>
                    <a:lnTo>
                      <a:pt x="1208" y="123"/>
                    </a:lnTo>
                    <a:lnTo>
                      <a:pt x="1209" y="112"/>
                    </a:lnTo>
                    <a:lnTo>
                      <a:pt x="1208" y="108"/>
                    </a:lnTo>
                    <a:lnTo>
                      <a:pt x="1207" y="104"/>
                    </a:lnTo>
                    <a:lnTo>
                      <a:pt x="1205" y="100"/>
                    </a:lnTo>
                    <a:lnTo>
                      <a:pt x="1201" y="96"/>
                    </a:lnTo>
                    <a:lnTo>
                      <a:pt x="1197" y="93"/>
                    </a:lnTo>
                    <a:lnTo>
                      <a:pt x="1192" y="91"/>
                    </a:lnTo>
                    <a:lnTo>
                      <a:pt x="1185" y="88"/>
                    </a:lnTo>
                    <a:lnTo>
                      <a:pt x="1177" y="87"/>
                    </a:lnTo>
                    <a:lnTo>
                      <a:pt x="1167" y="86"/>
                    </a:lnTo>
                    <a:lnTo>
                      <a:pt x="1156" y="85"/>
                    </a:lnTo>
                    <a:lnTo>
                      <a:pt x="1129" y="86"/>
                    </a:lnTo>
                    <a:lnTo>
                      <a:pt x="1095" y="91"/>
                    </a:lnTo>
                    <a:lnTo>
                      <a:pt x="1095" y="91"/>
                    </a:lnTo>
                    <a:lnTo>
                      <a:pt x="1092" y="88"/>
                    </a:lnTo>
                    <a:lnTo>
                      <a:pt x="1092" y="85"/>
                    </a:lnTo>
                    <a:lnTo>
                      <a:pt x="1094" y="82"/>
                    </a:lnTo>
                    <a:lnTo>
                      <a:pt x="1098" y="80"/>
                    </a:lnTo>
                    <a:lnTo>
                      <a:pt x="1109" y="74"/>
                    </a:lnTo>
                    <a:lnTo>
                      <a:pt x="1122" y="68"/>
                    </a:lnTo>
                    <a:lnTo>
                      <a:pt x="1128" y="63"/>
                    </a:lnTo>
                    <a:lnTo>
                      <a:pt x="1132" y="58"/>
                    </a:lnTo>
                    <a:lnTo>
                      <a:pt x="1137" y="53"/>
                    </a:lnTo>
                    <a:lnTo>
                      <a:pt x="1139" y="47"/>
                    </a:lnTo>
                    <a:lnTo>
                      <a:pt x="1138" y="40"/>
                    </a:lnTo>
                    <a:lnTo>
                      <a:pt x="1136" y="32"/>
                    </a:lnTo>
                    <a:lnTo>
                      <a:pt x="1130" y="24"/>
                    </a:lnTo>
                    <a:lnTo>
                      <a:pt x="1121" y="13"/>
                    </a:lnTo>
                    <a:lnTo>
                      <a:pt x="1121" y="13"/>
                    </a:lnTo>
                    <a:lnTo>
                      <a:pt x="1103" y="7"/>
                    </a:lnTo>
                    <a:lnTo>
                      <a:pt x="1088" y="2"/>
                    </a:lnTo>
                    <a:lnTo>
                      <a:pt x="1076" y="0"/>
                    </a:lnTo>
                    <a:lnTo>
                      <a:pt x="1064" y="0"/>
                    </a:lnTo>
                    <a:lnTo>
                      <a:pt x="1055" y="2"/>
                    </a:lnTo>
                    <a:lnTo>
                      <a:pt x="1047" y="5"/>
                    </a:lnTo>
                    <a:lnTo>
                      <a:pt x="1042" y="11"/>
                    </a:lnTo>
                    <a:lnTo>
                      <a:pt x="1040" y="17"/>
                    </a:lnTo>
                    <a:lnTo>
                      <a:pt x="1040" y="17"/>
                    </a:lnTo>
                    <a:lnTo>
                      <a:pt x="1032" y="27"/>
                    </a:lnTo>
                    <a:lnTo>
                      <a:pt x="1024" y="39"/>
                    </a:lnTo>
                    <a:lnTo>
                      <a:pt x="1008" y="69"/>
                    </a:lnTo>
                    <a:lnTo>
                      <a:pt x="992" y="101"/>
                    </a:lnTo>
                    <a:lnTo>
                      <a:pt x="984" y="115"/>
                    </a:lnTo>
                    <a:lnTo>
                      <a:pt x="973" y="127"/>
                    </a:lnTo>
                    <a:lnTo>
                      <a:pt x="973" y="127"/>
                    </a:lnTo>
                    <a:lnTo>
                      <a:pt x="970" y="133"/>
                    </a:lnTo>
                    <a:lnTo>
                      <a:pt x="969" y="140"/>
                    </a:lnTo>
                    <a:lnTo>
                      <a:pt x="969" y="147"/>
                    </a:lnTo>
                    <a:lnTo>
                      <a:pt x="970" y="154"/>
                    </a:lnTo>
                    <a:lnTo>
                      <a:pt x="974" y="168"/>
                    </a:lnTo>
                    <a:lnTo>
                      <a:pt x="980" y="183"/>
                    </a:lnTo>
                    <a:lnTo>
                      <a:pt x="983" y="190"/>
                    </a:lnTo>
                    <a:lnTo>
                      <a:pt x="983" y="196"/>
                    </a:lnTo>
                    <a:lnTo>
                      <a:pt x="983" y="203"/>
                    </a:lnTo>
                    <a:lnTo>
                      <a:pt x="980" y="211"/>
                    </a:lnTo>
                    <a:lnTo>
                      <a:pt x="977" y="218"/>
                    </a:lnTo>
                    <a:lnTo>
                      <a:pt x="970" y="224"/>
                    </a:lnTo>
                    <a:lnTo>
                      <a:pt x="961" y="231"/>
                    </a:lnTo>
                    <a:lnTo>
                      <a:pt x="948" y="238"/>
                    </a:lnTo>
                    <a:lnTo>
                      <a:pt x="948" y="238"/>
                    </a:lnTo>
                    <a:lnTo>
                      <a:pt x="933" y="233"/>
                    </a:lnTo>
                    <a:lnTo>
                      <a:pt x="919" y="232"/>
                    </a:lnTo>
                    <a:lnTo>
                      <a:pt x="912" y="232"/>
                    </a:lnTo>
                    <a:lnTo>
                      <a:pt x="907" y="232"/>
                    </a:lnTo>
                    <a:lnTo>
                      <a:pt x="902" y="234"/>
                    </a:lnTo>
                    <a:lnTo>
                      <a:pt x="900" y="237"/>
                    </a:lnTo>
                    <a:lnTo>
                      <a:pt x="899" y="241"/>
                    </a:lnTo>
                    <a:lnTo>
                      <a:pt x="900" y="248"/>
                    </a:lnTo>
                    <a:lnTo>
                      <a:pt x="904" y="256"/>
                    </a:lnTo>
                    <a:lnTo>
                      <a:pt x="912" y="268"/>
                    </a:lnTo>
                    <a:lnTo>
                      <a:pt x="925" y="280"/>
                    </a:lnTo>
                    <a:lnTo>
                      <a:pt x="941" y="297"/>
                    </a:lnTo>
                    <a:lnTo>
                      <a:pt x="941" y="297"/>
                    </a:lnTo>
                    <a:lnTo>
                      <a:pt x="927" y="291"/>
                    </a:lnTo>
                    <a:lnTo>
                      <a:pt x="917" y="286"/>
                    </a:lnTo>
                    <a:lnTo>
                      <a:pt x="909" y="285"/>
                    </a:lnTo>
                    <a:lnTo>
                      <a:pt x="902" y="284"/>
                    </a:lnTo>
                    <a:lnTo>
                      <a:pt x="893" y="284"/>
                    </a:lnTo>
                    <a:lnTo>
                      <a:pt x="886" y="285"/>
                    </a:lnTo>
                    <a:lnTo>
                      <a:pt x="886" y="285"/>
                    </a:lnTo>
                    <a:lnTo>
                      <a:pt x="882" y="287"/>
                    </a:lnTo>
                    <a:lnTo>
                      <a:pt x="877" y="294"/>
                    </a:lnTo>
                    <a:lnTo>
                      <a:pt x="859" y="314"/>
                    </a:lnTo>
                    <a:lnTo>
                      <a:pt x="849" y="324"/>
                    </a:lnTo>
                    <a:lnTo>
                      <a:pt x="839" y="333"/>
                    </a:lnTo>
                    <a:lnTo>
                      <a:pt x="833" y="337"/>
                    </a:lnTo>
                    <a:lnTo>
                      <a:pt x="828" y="339"/>
                    </a:lnTo>
                    <a:lnTo>
                      <a:pt x="824" y="340"/>
                    </a:lnTo>
                    <a:lnTo>
                      <a:pt x="819" y="340"/>
                    </a:lnTo>
                    <a:lnTo>
                      <a:pt x="819" y="340"/>
                    </a:lnTo>
                    <a:lnTo>
                      <a:pt x="816" y="339"/>
                    </a:lnTo>
                    <a:lnTo>
                      <a:pt x="815" y="337"/>
                    </a:lnTo>
                    <a:lnTo>
                      <a:pt x="815" y="333"/>
                    </a:lnTo>
                    <a:lnTo>
                      <a:pt x="815" y="329"/>
                    </a:lnTo>
                    <a:lnTo>
                      <a:pt x="819" y="318"/>
                    </a:lnTo>
                    <a:lnTo>
                      <a:pt x="825" y="307"/>
                    </a:lnTo>
                    <a:lnTo>
                      <a:pt x="828" y="297"/>
                    </a:lnTo>
                    <a:lnTo>
                      <a:pt x="829" y="291"/>
                    </a:lnTo>
                    <a:lnTo>
                      <a:pt x="831" y="287"/>
                    </a:lnTo>
                    <a:lnTo>
                      <a:pt x="829" y="283"/>
                    </a:lnTo>
                    <a:lnTo>
                      <a:pt x="826" y="280"/>
                    </a:lnTo>
                    <a:lnTo>
                      <a:pt x="823" y="278"/>
                    </a:lnTo>
                    <a:lnTo>
                      <a:pt x="816" y="277"/>
                    </a:lnTo>
                    <a:lnTo>
                      <a:pt x="816" y="277"/>
                    </a:lnTo>
                    <a:lnTo>
                      <a:pt x="798" y="291"/>
                    </a:lnTo>
                    <a:lnTo>
                      <a:pt x="783" y="300"/>
                    </a:lnTo>
                    <a:lnTo>
                      <a:pt x="768" y="307"/>
                    </a:lnTo>
                    <a:lnTo>
                      <a:pt x="756" y="310"/>
                    </a:lnTo>
                    <a:lnTo>
                      <a:pt x="743" y="313"/>
                    </a:lnTo>
                    <a:lnTo>
                      <a:pt x="732" y="315"/>
                    </a:lnTo>
                    <a:lnTo>
                      <a:pt x="720" y="316"/>
                    </a:lnTo>
                    <a:lnTo>
                      <a:pt x="709" y="318"/>
                    </a:lnTo>
                    <a:lnTo>
                      <a:pt x="709" y="318"/>
                    </a:lnTo>
                    <a:lnTo>
                      <a:pt x="697" y="318"/>
                    </a:lnTo>
                    <a:lnTo>
                      <a:pt x="688" y="320"/>
                    </a:lnTo>
                    <a:lnTo>
                      <a:pt x="682" y="322"/>
                    </a:lnTo>
                    <a:lnTo>
                      <a:pt x="679" y="323"/>
                    </a:lnTo>
                    <a:lnTo>
                      <a:pt x="678" y="326"/>
                    </a:lnTo>
                    <a:lnTo>
                      <a:pt x="678" y="330"/>
                    </a:lnTo>
                    <a:lnTo>
                      <a:pt x="680" y="333"/>
                    </a:lnTo>
                    <a:lnTo>
                      <a:pt x="682" y="337"/>
                    </a:lnTo>
                    <a:lnTo>
                      <a:pt x="689" y="345"/>
                    </a:lnTo>
                    <a:lnTo>
                      <a:pt x="695" y="354"/>
                    </a:lnTo>
                    <a:lnTo>
                      <a:pt x="696" y="359"/>
                    </a:lnTo>
                    <a:lnTo>
                      <a:pt x="696" y="362"/>
                    </a:lnTo>
                    <a:lnTo>
                      <a:pt x="695" y="367"/>
                    </a:lnTo>
                    <a:lnTo>
                      <a:pt x="691" y="370"/>
                    </a:lnTo>
                    <a:lnTo>
                      <a:pt x="691" y="370"/>
                    </a:lnTo>
                    <a:lnTo>
                      <a:pt x="687" y="372"/>
                    </a:lnTo>
                    <a:lnTo>
                      <a:pt x="682" y="375"/>
                    </a:lnTo>
                    <a:lnTo>
                      <a:pt x="668" y="379"/>
                    </a:lnTo>
                    <a:lnTo>
                      <a:pt x="635" y="389"/>
                    </a:lnTo>
                    <a:lnTo>
                      <a:pt x="617" y="393"/>
                    </a:lnTo>
                    <a:lnTo>
                      <a:pt x="598" y="400"/>
                    </a:lnTo>
                    <a:lnTo>
                      <a:pt x="581" y="408"/>
                    </a:lnTo>
                    <a:lnTo>
                      <a:pt x="573" y="413"/>
                    </a:lnTo>
                    <a:lnTo>
                      <a:pt x="566" y="417"/>
                    </a:lnTo>
                    <a:lnTo>
                      <a:pt x="566" y="417"/>
                    </a:lnTo>
                    <a:lnTo>
                      <a:pt x="542" y="435"/>
                    </a:lnTo>
                    <a:lnTo>
                      <a:pt x="521" y="451"/>
                    </a:lnTo>
                    <a:lnTo>
                      <a:pt x="503" y="468"/>
                    </a:lnTo>
                    <a:lnTo>
                      <a:pt x="485" y="486"/>
                    </a:lnTo>
                    <a:lnTo>
                      <a:pt x="470" y="504"/>
                    </a:lnTo>
                    <a:lnTo>
                      <a:pt x="456" y="521"/>
                    </a:lnTo>
                    <a:lnTo>
                      <a:pt x="430" y="557"/>
                    </a:lnTo>
                    <a:lnTo>
                      <a:pt x="430" y="557"/>
                    </a:lnTo>
                    <a:lnTo>
                      <a:pt x="427" y="561"/>
                    </a:lnTo>
                    <a:lnTo>
                      <a:pt x="424" y="567"/>
                    </a:lnTo>
                    <a:lnTo>
                      <a:pt x="423" y="573"/>
                    </a:lnTo>
                    <a:lnTo>
                      <a:pt x="423" y="578"/>
                    </a:lnTo>
                    <a:lnTo>
                      <a:pt x="424" y="593"/>
                    </a:lnTo>
                    <a:lnTo>
                      <a:pt x="428" y="610"/>
                    </a:lnTo>
                    <a:lnTo>
                      <a:pt x="434" y="626"/>
                    </a:lnTo>
                    <a:lnTo>
                      <a:pt x="439" y="642"/>
                    </a:lnTo>
                    <a:lnTo>
                      <a:pt x="452" y="674"/>
                    </a:lnTo>
                    <a:lnTo>
                      <a:pt x="457" y="688"/>
                    </a:lnTo>
                    <a:lnTo>
                      <a:pt x="460" y="699"/>
                    </a:lnTo>
                    <a:lnTo>
                      <a:pt x="461" y="708"/>
                    </a:lnTo>
                    <a:lnTo>
                      <a:pt x="461" y="711"/>
                    </a:lnTo>
                    <a:lnTo>
                      <a:pt x="460" y="713"/>
                    </a:lnTo>
                    <a:lnTo>
                      <a:pt x="459" y="714"/>
                    </a:lnTo>
                    <a:lnTo>
                      <a:pt x="456" y="714"/>
                    </a:lnTo>
                    <a:lnTo>
                      <a:pt x="452" y="714"/>
                    </a:lnTo>
                    <a:lnTo>
                      <a:pt x="447" y="712"/>
                    </a:lnTo>
                    <a:lnTo>
                      <a:pt x="434" y="703"/>
                    </a:lnTo>
                    <a:lnTo>
                      <a:pt x="415" y="689"/>
                    </a:lnTo>
                    <a:lnTo>
                      <a:pt x="415" y="689"/>
                    </a:lnTo>
                    <a:lnTo>
                      <a:pt x="380" y="696"/>
                    </a:lnTo>
                    <a:lnTo>
                      <a:pt x="348" y="700"/>
                    </a:lnTo>
                    <a:lnTo>
                      <a:pt x="321" y="703"/>
                    </a:lnTo>
                    <a:lnTo>
                      <a:pt x="297" y="703"/>
                    </a:lnTo>
                    <a:lnTo>
                      <a:pt x="275" y="703"/>
                    </a:lnTo>
                    <a:lnTo>
                      <a:pt x="254" y="702"/>
                    </a:lnTo>
                    <a:lnTo>
                      <a:pt x="232" y="700"/>
                    </a:lnTo>
                    <a:lnTo>
                      <a:pt x="209" y="700"/>
                    </a:lnTo>
                    <a:lnTo>
                      <a:pt x="209" y="700"/>
                    </a:lnTo>
                    <a:lnTo>
                      <a:pt x="193" y="700"/>
                    </a:lnTo>
                    <a:lnTo>
                      <a:pt x="179" y="702"/>
                    </a:lnTo>
                    <a:lnTo>
                      <a:pt x="168" y="704"/>
                    </a:lnTo>
                    <a:lnTo>
                      <a:pt x="156" y="707"/>
                    </a:lnTo>
                    <a:lnTo>
                      <a:pt x="148" y="711"/>
                    </a:lnTo>
                    <a:lnTo>
                      <a:pt x="140" y="717"/>
                    </a:lnTo>
                    <a:lnTo>
                      <a:pt x="134" y="722"/>
                    </a:lnTo>
                    <a:lnTo>
                      <a:pt x="130" y="729"/>
                    </a:lnTo>
                    <a:lnTo>
                      <a:pt x="128" y="736"/>
                    </a:lnTo>
                    <a:lnTo>
                      <a:pt x="126" y="745"/>
                    </a:lnTo>
                    <a:lnTo>
                      <a:pt x="126" y="754"/>
                    </a:lnTo>
                    <a:lnTo>
                      <a:pt x="129" y="765"/>
                    </a:lnTo>
                    <a:lnTo>
                      <a:pt x="132" y="776"/>
                    </a:lnTo>
                    <a:lnTo>
                      <a:pt x="137" y="789"/>
                    </a:lnTo>
                    <a:lnTo>
                      <a:pt x="143" y="803"/>
                    </a:lnTo>
                    <a:lnTo>
                      <a:pt x="151" y="818"/>
                    </a:lnTo>
                    <a:lnTo>
                      <a:pt x="151" y="818"/>
                    </a:lnTo>
                    <a:lnTo>
                      <a:pt x="153" y="824"/>
                    </a:lnTo>
                    <a:lnTo>
                      <a:pt x="153" y="829"/>
                    </a:lnTo>
                    <a:lnTo>
                      <a:pt x="153" y="836"/>
                    </a:lnTo>
                    <a:lnTo>
                      <a:pt x="151" y="843"/>
                    </a:lnTo>
                    <a:lnTo>
                      <a:pt x="147" y="859"/>
                    </a:lnTo>
                    <a:lnTo>
                      <a:pt x="144" y="875"/>
                    </a:lnTo>
                    <a:lnTo>
                      <a:pt x="143" y="883"/>
                    </a:lnTo>
                    <a:lnTo>
                      <a:pt x="143" y="893"/>
                    </a:lnTo>
                    <a:lnTo>
                      <a:pt x="144" y="901"/>
                    </a:lnTo>
                    <a:lnTo>
                      <a:pt x="146" y="909"/>
                    </a:lnTo>
                    <a:lnTo>
                      <a:pt x="152" y="916"/>
                    </a:lnTo>
                    <a:lnTo>
                      <a:pt x="159" y="924"/>
                    </a:lnTo>
                    <a:lnTo>
                      <a:pt x="168" y="929"/>
                    </a:lnTo>
                    <a:lnTo>
                      <a:pt x="180" y="935"/>
                    </a:lnTo>
                    <a:lnTo>
                      <a:pt x="180" y="935"/>
                    </a:lnTo>
                    <a:lnTo>
                      <a:pt x="184" y="933"/>
                    </a:lnTo>
                    <a:lnTo>
                      <a:pt x="189" y="934"/>
                    </a:lnTo>
                    <a:lnTo>
                      <a:pt x="192" y="935"/>
                    </a:lnTo>
                    <a:lnTo>
                      <a:pt x="194" y="940"/>
                    </a:lnTo>
                    <a:lnTo>
                      <a:pt x="199" y="951"/>
                    </a:lnTo>
                    <a:lnTo>
                      <a:pt x="202" y="964"/>
                    </a:lnTo>
                    <a:lnTo>
                      <a:pt x="207" y="978"/>
                    </a:lnTo>
                    <a:lnTo>
                      <a:pt x="209" y="983"/>
                    </a:lnTo>
                    <a:lnTo>
                      <a:pt x="212" y="989"/>
                    </a:lnTo>
                    <a:lnTo>
                      <a:pt x="215" y="993"/>
                    </a:lnTo>
                    <a:lnTo>
                      <a:pt x="218" y="994"/>
                    </a:lnTo>
                    <a:lnTo>
                      <a:pt x="223" y="994"/>
                    </a:lnTo>
                    <a:lnTo>
                      <a:pt x="228" y="990"/>
                    </a:lnTo>
                    <a:lnTo>
                      <a:pt x="228" y="990"/>
                    </a:lnTo>
                    <a:lnTo>
                      <a:pt x="239" y="1007"/>
                    </a:lnTo>
                    <a:lnTo>
                      <a:pt x="248" y="1020"/>
                    </a:lnTo>
                    <a:lnTo>
                      <a:pt x="255" y="1033"/>
                    </a:lnTo>
                    <a:lnTo>
                      <a:pt x="256" y="1039"/>
                    </a:lnTo>
                    <a:lnTo>
                      <a:pt x="258" y="1046"/>
                    </a:lnTo>
                    <a:lnTo>
                      <a:pt x="258" y="1051"/>
                    </a:lnTo>
                    <a:lnTo>
                      <a:pt x="256" y="1058"/>
                    </a:lnTo>
                    <a:lnTo>
                      <a:pt x="254" y="1065"/>
                    </a:lnTo>
                    <a:lnTo>
                      <a:pt x="251" y="1072"/>
                    </a:lnTo>
                    <a:lnTo>
                      <a:pt x="246" y="1080"/>
                    </a:lnTo>
                    <a:lnTo>
                      <a:pt x="240" y="1089"/>
                    </a:lnTo>
                    <a:lnTo>
                      <a:pt x="224" y="1108"/>
                    </a:lnTo>
                    <a:lnTo>
                      <a:pt x="224" y="1108"/>
                    </a:lnTo>
                    <a:lnTo>
                      <a:pt x="230" y="1123"/>
                    </a:lnTo>
                    <a:lnTo>
                      <a:pt x="243" y="1157"/>
                    </a:lnTo>
                    <a:lnTo>
                      <a:pt x="250" y="1177"/>
                    </a:lnTo>
                    <a:lnTo>
                      <a:pt x="253" y="1196"/>
                    </a:lnTo>
                    <a:lnTo>
                      <a:pt x="255" y="1206"/>
                    </a:lnTo>
                    <a:lnTo>
                      <a:pt x="255" y="1212"/>
                    </a:lnTo>
                    <a:lnTo>
                      <a:pt x="255" y="1219"/>
                    </a:lnTo>
                    <a:lnTo>
                      <a:pt x="253" y="1225"/>
                    </a:lnTo>
                    <a:lnTo>
                      <a:pt x="253" y="1225"/>
                    </a:lnTo>
                    <a:lnTo>
                      <a:pt x="238" y="1252"/>
                    </a:lnTo>
                    <a:lnTo>
                      <a:pt x="225" y="1269"/>
                    </a:lnTo>
                    <a:lnTo>
                      <a:pt x="221" y="1275"/>
                    </a:lnTo>
                    <a:lnTo>
                      <a:pt x="217" y="1279"/>
                    </a:lnTo>
                    <a:lnTo>
                      <a:pt x="214" y="1282"/>
                    </a:lnTo>
                    <a:lnTo>
                      <a:pt x="210" y="1282"/>
                    </a:lnTo>
                    <a:lnTo>
                      <a:pt x="208" y="1282"/>
                    </a:lnTo>
                    <a:lnTo>
                      <a:pt x="206" y="1280"/>
                    </a:lnTo>
                    <a:lnTo>
                      <a:pt x="202" y="1275"/>
                    </a:lnTo>
                    <a:lnTo>
                      <a:pt x="194" y="1259"/>
                    </a:lnTo>
                    <a:lnTo>
                      <a:pt x="194" y="1259"/>
                    </a:lnTo>
                    <a:lnTo>
                      <a:pt x="205" y="1235"/>
                    </a:lnTo>
                    <a:lnTo>
                      <a:pt x="212" y="1215"/>
                    </a:lnTo>
                    <a:lnTo>
                      <a:pt x="217" y="1196"/>
                    </a:lnTo>
                    <a:lnTo>
                      <a:pt x="220" y="1181"/>
                    </a:lnTo>
                    <a:lnTo>
                      <a:pt x="221" y="1168"/>
                    </a:lnTo>
                    <a:lnTo>
                      <a:pt x="221" y="1157"/>
                    </a:lnTo>
                    <a:lnTo>
                      <a:pt x="220" y="1149"/>
                    </a:lnTo>
                    <a:lnTo>
                      <a:pt x="217" y="1147"/>
                    </a:lnTo>
                    <a:lnTo>
                      <a:pt x="216" y="1146"/>
                    </a:lnTo>
                    <a:lnTo>
                      <a:pt x="214" y="1145"/>
                    </a:lnTo>
                    <a:lnTo>
                      <a:pt x="212" y="1143"/>
                    </a:lnTo>
                    <a:lnTo>
                      <a:pt x="209" y="1145"/>
                    </a:lnTo>
                    <a:lnTo>
                      <a:pt x="206" y="1146"/>
                    </a:lnTo>
                    <a:lnTo>
                      <a:pt x="200" y="1151"/>
                    </a:lnTo>
                    <a:lnTo>
                      <a:pt x="194" y="1160"/>
                    </a:lnTo>
                    <a:lnTo>
                      <a:pt x="186" y="1172"/>
                    </a:lnTo>
                    <a:lnTo>
                      <a:pt x="179" y="1188"/>
                    </a:lnTo>
                    <a:lnTo>
                      <a:pt x="172" y="1209"/>
                    </a:lnTo>
                    <a:lnTo>
                      <a:pt x="166" y="1233"/>
                    </a:lnTo>
                    <a:lnTo>
                      <a:pt x="166" y="1233"/>
                    </a:lnTo>
                    <a:lnTo>
                      <a:pt x="167" y="1222"/>
                    </a:lnTo>
                    <a:lnTo>
                      <a:pt x="169" y="1203"/>
                    </a:lnTo>
                    <a:lnTo>
                      <a:pt x="178" y="1160"/>
                    </a:lnTo>
                    <a:lnTo>
                      <a:pt x="184" y="1137"/>
                    </a:lnTo>
                    <a:lnTo>
                      <a:pt x="191" y="1115"/>
                    </a:lnTo>
                    <a:lnTo>
                      <a:pt x="197" y="1097"/>
                    </a:lnTo>
                    <a:lnTo>
                      <a:pt x="202" y="1086"/>
                    </a:lnTo>
                    <a:lnTo>
                      <a:pt x="202" y="1086"/>
                    </a:lnTo>
                    <a:lnTo>
                      <a:pt x="215" y="1064"/>
                    </a:lnTo>
                    <a:lnTo>
                      <a:pt x="223" y="1047"/>
                    </a:lnTo>
                    <a:lnTo>
                      <a:pt x="228" y="1033"/>
                    </a:lnTo>
                    <a:lnTo>
                      <a:pt x="230" y="1024"/>
                    </a:lnTo>
                    <a:lnTo>
                      <a:pt x="230" y="1020"/>
                    </a:lnTo>
                    <a:lnTo>
                      <a:pt x="229" y="1018"/>
                    </a:lnTo>
                    <a:lnTo>
                      <a:pt x="228" y="1016"/>
                    </a:lnTo>
                    <a:lnTo>
                      <a:pt x="225" y="1015"/>
                    </a:lnTo>
                    <a:lnTo>
                      <a:pt x="221" y="1013"/>
                    </a:lnTo>
                    <a:lnTo>
                      <a:pt x="214" y="1013"/>
                    </a:lnTo>
                    <a:lnTo>
                      <a:pt x="197" y="1016"/>
                    </a:lnTo>
                    <a:lnTo>
                      <a:pt x="189" y="1016"/>
                    </a:lnTo>
                    <a:lnTo>
                      <a:pt x="179" y="1017"/>
                    </a:lnTo>
                    <a:lnTo>
                      <a:pt x="170" y="1016"/>
                    </a:lnTo>
                    <a:lnTo>
                      <a:pt x="162" y="1012"/>
                    </a:lnTo>
                    <a:lnTo>
                      <a:pt x="159" y="1010"/>
                    </a:lnTo>
                    <a:lnTo>
                      <a:pt x="155" y="1007"/>
                    </a:lnTo>
                    <a:lnTo>
                      <a:pt x="153" y="1003"/>
                    </a:lnTo>
                    <a:lnTo>
                      <a:pt x="151" y="997"/>
                    </a:lnTo>
                    <a:lnTo>
                      <a:pt x="151" y="997"/>
                    </a:lnTo>
                    <a:lnTo>
                      <a:pt x="141" y="979"/>
                    </a:lnTo>
                    <a:lnTo>
                      <a:pt x="132" y="963"/>
                    </a:lnTo>
                    <a:lnTo>
                      <a:pt x="122" y="950"/>
                    </a:lnTo>
                    <a:lnTo>
                      <a:pt x="111" y="940"/>
                    </a:lnTo>
                    <a:lnTo>
                      <a:pt x="87" y="918"/>
                    </a:lnTo>
                    <a:lnTo>
                      <a:pt x="72" y="905"/>
                    </a:lnTo>
                    <a:lnTo>
                      <a:pt x="55" y="888"/>
                    </a:lnTo>
                    <a:lnTo>
                      <a:pt x="55" y="888"/>
                    </a:lnTo>
                    <a:lnTo>
                      <a:pt x="54" y="890"/>
                    </a:lnTo>
                    <a:lnTo>
                      <a:pt x="50" y="893"/>
                    </a:lnTo>
                    <a:lnTo>
                      <a:pt x="45" y="895"/>
                    </a:lnTo>
                    <a:lnTo>
                      <a:pt x="37" y="895"/>
                    </a:lnTo>
                    <a:lnTo>
                      <a:pt x="37" y="895"/>
                    </a:lnTo>
                    <a:lnTo>
                      <a:pt x="33" y="902"/>
                    </a:lnTo>
                    <a:lnTo>
                      <a:pt x="32" y="908"/>
                    </a:lnTo>
                    <a:lnTo>
                      <a:pt x="33" y="921"/>
                    </a:lnTo>
                    <a:lnTo>
                      <a:pt x="33" y="921"/>
                    </a:lnTo>
                    <a:lnTo>
                      <a:pt x="33" y="928"/>
                    </a:lnTo>
                    <a:lnTo>
                      <a:pt x="36" y="934"/>
                    </a:lnTo>
                    <a:lnTo>
                      <a:pt x="39" y="939"/>
                    </a:lnTo>
                    <a:lnTo>
                      <a:pt x="44" y="942"/>
                    </a:lnTo>
                    <a:lnTo>
                      <a:pt x="48" y="946"/>
                    </a:lnTo>
                    <a:lnTo>
                      <a:pt x="54" y="948"/>
                    </a:lnTo>
                    <a:lnTo>
                      <a:pt x="67" y="952"/>
                    </a:lnTo>
                    <a:lnTo>
                      <a:pt x="79" y="957"/>
                    </a:lnTo>
                    <a:lnTo>
                      <a:pt x="85" y="960"/>
                    </a:lnTo>
                    <a:lnTo>
                      <a:pt x="91" y="964"/>
                    </a:lnTo>
                    <a:lnTo>
                      <a:pt x="95" y="967"/>
                    </a:lnTo>
                    <a:lnTo>
                      <a:pt x="99" y="973"/>
                    </a:lnTo>
                    <a:lnTo>
                      <a:pt x="101" y="979"/>
                    </a:lnTo>
                    <a:lnTo>
                      <a:pt x="103" y="987"/>
                    </a:lnTo>
                    <a:lnTo>
                      <a:pt x="103" y="987"/>
                    </a:lnTo>
                    <a:lnTo>
                      <a:pt x="103" y="998"/>
                    </a:lnTo>
                    <a:lnTo>
                      <a:pt x="103" y="1008"/>
                    </a:lnTo>
                    <a:lnTo>
                      <a:pt x="101" y="1015"/>
                    </a:lnTo>
                    <a:lnTo>
                      <a:pt x="98" y="1021"/>
                    </a:lnTo>
                    <a:lnTo>
                      <a:pt x="94" y="1026"/>
                    </a:lnTo>
                    <a:lnTo>
                      <a:pt x="90" y="1030"/>
                    </a:lnTo>
                    <a:lnTo>
                      <a:pt x="85" y="1032"/>
                    </a:lnTo>
                    <a:lnTo>
                      <a:pt x="80" y="1034"/>
                    </a:lnTo>
                    <a:lnTo>
                      <a:pt x="70" y="1039"/>
                    </a:lnTo>
                    <a:lnTo>
                      <a:pt x="61" y="1042"/>
                    </a:lnTo>
                    <a:lnTo>
                      <a:pt x="57" y="1046"/>
                    </a:lnTo>
                    <a:lnTo>
                      <a:pt x="54" y="1049"/>
                    </a:lnTo>
                    <a:lnTo>
                      <a:pt x="53" y="1054"/>
                    </a:lnTo>
                    <a:lnTo>
                      <a:pt x="52" y="1061"/>
                    </a:lnTo>
                    <a:lnTo>
                      <a:pt x="52" y="1061"/>
                    </a:lnTo>
                    <a:lnTo>
                      <a:pt x="53" y="1066"/>
                    </a:lnTo>
                    <a:lnTo>
                      <a:pt x="54" y="1072"/>
                    </a:lnTo>
                    <a:lnTo>
                      <a:pt x="56" y="1078"/>
                    </a:lnTo>
                    <a:lnTo>
                      <a:pt x="60" y="1082"/>
                    </a:lnTo>
                    <a:lnTo>
                      <a:pt x="68" y="1094"/>
                    </a:lnTo>
                    <a:lnTo>
                      <a:pt x="77" y="1105"/>
                    </a:lnTo>
                    <a:lnTo>
                      <a:pt x="87" y="1118"/>
                    </a:lnTo>
                    <a:lnTo>
                      <a:pt x="91" y="1126"/>
                    </a:lnTo>
                    <a:lnTo>
                      <a:pt x="95" y="1133"/>
                    </a:lnTo>
                    <a:lnTo>
                      <a:pt x="98" y="1141"/>
                    </a:lnTo>
                    <a:lnTo>
                      <a:pt x="101" y="1150"/>
                    </a:lnTo>
                    <a:lnTo>
                      <a:pt x="102" y="1161"/>
                    </a:lnTo>
                    <a:lnTo>
                      <a:pt x="103" y="1171"/>
                    </a:lnTo>
                    <a:lnTo>
                      <a:pt x="103" y="1171"/>
                    </a:lnTo>
                    <a:lnTo>
                      <a:pt x="102" y="1187"/>
                    </a:lnTo>
                    <a:lnTo>
                      <a:pt x="99" y="1201"/>
                    </a:lnTo>
                    <a:lnTo>
                      <a:pt x="93" y="1211"/>
                    </a:lnTo>
                    <a:lnTo>
                      <a:pt x="87" y="1221"/>
                    </a:lnTo>
                    <a:lnTo>
                      <a:pt x="79" y="1229"/>
                    </a:lnTo>
                    <a:lnTo>
                      <a:pt x="70" y="1234"/>
                    </a:lnTo>
                    <a:lnTo>
                      <a:pt x="52" y="1246"/>
                    </a:lnTo>
                    <a:lnTo>
                      <a:pt x="32" y="1256"/>
                    </a:lnTo>
                    <a:lnTo>
                      <a:pt x="24" y="1262"/>
                    </a:lnTo>
                    <a:lnTo>
                      <a:pt x="16" y="1269"/>
                    </a:lnTo>
                    <a:lnTo>
                      <a:pt x="9" y="1278"/>
                    </a:lnTo>
                    <a:lnTo>
                      <a:pt x="4" y="1288"/>
                    </a:lnTo>
                    <a:lnTo>
                      <a:pt x="1" y="1302"/>
                    </a:lnTo>
                    <a:lnTo>
                      <a:pt x="0" y="1317"/>
                    </a:lnTo>
                    <a:lnTo>
                      <a:pt x="0" y="1317"/>
                    </a:lnTo>
                    <a:lnTo>
                      <a:pt x="1" y="1325"/>
                    </a:lnTo>
                    <a:lnTo>
                      <a:pt x="3" y="1332"/>
                    </a:lnTo>
                    <a:lnTo>
                      <a:pt x="7" y="1340"/>
                    </a:lnTo>
                    <a:lnTo>
                      <a:pt x="11" y="1348"/>
                    </a:lnTo>
                    <a:lnTo>
                      <a:pt x="17" y="1356"/>
                    </a:lnTo>
                    <a:lnTo>
                      <a:pt x="23" y="1366"/>
                    </a:lnTo>
                    <a:lnTo>
                      <a:pt x="38" y="1380"/>
                    </a:lnTo>
                    <a:lnTo>
                      <a:pt x="54" y="1394"/>
                    </a:lnTo>
                    <a:lnTo>
                      <a:pt x="63" y="1401"/>
                    </a:lnTo>
                    <a:lnTo>
                      <a:pt x="71" y="1406"/>
                    </a:lnTo>
                    <a:lnTo>
                      <a:pt x="80" y="1410"/>
                    </a:lnTo>
                    <a:lnTo>
                      <a:pt x="88" y="1414"/>
                    </a:lnTo>
                    <a:lnTo>
                      <a:pt x="95" y="1416"/>
                    </a:lnTo>
                    <a:lnTo>
                      <a:pt x="103" y="1416"/>
                    </a:lnTo>
                    <a:lnTo>
                      <a:pt x="103" y="1416"/>
                    </a:lnTo>
                    <a:lnTo>
                      <a:pt x="110" y="1416"/>
                    </a:lnTo>
                    <a:lnTo>
                      <a:pt x="115" y="1415"/>
                    </a:lnTo>
                    <a:lnTo>
                      <a:pt x="122" y="1414"/>
                    </a:lnTo>
                    <a:lnTo>
                      <a:pt x="126" y="1412"/>
                    </a:lnTo>
                    <a:lnTo>
                      <a:pt x="132" y="1413"/>
                    </a:lnTo>
                    <a:lnTo>
                      <a:pt x="132" y="1413"/>
                    </a:lnTo>
                    <a:lnTo>
                      <a:pt x="139" y="1421"/>
                    </a:lnTo>
                    <a:lnTo>
                      <a:pt x="146" y="1428"/>
                    </a:lnTo>
                    <a:lnTo>
                      <a:pt x="162" y="1441"/>
                    </a:lnTo>
                    <a:lnTo>
                      <a:pt x="169" y="1450"/>
                    </a:lnTo>
                    <a:lnTo>
                      <a:pt x="175" y="1460"/>
                    </a:lnTo>
                    <a:lnTo>
                      <a:pt x="177" y="1466"/>
                    </a:lnTo>
                    <a:lnTo>
                      <a:pt x="178" y="1471"/>
                    </a:lnTo>
                    <a:lnTo>
                      <a:pt x="179" y="1478"/>
                    </a:lnTo>
                    <a:lnTo>
                      <a:pt x="180" y="1486"/>
                    </a:lnTo>
                    <a:lnTo>
                      <a:pt x="180" y="1486"/>
                    </a:lnTo>
                    <a:lnTo>
                      <a:pt x="179" y="1501"/>
                    </a:lnTo>
                    <a:lnTo>
                      <a:pt x="179" y="1507"/>
                    </a:lnTo>
                    <a:lnTo>
                      <a:pt x="178" y="1513"/>
                    </a:lnTo>
                    <a:lnTo>
                      <a:pt x="176" y="1517"/>
                    </a:lnTo>
                    <a:lnTo>
                      <a:pt x="172" y="1522"/>
                    </a:lnTo>
                    <a:lnTo>
                      <a:pt x="168" y="1527"/>
                    </a:lnTo>
                    <a:lnTo>
                      <a:pt x="162" y="1530"/>
                    </a:lnTo>
                    <a:lnTo>
                      <a:pt x="162" y="1530"/>
                    </a:lnTo>
                    <a:lnTo>
                      <a:pt x="166" y="1548"/>
                    </a:lnTo>
                    <a:lnTo>
                      <a:pt x="169" y="1560"/>
                    </a:lnTo>
                    <a:lnTo>
                      <a:pt x="169" y="1560"/>
                    </a:lnTo>
                    <a:lnTo>
                      <a:pt x="169" y="156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1" name="Freeform 16"/>
              <p:cNvSpPr>
                <a:spLocks noChangeAspect="1"/>
              </p:cNvSpPr>
              <p:nvPr/>
            </p:nvSpPr>
            <p:spPr bwMode="auto">
              <a:xfrm>
                <a:off x="6807312" y="3094144"/>
                <a:ext cx="1174565" cy="1742259"/>
              </a:xfrm>
              <a:custGeom>
                <a:avLst/>
                <a:gdLst/>
                <a:ahLst/>
                <a:cxnLst>
                  <a:cxn ang="0">
                    <a:pos x="660" y="2184"/>
                  </a:cxn>
                  <a:cxn ang="0">
                    <a:pos x="576" y="2143"/>
                  </a:cxn>
                  <a:cxn ang="0">
                    <a:pos x="542" y="2047"/>
                  </a:cxn>
                  <a:cxn ang="0">
                    <a:pos x="539" y="1966"/>
                  </a:cxn>
                  <a:cxn ang="0">
                    <a:pos x="596" y="1848"/>
                  </a:cxn>
                  <a:cxn ang="0">
                    <a:pos x="587" y="1784"/>
                  </a:cxn>
                  <a:cxn ang="0">
                    <a:pos x="663" y="1736"/>
                  </a:cxn>
                  <a:cxn ang="0">
                    <a:pos x="633" y="1585"/>
                  </a:cxn>
                  <a:cxn ang="0">
                    <a:pos x="558" y="1624"/>
                  </a:cxn>
                  <a:cxn ang="0">
                    <a:pos x="483" y="1723"/>
                  </a:cxn>
                  <a:cxn ang="0">
                    <a:pos x="412" y="1765"/>
                  </a:cxn>
                  <a:cxn ang="0">
                    <a:pos x="324" y="1731"/>
                  </a:cxn>
                  <a:cxn ang="0">
                    <a:pos x="266" y="1703"/>
                  </a:cxn>
                  <a:cxn ang="0">
                    <a:pos x="275" y="1612"/>
                  </a:cxn>
                  <a:cxn ang="0">
                    <a:pos x="319" y="1459"/>
                  </a:cxn>
                  <a:cxn ang="0">
                    <a:pos x="213" y="1459"/>
                  </a:cxn>
                  <a:cxn ang="0">
                    <a:pos x="138" y="1322"/>
                  </a:cxn>
                  <a:cxn ang="0">
                    <a:pos x="71" y="1253"/>
                  </a:cxn>
                  <a:cxn ang="0">
                    <a:pos x="22" y="1139"/>
                  </a:cxn>
                  <a:cxn ang="0">
                    <a:pos x="22" y="973"/>
                  </a:cxn>
                  <a:cxn ang="0">
                    <a:pos x="134" y="853"/>
                  </a:cxn>
                  <a:cxn ang="0">
                    <a:pos x="195" y="789"/>
                  </a:cxn>
                  <a:cxn ang="0">
                    <a:pos x="243" y="683"/>
                  </a:cxn>
                  <a:cxn ang="0">
                    <a:pos x="206" y="568"/>
                  </a:cxn>
                  <a:cxn ang="0">
                    <a:pos x="155" y="431"/>
                  </a:cxn>
                  <a:cxn ang="0">
                    <a:pos x="129" y="227"/>
                  </a:cxn>
                  <a:cxn ang="0">
                    <a:pos x="249" y="200"/>
                  </a:cxn>
                  <a:cxn ang="0">
                    <a:pos x="347" y="123"/>
                  </a:cxn>
                  <a:cxn ang="0">
                    <a:pos x="413" y="101"/>
                  </a:cxn>
                  <a:cxn ang="0">
                    <a:pos x="480" y="0"/>
                  </a:cxn>
                  <a:cxn ang="0">
                    <a:pos x="606" y="114"/>
                  </a:cxn>
                  <a:cxn ang="0">
                    <a:pos x="619" y="198"/>
                  </a:cxn>
                  <a:cxn ang="0">
                    <a:pos x="709" y="179"/>
                  </a:cxn>
                  <a:cxn ang="0">
                    <a:pos x="786" y="227"/>
                  </a:cxn>
                  <a:cxn ang="0">
                    <a:pos x="705" y="318"/>
                  </a:cxn>
                  <a:cxn ang="0">
                    <a:pos x="581" y="443"/>
                  </a:cxn>
                  <a:cxn ang="0">
                    <a:pos x="575" y="786"/>
                  </a:cxn>
                  <a:cxn ang="0">
                    <a:pos x="569" y="1109"/>
                  </a:cxn>
                  <a:cxn ang="0">
                    <a:pos x="533" y="1387"/>
                  </a:cxn>
                  <a:cxn ang="0">
                    <a:pos x="669" y="1329"/>
                  </a:cxn>
                  <a:cxn ang="0">
                    <a:pos x="729" y="1428"/>
                  </a:cxn>
                  <a:cxn ang="0">
                    <a:pos x="736" y="1338"/>
                  </a:cxn>
                  <a:cxn ang="0">
                    <a:pos x="824" y="1393"/>
                  </a:cxn>
                  <a:cxn ang="0">
                    <a:pos x="819" y="1249"/>
                  </a:cxn>
                  <a:cxn ang="0">
                    <a:pos x="1010" y="1223"/>
                  </a:cxn>
                  <a:cxn ang="0">
                    <a:pos x="1076" y="1273"/>
                  </a:cxn>
                  <a:cxn ang="0">
                    <a:pos x="1182" y="1348"/>
                  </a:cxn>
                  <a:cxn ang="0">
                    <a:pos x="1394" y="1710"/>
                  </a:cxn>
                  <a:cxn ang="0">
                    <a:pos x="1476" y="1954"/>
                  </a:cxn>
                  <a:cxn ang="0">
                    <a:pos x="1438" y="2065"/>
                  </a:cxn>
                  <a:cxn ang="0">
                    <a:pos x="1293" y="2067"/>
                  </a:cxn>
                  <a:cxn ang="0">
                    <a:pos x="1402" y="2097"/>
                  </a:cxn>
                  <a:cxn ang="0">
                    <a:pos x="1355" y="2214"/>
                  </a:cxn>
                  <a:cxn ang="0">
                    <a:pos x="1321" y="2315"/>
                  </a:cxn>
                  <a:cxn ang="0">
                    <a:pos x="1176" y="2384"/>
                  </a:cxn>
                  <a:cxn ang="0">
                    <a:pos x="1163" y="2456"/>
                  </a:cxn>
                  <a:cxn ang="0">
                    <a:pos x="1127" y="2272"/>
                  </a:cxn>
                  <a:cxn ang="0">
                    <a:pos x="1047" y="2203"/>
                  </a:cxn>
                  <a:cxn ang="0">
                    <a:pos x="895" y="2453"/>
                  </a:cxn>
                  <a:cxn ang="0">
                    <a:pos x="767" y="2479"/>
                  </a:cxn>
                  <a:cxn ang="0">
                    <a:pos x="711" y="2347"/>
                  </a:cxn>
                  <a:cxn ang="0">
                    <a:pos x="734" y="2270"/>
                  </a:cxn>
                </a:cxnLst>
                <a:rect l="0" t="0" r="r" b="b"/>
                <a:pathLst>
                  <a:path w="1482" h="2504">
                    <a:moveTo>
                      <a:pt x="734" y="2270"/>
                    </a:moveTo>
                    <a:lnTo>
                      <a:pt x="734" y="2270"/>
                    </a:lnTo>
                    <a:lnTo>
                      <a:pt x="737" y="2270"/>
                    </a:lnTo>
                    <a:lnTo>
                      <a:pt x="737" y="2270"/>
                    </a:lnTo>
                    <a:lnTo>
                      <a:pt x="737" y="2270"/>
                    </a:lnTo>
                    <a:lnTo>
                      <a:pt x="728" y="2269"/>
                    </a:lnTo>
                    <a:lnTo>
                      <a:pt x="719" y="2265"/>
                    </a:lnTo>
                    <a:lnTo>
                      <a:pt x="711" y="2260"/>
                    </a:lnTo>
                    <a:lnTo>
                      <a:pt x="704" y="2254"/>
                    </a:lnTo>
                    <a:lnTo>
                      <a:pt x="697" y="2246"/>
                    </a:lnTo>
                    <a:lnTo>
                      <a:pt x="691" y="2238"/>
                    </a:lnTo>
                    <a:lnTo>
                      <a:pt x="681" y="2218"/>
                    </a:lnTo>
                    <a:lnTo>
                      <a:pt x="672" y="2200"/>
                    </a:lnTo>
                    <a:lnTo>
                      <a:pt x="666" y="2191"/>
                    </a:lnTo>
                    <a:lnTo>
                      <a:pt x="660" y="2184"/>
                    </a:lnTo>
                    <a:lnTo>
                      <a:pt x="653" y="2177"/>
                    </a:lnTo>
                    <a:lnTo>
                      <a:pt x="646" y="2172"/>
                    </a:lnTo>
                    <a:lnTo>
                      <a:pt x="637" y="2169"/>
                    </a:lnTo>
                    <a:lnTo>
                      <a:pt x="628" y="2168"/>
                    </a:lnTo>
                    <a:lnTo>
                      <a:pt x="628" y="2168"/>
                    </a:lnTo>
                    <a:lnTo>
                      <a:pt x="606" y="2168"/>
                    </a:lnTo>
                    <a:lnTo>
                      <a:pt x="606" y="2168"/>
                    </a:lnTo>
                    <a:lnTo>
                      <a:pt x="600" y="2166"/>
                    </a:lnTo>
                    <a:lnTo>
                      <a:pt x="597" y="2165"/>
                    </a:lnTo>
                    <a:lnTo>
                      <a:pt x="594" y="2162"/>
                    </a:lnTo>
                    <a:lnTo>
                      <a:pt x="590" y="2158"/>
                    </a:lnTo>
                    <a:lnTo>
                      <a:pt x="587" y="2150"/>
                    </a:lnTo>
                    <a:lnTo>
                      <a:pt x="584" y="2141"/>
                    </a:lnTo>
                    <a:lnTo>
                      <a:pt x="584" y="2141"/>
                    </a:lnTo>
                    <a:lnTo>
                      <a:pt x="576" y="2143"/>
                    </a:lnTo>
                    <a:lnTo>
                      <a:pt x="571" y="2143"/>
                    </a:lnTo>
                    <a:lnTo>
                      <a:pt x="565" y="2143"/>
                    </a:lnTo>
                    <a:lnTo>
                      <a:pt x="559" y="2141"/>
                    </a:lnTo>
                    <a:lnTo>
                      <a:pt x="554" y="2139"/>
                    </a:lnTo>
                    <a:lnTo>
                      <a:pt x="551" y="2136"/>
                    </a:lnTo>
                    <a:lnTo>
                      <a:pt x="547" y="2132"/>
                    </a:lnTo>
                    <a:lnTo>
                      <a:pt x="545" y="2127"/>
                    </a:lnTo>
                    <a:lnTo>
                      <a:pt x="541" y="2117"/>
                    </a:lnTo>
                    <a:lnTo>
                      <a:pt x="538" y="2104"/>
                    </a:lnTo>
                    <a:lnTo>
                      <a:pt x="537" y="2090"/>
                    </a:lnTo>
                    <a:lnTo>
                      <a:pt x="536" y="2075"/>
                    </a:lnTo>
                    <a:lnTo>
                      <a:pt x="536" y="2075"/>
                    </a:lnTo>
                    <a:lnTo>
                      <a:pt x="537" y="2065"/>
                    </a:lnTo>
                    <a:lnTo>
                      <a:pt x="538" y="2056"/>
                    </a:lnTo>
                    <a:lnTo>
                      <a:pt x="542" y="2047"/>
                    </a:lnTo>
                    <a:lnTo>
                      <a:pt x="544" y="2040"/>
                    </a:lnTo>
                    <a:lnTo>
                      <a:pt x="552" y="2026"/>
                    </a:lnTo>
                    <a:lnTo>
                      <a:pt x="558" y="2012"/>
                    </a:lnTo>
                    <a:lnTo>
                      <a:pt x="558" y="2012"/>
                    </a:lnTo>
                    <a:lnTo>
                      <a:pt x="550" y="2009"/>
                    </a:lnTo>
                    <a:lnTo>
                      <a:pt x="545" y="2006"/>
                    </a:lnTo>
                    <a:lnTo>
                      <a:pt x="541" y="2003"/>
                    </a:lnTo>
                    <a:lnTo>
                      <a:pt x="537" y="2000"/>
                    </a:lnTo>
                    <a:lnTo>
                      <a:pt x="535" y="1995"/>
                    </a:lnTo>
                    <a:lnTo>
                      <a:pt x="533" y="1989"/>
                    </a:lnTo>
                    <a:lnTo>
                      <a:pt x="533" y="1983"/>
                    </a:lnTo>
                    <a:lnTo>
                      <a:pt x="533" y="1983"/>
                    </a:lnTo>
                    <a:lnTo>
                      <a:pt x="533" y="1979"/>
                    </a:lnTo>
                    <a:lnTo>
                      <a:pt x="534" y="1975"/>
                    </a:lnTo>
                    <a:lnTo>
                      <a:pt x="539" y="1966"/>
                    </a:lnTo>
                    <a:lnTo>
                      <a:pt x="547" y="1957"/>
                    </a:lnTo>
                    <a:lnTo>
                      <a:pt x="557" y="1947"/>
                    </a:lnTo>
                    <a:lnTo>
                      <a:pt x="566" y="1936"/>
                    </a:lnTo>
                    <a:lnTo>
                      <a:pt x="574" y="1925"/>
                    </a:lnTo>
                    <a:lnTo>
                      <a:pt x="577" y="1918"/>
                    </a:lnTo>
                    <a:lnTo>
                      <a:pt x="581" y="1912"/>
                    </a:lnTo>
                    <a:lnTo>
                      <a:pt x="583" y="1905"/>
                    </a:lnTo>
                    <a:lnTo>
                      <a:pt x="584" y="1898"/>
                    </a:lnTo>
                    <a:lnTo>
                      <a:pt x="584" y="1898"/>
                    </a:lnTo>
                    <a:lnTo>
                      <a:pt x="584" y="1876"/>
                    </a:lnTo>
                    <a:lnTo>
                      <a:pt x="584" y="1876"/>
                    </a:lnTo>
                    <a:lnTo>
                      <a:pt x="584" y="1871"/>
                    </a:lnTo>
                    <a:lnTo>
                      <a:pt x="585" y="1866"/>
                    </a:lnTo>
                    <a:lnTo>
                      <a:pt x="590" y="1856"/>
                    </a:lnTo>
                    <a:lnTo>
                      <a:pt x="596" y="1848"/>
                    </a:lnTo>
                    <a:lnTo>
                      <a:pt x="602" y="1841"/>
                    </a:lnTo>
                    <a:lnTo>
                      <a:pt x="608" y="1834"/>
                    </a:lnTo>
                    <a:lnTo>
                      <a:pt x="614" y="1827"/>
                    </a:lnTo>
                    <a:lnTo>
                      <a:pt x="619" y="1819"/>
                    </a:lnTo>
                    <a:lnTo>
                      <a:pt x="620" y="1815"/>
                    </a:lnTo>
                    <a:lnTo>
                      <a:pt x="620" y="1811"/>
                    </a:lnTo>
                    <a:lnTo>
                      <a:pt x="620" y="1811"/>
                    </a:lnTo>
                    <a:lnTo>
                      <a:pt x="620" y="1805"/>
                    </a:lnTo>
                    <a:lnTo>
                      <a:pt x="619" y="1802"/>
                    </a:lnTo>
                    <a:lnTo>
                      <a:pt x="617" y="1798"/>
                    </a:lnTo>
                    <a:lnTo>
                      <a:pt x="613" y="1796"/>
                    </a:lnTo>
                    <a:lnTo>
                      <a:pt x="606" y="1792"/>
                    </a:lnTo>
                    <a:lnTo>
                      <a:pt x="598" y="1789"/>
                    </a:lnTo>
                    <a:lnTo>
                      <a:pt x="590" y="1787"/>
                    </a:lnTo>
                    <a:lnTo>
                      <a:pt x="587" y="1784"/>
                    </a:lnTo>
                    <a:lnTo>
                      <a:pt x="583" y="1782"/>
                    </a:lnTo>
                    <a:lnTo>
                      <a:pt x="580" y="1779"/>
                    </a:lnTo>
                    <a:lnTo>
                      <a:pt x="579" y="1774"/>
                    </a:lnTo>
                    <a:lnTo>
                      <a:pt x="576" y="1769"/>
                    </a:lnTo>
                    <a:lnTo>
                      <a:pt x="576" y="1763"/>
                    </a:lnTo>
                    <a:lnTo>
                      <a:pt x="576" y="1763"/>
                    </a:lnTo>
                    <a:lnTo>
                      <a:pt x="577" y="1757"/>
                    </a:lnTo>
                    <a:lnTo>
                      <a:pt x="581" y="1751"/>
                    </a:lnTo>
                    <a:lnTo>
                      <a:pt x="585" y="1745"/>
                    </a:lnTo>
                    <a:lnTo>
                      <a:pt x="591" y="1741"/>
                    </a:lnTo>
                    <a:lnTo>
                      <a:pt x="591" y="1741"/>
                    </a:lnTo>
                    <a:lnTo>
                      <a:pt x="650" y="1741"/>
                    </a:lnTo>
                    <a:lnTo>
                      <a:pt x="650" y="1741"/>
                    </a:lnTo>
                    <a:lnTo>
                      <a:pt x="650" y="1741"/>
                    </a:lnTo>
                    <a:lnTo>
                      <a:pt x="663" y="1736"/>
                    </a:lnTo>
                    <a:lnTo>
                      <a:pt x="678" y="1730"/>
                    </a:lnTo>
                    <a:lnTo>
                      <a:pt x="683" y="1726"/>
                    </a:lnTo>
                    <a:lnTo>
                      <a:pt x="689" y="1721"/>
                    </a:lnTo>
                    <a:lnTo>
                      <a:pt x="692" y="1715"/>
                    </a:lnTo>
                    <a:lnTo>
                      <a:pt x="694" y="1712"/>
                    </a:lnTo>
                    <a:lnTo>
                      <a:pt x="694" y="1708"/>
                    </a:lnTo>
                    <a:lnTo>
                      <a:pt x="694" y="1708"/>
                    </a:lnTo>
                    <a:lnTo>
                      <a:pt x="694" y="1702"/>
                    </a:lnTo>
                    <a:lnTo>
                      <a:pt x="691" y="1695"/>
                    </a:lnTo>
                    <a:lnTo>
                      <a:pt x="684" y="1675"/>
                    </a:lnTo>
                    <a:lnTo>
                      <a:pt x="675" y="1653"/>
                    </a:lnTo>
                    <a:lnTo>
                      <a:pt x="664" y="1631"/>
                    </a:lnTo>
                    <a:lnTo>
                      <a:pt x="651" y="1609"/>
                    </a:lnTo>
                    <a:lnTo>
                      <a:pt x="638" y="1592"/>
                    </a:lnTo>
                    <a:lnTo>
                      <a:pt x="633" y="1585"/>
                    </a:lnTo>
                    <a:lnTo>
                      <a:pt x="627" y="1581"/>
                    </a:lnTo>
                    <a:lnTo>
                      <a:pt x="621" y="1577"/>
                    </a:lnTo>
                    <a:lnTo>
                      <a:pt x="617" y="1576"/>
                    </a:lnTo>
                    <a:lnTo>
                      <a:pt x="617" y="1576"/>
                    </a:lnTo>
                    <a:lnTo>
                      <a:pt x="612" y="1576"/>
                    </a:lnTo>
                    <a:lnTo>
                      <a:pt x="608" y="1577"/>
                    </a:lnTo>
                    <a:lnTo>
                      <a:pt x="600" y="1581"/>
                    </a:lnTo>
                    <a:lnTo>
                      <a:pt x="595" y="1585"/>
                    </a:lnTo>
                    <a:lnTo>
                      <a:pt x="589" y="1592"/>
                    </a:lnTo>
                    <a:lnTo>
                      <a:pt x="580" y="1605"/>
                    </a:lnTo>
                    <a:lnTo>
                      <a:pt x="574" y="1611"/>
                    </a:lnTo>
                    <a:lnTo>
                      <a:pt x="569" y="1615"/>
                    </a:lnTo>
                    <a:lnTo>
                      <a:pt x="569" y="1615"/>
                    </a:lnTo>
                    <a:lnTo>
                      <a:pt x="564" y="1621"/>
                    </a:lnTo>
                    <a:lnTo>
                      <a:pt x="558" y="1624"/>
                    </a:lnTo>
                    <a:lnTo>
                      <a:pt x="546" y="1629"/>
                    </a:lnTo>
                    <a:lnTo>
                      <a:pt x="541" y="1631"/>
                    </a:lnTo>
                    <a:lnTo>
                      <a:pt x="535" y="1635"/>
                    </a:lnTo>
                    <a:lnTo>
                      <a:pt x="529" y="1639"/>
                    </a:lnTo>
                    <a:lnTo>
                      <a:pt x="526" y="1645"/>
                    </a:lnTo>
                    <a:lnTo>
                      <a:pt x="526" y="1645"/>
                    </a:lnTo>
                    <a:lnTo>
                      <a:pt x="520" y="1653"/>
                    </a:lnTo>
                    <a:lnTo>
                      <a:pt x="516" y="1662"/>
                    </a:lnTo>
                    <a:lnTo>
                      <a:pt x="512" y="1682"/>
                    </a:lnTo>
                    <a:lnTo>
                      <a:pt x="508" y="1692"/>
                    </a:lnTo>
                    <a:lnTo>
                      <a:pt x="505" y="1703"/>
                    </a:lnTo>
                    <a:lnTo>
                      <a:pt x="499" y="1711"/>
                    </a:lnTo>
                    <a:lnTo>
                      <a:pt x="492" y="1719"/>
                    </a:lnTo>
                    <a:lnTo>
                      <a:pt x="492" y="1719"/>
                    </a:lnTo>
                    <a:lnTo>
                      <a:pt x="483" y="1723"/>
                    </a:lnTo>
                    <a:lnTo>
                      <a:pt x="474" y="1727"/>
                    </a:lnTo>
                    <a:lnTo>
                      <a:pt x="463" y="1733"/>
                    </a:lnTo>
                    <a:lnTo>
                      <a:pt x="459" y="1736"/>
                    </a:lnTo>
                    <a:lnTo>
                      <a:pt x="455" y="1741"/>
                    </a:lnTo>
                    <a:lnTo>
                      <a:pt x="455" y="1741"/>
                    </a:lnTo>
                    <a:lnTo>
                      <a:pt x="451" y="1744"/>
                    </a:lnTo>
                    <a:lnTo>
                      <a:pt x="449" y="1748"/>
                    </a:lnTo>
                    <a:lnTo>
                      <a:pt x="443" y="1757"/>
                    </a:lnTo>
                    <a:lnTo>
                      <a:pt x="440" y="1760"/>
                    </a:lnTo>
                    <a:lnTo>
                      <a:pt x="436" y="1764"/>
                    </a:lnTo>
                    <a:lnTo>
                      <a:pt x="431" y="1766"/>
                    </a:lnTo>
                    <a:lnTo>
                      <a:pt x="426" y="1766"/>
                    </a:lnTo>
                    <a:lnTo>
                      <a:pt x="426" y="1766"/>
                    </a:lnTo>
                    <a:lnTo>
                      <a:pt x="417" y="1766"/>
                    </a:lnTo>
                    <a:lnTo>
                      <a:pt x="412" y="1765"/>
                    </a:lnTo>
                    <a:lnTo>
                      <a:pt x="406" y="1763"/>
                    </a:lnTo>
                    <a:lnTo>
                      <a:pt x="400" y="1759"/>
                    </a:lnTo>
                    <a:lnTo>
                      <a:pt x="392" y="1752"/>
                    </a:lnTo>
                    <a:lnTo>
                      <a:pt x="385" y="1744"/>
                    </a:lnTo>
                    <a:lnTo>
                      <a:pt x="378" y="1736"/>
                    </a:lnTo>
                    <a:lnTo>
                      <a:pt x="370" y="1729"/>
                    </a:lnTo>
                    <a:lnTo>
                      <a:pt x="366" y="1727"/>
                    </a:lnTo>
                    <a:lnTo>
                      <a:pt x="360" y="1725"/>
                    </a:lnTo>
                    <a:lnTo>
                      <a:pt x="353" y="1723"/>
                    </a:lnTo>
                    <a:lnTo>
                      <a:pt x="345" y="1723"/>
                    </a:lnTo>
                    <a:lnTo>
                      <a:pt x="345" y="1723"/>
                    </a:lnTo>
                    <a:lnTo>
                      <a:pt x="339" y="1723"/>
                    </a:lnTo>
                    <a:lnTo>
                      <a:pt x="333" y="1726"/>
                    </a:lnTo>
                    <a:lnTo>
                      <a:pt x="329" y="1729"/>
                    </a:lnTo>
                    <a:lnTo>
                      <a:pt x="324" y="1731"/>
                    </a:lnTo>
                    <a:lnTo>
                      <a:pt x="320" y="1735"/>
                    </a:lnTo>
                    <a:lnTo>
                      <a:pt x="315" y="1738"/>
                    </a:lnTo>
                    <a:lnTo>
                      <a:pt x="308" y="1741"/>
                    </a:lnTo>
                    <a:lnTo>
                      <a:pt x="301" y="1741"/>
                    </a:lnTo>
                    <a:lnTo>
                      <a:pt x="301" y="1741"/>
                    </a:lnTo>
                    <a:lnTo>
                      <a:pt x="294" y="1741"/>
                    </a:lnTo>
                    <a:lnTo>
                      <a:pt x="287" y="1739"/>
                    </a:lnTo>
                    <a:lnTo>
                      <a:pt x="281" y="1736"/>
                    </a:lnTo>
                    <a:lnTo>
                      <a:pt x="276" y="1734"/>
                    </a:lnTo>
                    <a:lnTo>
                      <a:pt x="271" y="1729"/>
                    </a:lnTo>
                    <a:lnTo>
                      <a:pt x="267" y="1723"/>
                    </a:lnTo>
                    <a:lnTo>
                      <a:pt x="264" y="1718"/>
                    </a:lnTo>
                    <a:lnTo>
                      <a:pt x="264" y="1712"/>
                    </a:lnTo>
                    <a:lnTo>
                      <a:pt x="264" y="1712"/>
                    </a:lnTo>
                    <a:lnTo>
                      <a:pt x="266" y="1703"/>
                    </a:lnTo>
                    <a:lnTo>
                      <a:pt x="268" y="1695"/>
                    </a:lnTo>
                    <a:lnTo>
                      <a:pt x="272" y="1688"/>
                    </a:lnTo>
                    <a:lnTo>
                      <a:pt x="277" y="1681"/>
                    </a:lnTo>
                    <a:lnTo>
                      <a:pt x="282" y="1674"/>
                    </a:lnTo>
                    <a:lnTo>
                      <a:pt x="286" y="1666"/>
                    </a:lnTo>
                    <a:lnTo>
                      <a:pt x="289" y="1658"/>
                    </a:lnTo>
                    <a:lnTo>
                      <a:pt x="290" y="1650"/>
                    </a:lnTo>
                    <a:lnTo>
                      <a:pt x="290" y="1650"/>
                    </a:lnTo>
                    <a:lnTo>
                      <a:pt x="290" y="1644"/>
                    </a:lnTo>
                    <a:lnTo>
                      <a:pt x="287" y="1639"/>
                    </a:lnTo>
                    <a:lnTo>
                      <a:pt x="283" y="1632"/>
                    </a:lnTo>
                    <a:lnTo>
                      <a:pt x="277" y="1623"/>
                    </a:lnTo>
                    <a:lnTo>
                      <a:pt x="276" y="1619"/>
                    </a:lnTo>
                    <a:lnTo>
                      <a:pt x="275" y="1612"/>
                    </a:lnTo>
                    <a:lnTo>
                      <a:pt x="275" y="1612"/>
                    </a:lnTo>
                    <a:lnTo>
                      <a:pt x="276" y="1608"/>
                    </a:lnTo>
                    <a:lnTo>
                      <a:pt x="277" y="1605"/>
                    </a:lnTo>
                    <a:lnTo>
                      <a:pt x="283" y="1599"/>
                    </a:lnTo>
                    <a:lnTo>
                      <a:pt x="289" y="1593"/>
                    </a:lnTo>
                    <a:lnTo>
                      <a:pt x="292" y="1590"/>
                    </a:lnTo>
                    <a:lnTo>
                      <a:pt x="293" y="1586"/>
                    </a:lnTo>
                    <a:lnTo>
                      <a:pt x="293" y="1586"/>
                    </a:lnTo>
                    <a:lnTo>
                      <a:pt x="302" y="1559"/>
                    </a:lnTo>
                    <a:lnTo>
                      <a:pt x="310" y="1529"/>
                    </a:lnTo>
                    <a:lnTo>
                      <a:pt x="314" y="1514"/>
                    </a:lnTo>
                    <a:lnTo>
                      <a:pt x="317" y="1499"/>
                    </a:lnTo>
                    <a:lnTo>
                      <a:pt x="319" y="1484"/>
                    </a:lnTo>
                    <a:lnTo>
                      <a:pt x="320" y="1469"/>
                    </a:lnTo>
                    <a:lnTo>
                      <a:pt x="320" y="1469"/>
                    </a:lnTo>
                    <a:lnTo>
                      <a:pt x="319" y="1459"/>
                    </a:lnTo>
                    <a:lnTo>
                      <a:pt x="317" y="1451"/>
                    </a:lnTo>
                    <a:lnTo>
                      <a:pt x="315" y="1444"/>
                    </a:lnTo>
                    <a:lnTo>
                      <a:pt x="312" y="1438"/>
                    </a:lnTo>
                    <a:lnTo>
                      <a:pt x="306" y="1433"/>
                    </a:lnTo>
                    <a:lnTo>
                      <a:pt x="299" y="1431"/>
                    </a:lnTo>
                    <a:lnTo>
                      <a:pt x="290" y="1430"/>
                    </a:lnTo>
                    <a:lnTo>
                      <a:pt x="278" y="1429"/>
                    </a:lnTo>
                    <a:lnTo>
                      <a:pt x="278" y="1429"/>
                    </a:lnTo>
                    <a:lnTo>
                      <a:pt x="270" y="1429"/>
                    </a:lnTo>
                    <a:lnTo>
                      <a:pt x="262" y="1430"/>
                    </a:lnTo>
                    <a:lnTo>
                      <a:pt x="254" y="1432"/>
                    </a:lnTo>
                    <a:lnTo>
                      <a:pt x="247" y="1435"/>
                    </a:lnTo>
                    <a:lnTo>
                      <a:pt x="235" y="1440"/>
                    </a:lnTo>
                    <a:lnTo>
                      <a:pt x="223" y="1450"/>
                    </a:lnTo>
                    <a:lnTo>
                      <a:pt x="213" y="1459"/>
                    </a:lnTo>
                    <a:lnTo>
                      <a:pt x="202" y="1469"/>
                    </a:lnTo>
                    <a:lnTo>
                      <a:pt x="184" y="1491"/>
                    </a:lnTo>
                    <a:lnTo>
                      <a:pt x="184" y="1491"/>
                    </a:lnTo>
                    <a:lnTo>
                      <a:pt x="157" y="1491"/>
                    </a:lnTo>
                    <a:lnTo>
                      <a:pt x="157" y="1491"/>
                    </a:lnTo>
                    <a:lnTo>
                      <a:pt x="157" y="1491"/>
                    </a:lnTo>
                    <a:lnTo>
                      <a:pt x="154" y="1470"/>
                    </a:lnTo>
                    <a:lnTo>
                      <a:pt x="152" y="1451"/>
                    </a:lnTo>
                    <a:lnTo>
                      <a:pt x="148" y="1413"/>
                    </a:lnTo>
                    <a:lnTo>
                      <a:pt x="147" y="1377"/>
                    </a:lnTo>
                    <a:lnTo>
                      <a:pt x="146" y="1344"/>
                    </a:lnTo>
                    <a:lnTo>
                      <a:pt x="146" y="1344"/>
                    </a:lnTo>
                    <a:lnTo>
                      <a:pt x="146" y="1336"/>
                    </a:lnTo>
                    <a:lnTo>
                      <a:pt x="142" y="1328"/>
                    </a:lnTo>
                    <a:lnTo>
                      <a:pt x="138" y="1322"/>
                    </a:lnTo>
                    <a:lnTo>
                      <a:pt x="132" y="1317"/>
                    </a:lnTo>
                    <a:lnTo>
                      <a:pt x="126" y="1313"/>
                    </a:lnTo>
                    <a:lnTo>
                      <a:pt x="118" y="1309"/>
                    </a:lnTo>
                    <a:lnTo>
                      <a:pt x="102" y="1305"/>
                    </a:lnTo>
                    <a:lnTo>
                      <a:pt x="86" y="1300"/>
                    </a:lnTo>
                    <a:lnTo>
                      <a:pt x="72" y="1295"/>
                    </a:lnTo>
                    <a:lnTo>
                      <a:pt x="67" y="1292"/>
                    </a:lnTo>
                    <a:lnTo>
                      <a:pt x="62" y="1288"/>
                    </a:lnTo>
                    <a:lnTo>
                      <a:pt x="60" y="1284"/>
                    </a:lnTo>
                    <a:lnTo>
                      <a:pt x="58" y="1278"/>
                    </a:lnTo>
                    <a:lnTo>
                      <a:pt x="58" y="1278"/>
                    </a:lnTo>
                    <a:lnTo>
                      <a:pt x="58" y="1273"/>
                    </a:lnTo>
                    <a:lnTo>
                      <a:pt x="60" y="1269"/>
                    </a:lnTo>
                    <a:lnTo>
                      <a:pt x="64" y="1261"/>
                    </a:lnTo>
                    <a:lnTo>
                      <a:pt x="71" y="1253"/>
                    </a:lnTo>
                    <a:lnTo>
                      <a:pt x="77" y="1245"/>
                    </a:lnTo>
                    <a:lnTo>
                      <a:pt x="77" y="1245"/>
                    </a:lnTo>
                    <a:lnTo>
                      <a:pt x="77" y="1191"/>
                    </a:lnTo>
                    <a:lnTo>
                      <a:pt x="77" y="1191"/>
                    </a:lnTo>
                    <a:lnTo>
                      <a:pt x="77" y="1191"/>
                    </a:lnTo>
                    <a:lnTo>
                      <a:pt x="49" y="1186"/>
                    </a:lnTo>
                    <a:lnTo>
                      <a:pt x="39" y="1184"/>
                    </a:lnTo>
                    <a:lnTo>
                      <a:pt x="30" y="1181"/>
                    </a:lnTo>
                    <a:lnTo>
                      <a:pt x="22" y="1178"/>
                    </a:lnTo>
                    <a:lnTo>
                      <a:pt x="15" y="1173"/>
                    </a:lnTo>
                    <a:lnTo>
                      <a:pt x="8" y="1166"/>
                    </a:lnTo>
                    <a:lnTo>
                      <a:pt x="0" y="1156"/>
                    </a:lnTo>
                    <a:lnTo>
                      <a:pt x="0" y="1156"/>
                    </a:lnTo>
                    <a:lnTo>
                      <a:pt x="10" y="1148"/>
                    </a:lnTo>
                    <a:lnTo>
                      <a:pt x="22" y="1139"/>
                    </a:lnTo>
                    <a:lnTo>
                      <a:pt x="27" y="1133"/>
                    </a:lnTo>
                    <a:lnTo>
                      <a:pt x="32" y="1127"/>
                    </a:lnTo>
                    <a:lnTo>
                      <a:pt x="35" y="1120"/>
                    </a:lnTo>
                    <a:lnTo>
                      <a:pt x="37" y="1112"/>
                    </a:lnTo>
                    <a:lnTo>
                      <a:pt x="37" y="1112"/>
                    </a:lnTo>
                    <a:lnTo>
                      <a:pt x="35" y="1099"/>
                    </a:lnTo>
                    <a:lnTo>
                      <a:pt x="33" y="1086"/>
                    </a:lnTo>
                    <a:lnTo>
                      <a:pt x="27" y="1061"/>
                    </a:lnTo>
                    <a:lnTo>
                      <a:pt x="22" y="1035"/>
                    </a:lnTo>
                    <a:lnTo>
                      <a:pt x="19" y="1020"/>
                    </a:lnTo>
                    <a:lnTo>
                      <a:pt x="18" y="1006"/>
                    </a:lnTo>
                    <a:lnTo>
                      <a:pt x="18" y="1006"/>
                    </a:lnTo>
                    <a:lnTo>
                      <a:pt x="18" y="994"/>
                    </a:lnTo>
                    <a:lnTo>
                      <a:pt x="19" y="983"/>
                    </a:lnTo>
                    <a:lnTo>
                      <a:pt x="22" y="973"/>
                    </a:lnTo>
                    <a:lnTo>
                      <a:pt x="24" y="965"/>
                    </a:lnTo>
                    <a:lnTo>
                      <a:pt x="26" y="956"/>
                    </a:lnTo>
                    <a:lnTo>
                      <a:pt x="30" y="949"/>
                    </a:lnTo>
                    <a:lnTo>
                      <a:pt x="33" y="942"/>
                    </a:lnTo>
                    <a:lnTo>
                      <a:pt x="38" y="936"/>
                    </a:lnTo>
                    <a:lnTo>
                      <a:pt x="47" y="926"/>
                    </a:lnTo>
                    <a:lnTo>
                      <a:pt x="56" y="918"/>
                    </a:lnTo>
                    <a:lnTo>
                      <a:pt x="68" y="911"/>
                    </a:lnTo>
                    <a:lnTo>
                      <a:pt x="79" y="904"/>
                    </a:lnTo>
                    <a:lnTo>
                      <a:pt x="101" y="891"/>
                    </a:lnTo>
                    <a:lnTo>
                      <a:pt x="111" y="885"/>
                    </a:lnTo>
                    <a:lnTo>
                      <a:pt x="121" y="876"/>
                    </a:lnTo>
                    <a:lnTo>
                      <a:pt x="129" y="866"/>
                    </a:lnTo>
                    <a:lnTo>
                      <a:pt x="131" y="860"/>
                    </a:lnTo>
                    <a:lnTo>
                      <a:pt x="134" y="853"/>
                    </a:lnTo>
                    <a:lnTo>
                      <a:pt x="137" y="847"/>
                    </a:lnTo>
                    <a:lnTo>
                      <a:pt x="138" y="837"/>
                    </a:lnTo>
                    <a:lnTo>
                      <a:pt x="139" y="829"/>
                    </a:lnTo>
                    <a:lnTo>
                      <a:pt x="139" y="819"/>
                    </a:lnTo>
                    <a:lnTo>
                      <a:pt x="139" y="819"/>
                    </a:lnTo>
                    <a:lnTo>
                      <a:pt x="140" y="812"/>
                    </a:lnTo>
                    <a:lnTo>
                      <a:pt x="141" y="806"/>
                    </a:lnTo>
                    <a:lnTo>
                      <a:pt x="144" y="802"/>
                    </a:lnTo>
                    <a:lnTo>
                      <a:pt x="146" y="798"/>
                    </a:lnTo>
                    <a:lnTo>
                      <a:pt x="149" y="796"/>
                    </a:lnTo>
                    <a:lnTo>
                      <a:pt x="154" y="794"/>
                    </a:lnTo>
                    <a:lnTo>
                      <a:pt x="163" y="791"/>
                    </a:lnTo>
                    <a:lnTo>
                      <a:pt x="174" y="790"/>
                    </a:lnTo>
                    <a:lnTo>
                      <a:pt x="184" y="790"/>
                    </a:lnTo>
                    <a:lnTo>
                      <a:pt x="195" y="789"/>
                    </a:lnTo>
                    <a:lnTo>
                      <a:pt x="206" y="786"/>
                    </a:lnTo>
                    <a:lnTo>
                      <a:pt x="206" y="786"/>
                    </a:lnTo>
                    <a:lnTo>
                      <a:pt x="213" y="782"/>
                    </a:lnTo>
                    <a:lnTo>
                      <a:pt x="218" y="779"/>
                    </a:lnTo>
                    <a:lnTo>
                      <a:pt x="223" y="775"/>
                    </a:lnTo>
                    <a:lnTo>
                      <a:pt x="228" y="771"/>
                    </a:lnTo>
                    <a:lnTo>
                      <a:pt x="231" y="765"/>
                    </a:lnTo>
                    <a:lnTo>
                      <a:pt x="233" y="760"/>
                    </a:lnTo>
                    <a:lnTo>
                      <a:pt x="237" y="748"/>
                    </a:lnTo>
                    <a:lnTo>
                      <a:pt x="239" y="735"/>
                    </a:lnTo>
                    <a:lnTo>
                      <a:pt x="239" y="722"/>
                    </a:lnTo>
                    <a:lnTo>
                      <a:pt x="239" y="694"/>
                    </a:lnTo>
                    <a:lnTo>
                      <a:pt x="239" y="694"/>
                    </a:lnTo>
                    <a:lnTo>
                      <a:pt x="240" y="688"/>
                    </a:lnTo>
                    <a:lnTo>
                      <a:pt x="243" y="683"/>
                    </a:lnTo>
                    <a:lnTo>
                      <a:pt x="247" y="680"/>
                    </a:lnTo>
                    <a:lnTo>
                      <a:pt x="252" y="676"/>
                    </a:lnTo>
                    <a:lnTo>
                      <a:pt x="256" y="673"/>
                    </a:lnTo>
                    <a:lnTo>
                      <a:pt x="260" y="669"/>
                    </a:lnTo>
                    <a:lnTo>
                      <a:pt x="263" y="666"/>
                    </a:lnTo>
                    <a:lnTo>
                      <a:pt x="264" y="661"/>
                    </a:lnTo>
                    <a:lnTo>
                      <a:pt x="264" y="661"/>
                    </a:lnTo>
                    <a:lnTo>
                      <a:pt x="263" y="653"/>
                    </a:lnTo>
                    <a:lnTo>
                      <a:pt x="262" y="645"/>
                    </a:lnTo>
                    <a:lnTo>
                      <a:pt x="259" y="631"/>
                    </a:lnTo>
                    <a:lnTo>
                      <a:pt x="253" y="619"/>
                    </a:lnTo>
                    <a:lnTo>
                      <a:pt x="246" y="607"/>
                    </a:lnTo>
                    <a:lnTo>
                      <a:pt x="237" y="596"/>
                    </a:lnTo>
                    <a:lnTo>
                      <a:pt x="226" y="586"/>
                    </a:lnTo>
                    <a:lnTo>
                      <a:pt x="206" y="568"/>
                    </a:lnTo>
                    <a:lnTo>
                      <a:pt x="184" y="549"/>
                    </a:lnTo>
                    <a:lnTo>
                      <a:pt x="174" y="539"/>
                    </a:lnTo>
                    <a:lnTo>
                      <a:pt x="164" y="529"/>
                    </a:lnTo>
                    <a:lnTo>
                      <a:pt x="157" y="517"/>
                    </a:lnTo>
                    <a:lnTo>
                      <a:pt x="152" y="506"/>
                    </a:lnTo>
                    <a:lnTo>
                      <a:pt x="148" y="492"/>
                    </a:lnTo>
                    <a:lnTo>
                      <a:pt x="147" y="484"/>
                    </a:lnTo>
                    <a:lnTo>
                      <a:pt x="146" y="477"/>
                    </a:lnTo>
                    <a:lnTo>
                      <a:pt x="146" y="477"/>
                    </a:lnTo>
                    <a:lnTo>
                      <a:pt x="147" y="469"/>
                    </a:lnTo>
                    <a:lnTo>
                      <a:pt x="148" y="463"/>
                    </a:lnTo>
                    <a:lnTo>
                      <a:pt x="148" y="458"/>
                    </a:lnTo>
                    <a:lnTo>
                      <a:pt x="146" y="452"/>
                    </a:lnTo>
                    <a:lnTo>
                      <a:pt x="146" y="452"/>
                    </a:lnTo>
                    <a:lnTo>
                      <a:pt x="155" y="431"/>
                    </a:lnTo>
                    <a:lnTo>
                      <a:pt x="163" y="413"/>
                    </a:lnTo>
                    <a:lnTo>
                      <a:pt x="167" y="404"/>
                    </a:lnTo>
                    <a:lnTo>
                      <a:pt x="170" y="393"/>
                    </a:lnTo>
                    <a:lnTo>
                      <a:pt x="171" y="383"/>
                    </a:lnTo>
                    <a:lnTo>
                      <a:pt x="172" y="370"/>
                    </a:lnTo>
                    <a:lnTo>
                      <a:pt x="172" y="370"/>
                    </a:lnTo>
                    <a:lnTo>
                      <a:pt x="172" y="362"/>
                    </a:lnTo>
                    <a:lnTo>
                      <a:pt x="170" y="353"/>
                    </a:lnTo>
                    <a:lnTo>
                      <a:pt x="165" y="333"/>
                    </a:lnTo>
                    <a:lnTo>
                      <a:pt x="159" y="314"/>
                    </a:lnTo>
                    <a:lnTo>
                      <a:pt x="151" y="293"/>
                    </a:lnTo>
                    <a:lnTo>
                      <a:pt x="136" y="256"/>
                    </a:lnTo>
                    <a:lnTo>
                      <a:pt x="130" y="240"/>
                    </a:lnTo>
                    <a:lnTo>
                      <a:pt x="129" y="233"/>
                    </a:lnTo>
                    <a:lnTo>
                      <a:pt x="129" y="227"/>
                    </a:lnTo>
                    <a:lnTo>
                      <a:pt x="129" y="227"/>
                    </a:lnTo>
                    <a:lnTo>
                      <a:pt x="129" y="223"/>
                    </a:lnTo>
                    <a:lnTo>
                      <a:pt x="130" y="218"/>
                    </a:lnTo>
                    <a:lnTo>
                      <a:pt x="133" y="211"/>
                    </a:lnTo>
                    <a:lnTo>
                      <a:pt x="139" y="206"/>
                    </a:lnTo>
                    <a:lnTo>
                      <a:pt x="146" y="201"/>
                    </a:lnTo>
                    <a:lnTo>
                      <a:pt x="154" y="198"/>
                    </a:lnTo>
                    <a:lnTo>
                      <a:pt x="162" y="195"/>
                    </a:lnTo>
                    <a:lnTo>
                      <a:pt x="171" y="194"/>
                    </a:lnTo>
                    <a:lnTo>
                      <a:pt x="180" y="194"/>
                    </a:lnTo>
                    <a:lnTo>
                      <a:pt x="180" y="194"/>
                    </a:lnTo>
                    <a:lnTo>
                      <a:pt x="231" y="194"/>
                    </a:lnTo>
                    <a:lnTo>
                      <a:pt x="231" y="194"/>
                    </a:lnTo>
                    <a:lnTo>
                      <a:pt x="238" y="196"/>
                    </a:lnTo>
                    <a:lnTo>
                      <a:pt x="249" y="200"/>
                    </a:lnTo>
                    <a:lnTo>
                      <a:pt x="258" y="201"/>
                    </a:lnTo>
                    <a:lnTo>
                      <a:pt x="266" y="202"/>
                    </a:lnTo>
                    <a:lnTo>
                      <a:pt x="274" y="201"/>
                    </a:lnTo>
                    <a:lnTo>
                      <a:pt x="282" y="199"/>
                    </a:lnTo>
                    <a:lnTo>
                      <a:pt x="282" y="199"/>
                    </a:lnTo>
                    <a:lnTo>
                      <a:pt x="287" y="195"/>
                    </a:lnTo>
                    <a:lnTo>
                      <a:pt x="292" y="191"/>
                    </a:lnTo>
                    <a:lnTo>
                      <a:pt x="295" y="186"/>
                    </a:lnTo>
                    <a:lnTo>
                      <a:pt x="300" y="180"/>
                    </a:lnTo>
                    <a:lnTo>
                      <a:pt x="314" y="154"/>
                    </a:lnTo>
                    <a:lnTo>
                      <a:pt x="322" y="141"/>
                    </a:lnTo>
                    <a:lnTo>
                      <a:pt x="327" y="135"/>
                    </a:lnTo>
                    <a:lnTo>
                      <a:pt x="333" y="131"/>
                    </a:lnTo>
                    <a:lnTo>
                      <a:pt x="339" y="126"/>
                    </a:lnTo>
                    <a:lnTo>
                      <a:pt x="347" y="123"/>
                    </a:lnTo>
                    <a:lnTo>
                      <a:pt x="356" y="122"/>
                    </a:lnTo>
                    <a:lnTo>
                      <a:pt x="367" y="120"/>
                    </a:lnTo>
                    <a:lnTo>
                      <a:pt x="367" y="120"/>
                    </a:lnTo>
                    <a:lnTo>
                      <a:pt x="376" y="120"/>
                    </a:lnTo>
                    <a:lnTo>
                      <a:pt x="382" y="122"/>
                    </a:lnTo>
                    <a:lnTo>
                      <a:pt x="388" y="125"/>
                    </a:lnTo>
                    <a:lnTo>
                      <a:pt x="390" y="125"/>
                    </a:lnTo>
                    <a:lnTo>
                      <a:pt x="393" y="125"/>
                    </a:lnTo>
                    <a:lnTo>
                      <a:pt x="404" y="120"/>
                    </a:lnTo>
                    <a:lnTo>
                      <a:pt x="404" y="120"/>
                    </a:lnTo>
                    <a:lnTo>
                      <a:pt x="407" y="119"/>
                    </a:lnTo>
                    <a:lnTo>
                      <a:pt x="409" y="116"/>
                    </a:lnTo>
                    <a:lnTo>
                      <a:pt x="411" y="114"/>
                    </a:lnTo>
                    <a:lnTo>
                      <a:pt x="412" y="109"/>
                    </a:lnTo>
                    <a:lnTo>
                      <a:pt x="413" y="101"/>
                    </a:lnTo>
                    <a:lnTo>
                      <a:pt x="412" y="91"/>
                    </a:lnTo>
                    <a:lnTo>
                      <a:pt x="409" y="69"/>
                    </a:lnTo>
                    <a:lnTo>
                      <a:pt x="409" y="59"/>
                    </a:lnTo>
                    <a:lnTo>
                      <a:pt x="411" y="51"/>
                    </a:lnTo>
                    <a:lnTo>
                      <a:pt x="411" y="51"/>
                    </a:lnTo>
                    <a:lnTo>
                      <a:pt x="417" y="46"/>
                    </a:lnTo>
                    <a:lnTo>
                      <a:pt x="424" y="39"/>
                    </a:lnTo>
                    <a:lnTo>
                      <a:pt x="440" y="21"/>
                    </a:lnTo>
                    <a:lnTo>
                      <a:pt x="449" y="13"/>
                    </a:lnTo>
                    <a:lnTo>
                      <a:pt x="457" y="5"/>
                    </a:lnTo>
                    <a:lnTo>
                      <a:pt x="463" y="1"/>
                    </a:lnTo>
                    <a:lnTo>
                      <a:pt x="467" y="0"/>
                    </a:lnTo>
                    <a:lnTo>
                      <a:pt x="469" y="0"/>
                    </a:lnTo>
                    <a:lnTo>
                      <a:pt x="469" y="0"/>
                    </a:lnTo>
                    <a:lnTo>
                      <a:pt x="480" y="0"/>
                    </a:lnTo>
                    <a:lnTo>
                      <a:pt x="490" y="2"/>
                    </a:lnTo>
                    <a:lnTo>
                      <a:pt x="501" y="5"/>
                    </a:lnTo>
                    <a:lnTo>
                      <a:pt x="513" y="9"/>
                    </a:lnTo>
                    <a:lnTo>
                      <a:pt x="524" y="15"/>
                    </a:lnTo>
                    <a:lnTo>
                      <a:pt x="536" y="20"/>
                    </a:lnTo>
                    <a:lnTo>
                      <a:pt x="546" y="27"/>
                    </a:lnTo>
                    <a:lnTo>
                      <a:pt x="557" y="34"/>
                    </a:lnTo>
                    <a:lnTo>
                      <a:pt x="567" y="42"/>
                    </a:lnTo>
                    <a:lnTo>
                      <a:pt x="576" y="51"/>
                    </a:lnTo>
                    <a:lnTo>
                      <a:pt x="584" y="61"/>
                    </a:lnTo>
                    <a:lnTo>
                      <a:pt x="591" y="71"/>
                    </a:lnTo>
                    <a:lnTo>
                      <a:pt x="597" y="81"/>
                    </a:lnTo>
                    <a:lnTo>
                      <a:pt x="602" y="92"/>
                    </a:lnTo>
                    <a:lnTo>
                      <a:pt x="605" y="102"/>
                    </a:lnTo>
                    <a:lnTo>
                      <a:pt x="606" y="114"/>
                    </a:lnTo>
                    <a:lnTo>
                      <a:pt x="606" y="114"/>
                    </a:lnTo>
                    <a:lnTo>
                      <a:pt x="605" y="118"/>
                    </a:lnTo>
                    <a:lnTo>
                      <a:pt x="604" y="124"/>
                    </a:lnTo>
                    <a:lnTo>
                      <a:pt x="598" y="132"/>
                    </a:lnTo>
                    <a:lnTo>
                      <a:pt x="594" y="142"/>
                    </a:lnTo>
                    <a:lnTo>
                      <a:pt x="591" y="148"/>
                    </a:lnTo>
                    <a:lnTo>
                      <a:pt x="591" y="154"/>
                    </a:lnTo>
                    <a:lnTo>
                      <a:pt x="591" y="154"/>
                    </a:lnTo>
                    <a:lnTo>
                      <a:pt x="591" y="164"/>
                    </a:lnTo>
                    <a:lnTo>
                      <a:pt x="594" y="173"/>
                    </a:lnTo>
                    <a:lnTo>
                      <a:pt x="596" y="181"/>
                    </a:lnTo>
                    <a:lnTo>
                      <a:pt x="599" y="187"/>
                    </a:lnTo>
                    <a:lnTo>
                      <a:pt x="605" y="192"/>
                    </a:lnTo>
                    <a:lnTo>
                      <a:pt x="611" y="195"/>
                    </a:lnTo>
                    <a:lnTo>
                      <a:pt x="619" y="198"/>
                    </a:lnTo>
                    <a:lnTo>
                      <a:pt x="628" y="199"/>
                    </a:lnTo>
                    <a:lnTo>
                      <a:pt x="628" y="199"/>
                    </a:lnTo>
                    <a:lnTo>
                      <a:pt x="637" y="198"/>
                    </a:lnTo>
                    <a:lnTo>
                      <a:pt x="644" y="194"/>
                    </a:lnTo>
                    <a:lnTo>
                      <a:pt x="649" y="189"/>
                    </a:lnTo>
                    <a:lnTo>
                      <a:pt x="652" y="185"/>
                    </a:lnTo>
                    <a:lnTo>
                      <a:pt x="656" y="180"/>
                    </a:lnTo>
                    <a:lnTo>
                      <a:pt x="660" y="177"/>
                    </a:lnTo>
                    <a:lnTo>
                      <a:pt x="665" y="173"/>
                    </a:lnTo>
                    <a:lnTo>
                      <a:pt x="672" y="172"/>
                    </a:lnTo>
                    <a:lnTo>
                      <a:pt x="672" y="172"/>
                    </a:lnTo>
                    <a:lnTo>
                      <a:pt x="683" y="173"/>
                    </a:lnTo>
                    <a:lnTo>
                      <a:pt x="691" y="176"/>
                    </a:lnTo>
                    <a:lnTo>
                      <a:pt x="699" y="178"/>
                    </a:lnTo>
                    <a:lnTo>
                      <a:pt x="709" y="179"/>
                    </a:lnTo>
                    <a:lnTo>
                      <a:pt x="709" y="179"/>
                    </a:lnTo>
                    <a:lnTo>
                      <a:pt x="742" y="179"/>
                    </a:lnTo>
                    <a:lnTo>
                      <a:pt x="742" y="179"/>
                    </a:lnTo>
                    <a:lnTo>
                      <a:pt x="745" y="180"/>
                    </a:lnTo>
                    <a:lnTo>
                      <a:pt x="749" y="181"/>
                    </a:lnTo>
                    <a:lnTo>
                      <a:pt x="751" y="183"/>
                    </a:lnTo>
                    <a:lnTo>
                      <a:pt x="755" y="186"/>
                    </a:lnTo>
                    <a:lnTo>
                      <a:pt x="758" y="193"/>
                    </a:lnTo>
                    <a:lnTo>
                      <a:pt x="763" y="201"/>
                    </a:lnTo>
                    <a:lnTo>
                      <a:pt x="766" y="209"/>
                    </a:lnTo>
                    <a:lnTo>
                      <a:pt x="771" y="217"/>
                    </a:lnTo>
                    <a:lnTo>
                      <a:pt x="778" y="223"/>
                    </a:lnTo>
                    <a:lnTo>
                      <a:pt x="781" y="226"/>
                    </a:lnTo>
                    <a:lnTo>
                      <a:pt x="786" y="227"/>
                    </a:lnTo>
                    <a:lnTo>
                      <a:pt x="786" y="227"/>
                    </a:lnTo>
                    <a:lnTo>
                      <a:pt x="776" y="236"/>
                    </a:lnTo>
                    <a:lnTo>
                      <a:pt x="770" y="244"/>
                    </a:lnTo>
                    <a:lnTo>
                      <a:pt x="764" y="252"/>
                    </a:lnTo>
                    <a:lnTo>
                      <a:pt x="760" y="260"/>
                    </a:lnTo>
                    <a:lnTo>
                      <a:pt x="759" y="269"/>
                    </a:lnTo>
                    <a:lnTo>
                      <a:pt x="760" y="278"/>
                    </a:lnTo>
                    <a:lnTo>
                      <a:pt x="764" y="290"/>
                    </a:lnTo>
                    <a:lnTo>
                      <a:pt x="771" y="301"/>
                    </a:lnTo>
                    <a:lnTo>
                      <a:pt x="771" y="301"/>
                    </a:lnTo>
                    <a:lnTo>
                      <a:pt x="759" y="301"/>
                    </a:lnTo>
                    <a:lnTo>
                      <a:pt x="747" y="302"/>
                    </a:lnTo>
                    <a:lnTo>
                      <a:pt x="735" y="305"/>
                    </a:lnTo>
                    <a:lnTo>
                      <a:pt x="725" y="308"/>
                    </a:lnTo>
                    <a:lnTo>
                      <a:pt x="714" y="313"/>
                    </a:lnTo>
                    <a:lnTo>
                      <a:pt x="705" y="318"/>
                    </a:lnTo>
                    <a:lnTo>
                      <a:pt x="696" y="325"/>
                    </a:lnTo>
                    <a:lnTo>
                      <a:pt x="688" y="331"/>
                    </a:lnTo>
                    <a:lnTo>
                      <a:pt x="674" y="344"/>
                    </a:lnTo>
                    <a:lnTo>
                      <a:pt x="663" y="355"/>
                    </a:lnTo>
                    <a:lnTo>
                      <a:pt x="653" y="367"/>
                    </a:lnTo>
                    <a:lnTo>
                      <a:pt x="653" y="367"/>
                    </a:lnTo>
                    <a:lnTo>
                      <a:pt x="648" y="381"/>
                    </a:lnTo>
                    <a:lnTo>
                      <a:pt x="642" y="392"/>
                    </a:lnTo>
                    <a:lnTo>
                      <a:pt x="634" y="401"/>
                    </a:lnTo>
                    <a:lnTo>
                      <a:pt x="627" y="409"/>
                    </a:lnTo>
                    <a:lnTo>
                      <a:pt x="619" y="416"/>
                    </a:lnTo>
                    <a:lnTo>
                      <a:pt x="611" y="422"/>
                    </a:lnTo>
                    <a:lnTo>
                      <a:pt x="595" y="431"/>
                    </a:lnTo>
                    <a:lnTo>
                      <a:pt x="588" y="437"/>
                    </a:lnTo>
                    <a:lnTo>
                      <a:pt x="581" y="443"/>
                    </a:lnTo>
                    <a:lnTo>
                      <a:pt x="574" y="450"/>
                    </a:lnTo>
                    <a:lnTo>
                      <a:pt x="569" y="458"/>
                    </a:lnTo>
                    <a:lnTo>
                      <a:pt x="565" y="467"/>
                    </a:lnTo>
                    <a:lnTo>
                      <a:pt x="561" y="479"/>
                    </a:lnTo>
                    <a:lnTo>
                      <a:pt x="559" y="493"/>
                    </a:lnTo>
                    <a:lnTo>
                      <a:pt x="558" y="511"/>
                    </a:lnTo>
                    <a:lnTo>
                      <a:pt x="558" y="511"/>
                    </a:lnTo>
                    <a:lnTo>
                      <a:pt x="559" y="536"/>
                    </a:lnTo>
                    <a:lnTo>
                      <a:pt x="560" y="561"/>
                    </a:lnTo>
                    <a:lnTo>
                      <a:pt x="564" y="611"/>
                    </a:lnTo>
                    <a:lnTo>
                      <a:pt x="568" y="658"/>
                    </a:lnTo>
                    <a:lnTo>
                      <a:pt x="573" y="703"/>
                    </a:lnTo>
                    <a:lnTo>
                      <a:pt x="576" y="745"/>
                    </a:lnTo>
                    <a:lnTo>
                      <a:pt x="576" y="766"/>
                    </a:lnTo>
                    <a:lnTo>
                      <a:pt x="575" y="786"/>
                    </a:lnTo>
                    <a:lnTo>
                      <a:pt x="573" y="805"/>
                    </a:lnTo>
                    <a:lnTo>
                      <a:pt x="569" y="824"/>
                    </a:lnTo>
                    <a:lnTo>
                      <a:pt x="565" y="842"/>
                    </a:lnTo>
                    <a:lnTo>
                      <a:pt x="558" y="859"/>
                    </a:lnTo>
                    <a:lnTo>
                      <a:pt x="558" y="859"/>
                    </a:lnTo>
                    <a:lnTo>
                      <a:pt x="557" y="863"/>
                    </a:lnTo>
                    <a:lnTo>
                      <a:pt x="557" y="867"/>
                    </a:lnTo>
                    <a:lnTo>
                      <a:pt x="558" y="882"/>
                    </a:lnTo>
                    <a:lnTo>
                      <a:pt x="565" y="934"/>
                    </a:lnTo>
                    <a:lnTo>
                      <a:pt x="568" y="970"/>
                    </a:lnTo>
                    <a:lnTo>
                      <a:pt x="572" y="1011"/>
                    </a:lnTo>
                    <a:lnTo>
                      <a:pt x="572" y="1057"/>
                    </a:lnTo>
                    <a:lnTo>
                      <a:pt x="571" y="1082"/>
                    </a:lnTo>
                    <a:lnTo>
                      <a:pt x="569" y="1109"/>
                    </a:lnTo>
                    <a:lnTo>
                      <a:pt x="569" y="1109"/>
                    </a:lnTo>
                    <a:lnTo>
                      <a:pt x="567" y="1132"/>
                    </a:lnTo>
                    <a:lnTo>
                      <a:pt x="562" y="1156"/>
                    </a:lnTo>
                    <a:lnTo>
                      <a:pt x="558" y="1181"/>
                    </a:lnTo>
                    <a:lnTo>
                      <a:pt x="552" y="1206"/>
                    </a:lnTo>
                    <a:lnTo>
                      <a:pt x="539" y="1255"/>
                    </a:lnTo>
                    <a:lnTo>
                      <a:pt x="528" y="1300"/>
                    </a:lnTo>
                    <a:lnTo>
                      <a:pt x="523" y="1321"/>
                    </a:lnTo>
                    <a:lnTo>
                      <a:pt x="521" y="1339"/>
                    </a:lnTo>
                    <a:lnTo>
                      <a:pt x="520" y="1355"/>
                    </a:lnTo>
                    <a:lnTo>
                      <a:pt x="520" y="1363"/>
                    </a:lnTo>
                    <a:lnTo>
                      <a:pt x="521" y="1369"/>
                    </a:lnTo>
                    <a:lnTo>
                      <a:pt x="523" y="1375"/>
                    </a:lnTo>
                    <a:lnTo>
                      <a:pt x="526" y="1380"/>
                    </a:lnTo>
                    <a:lnTo>
                      <a:pt x="529" y="1384"/>
                    </a:lnTo>
                    <a:lnTo>
                      <a:pt x="533" y="1387"/>
                    </a:lnTo>
                    <a:lnTo>
                      <a:pt x="538" y="1391"/>
                    </a:lnTo>
                    <a:lnTo>
                      <a:pt x="544" y="1392"/>
                    </a:lnTo>
                    <a:lnTo>
                      <a:pt x="550" y="1392"/>
                    </a:lnTo>
                    <a:lnTo>
                      <a:pt x="558" y="1392"/>
                    </a:lnTo>
                    <a:lnTo>
                      <a:pt x="558" y="1392"/>
                    </a:lnTo>
                    <a:lnTo>
                      <a:pt x="585" y="1367"/>
                    </a:lnTo>
                    <a:lnTo>
                      <a:pt x="610" y="1348"/>
                    </a:lnTo>
                    <a:lnTo>
                      <a:pt x="620" y="1342"/>
                    </a:lnTo>
                    <a:lnTo>
                      <a:pt x="629" y="1337"/>
                    </a:lnTo>
                    <a:lnTo>
                      <a:pt x="638" y="1332"/>
                    </a:lnTo>
                    <a:lnTo>
                      <a:pt x="645" y="1330"/>
                    </a:lnTo>
                    <a:lnTo>
                      <a:pt x="653" y="1328"/>
                    </a:lnTo>
                    <a:lnTo>
                      <a:pt x="659" y="1328"/>
                    </a:lnTo>
                    <a:lnTo>
                      <a:pt x="665" y="1328"/>
                    </a:lnTo>
                    <a:lnTo>
                      <a:pt x="669" y="1329"/>
                    </a:lnTo>
                    <a:lnTo>
                      <a:pt x="674" y="1331"/>
                    </a:lnTo>
                    <a:lnTo>
                      <a:pt x="679" y="1334"/>
                    </a:lnTo>
                    <a:lnTo>
                      <a:pt x="682" y="1338"/>
                    </a:lnTo>
                    <a:lnTo>
                      <a:pt x="684" y="1342"/>
                    </a:lnTo>
                    <a:lnTo>
                      <a:pt x="690" y="1353"/>
                    </a:lnTo>
                    <a:lnTo>
                      <a:pt x="694" y="1364"/>
                    </a:lnTo>
                    <a:lnTo>
                      <a:pt x="702" y="1391"/>
                    </a:lnTo>
                    <a:lnTo>
                      <a:pt x="705" y="1403"/>
                    </a:lnTo>
                    <a:lnTo>
                      <a:pt x="710" y="1416"/>
                    </a:lnTo>
                    <a:lnTo>
                      <a:pt x="715" y="1426"/>
                    </a:lnTo>
                    <a:lnTo>
                      <a:pt x="719" y="1432"/>
                    </a:lnTo>
                    <a:lnTo>
                      <a:pt x="724" y="1436"/>
                    </a:lnTo>
                    <a:lnTo>
                      <a:pt x="724" y="1436"/>
                    </a:lnTo>
                    <a:lnTo>
                      <a:pt x="727" y="1432"/>
                    </a:lnTo>
                    <a:lnTo>
                      <a:pt x="729" y="1428"/>
                    </a:lnTo>
                    <a:lnTo>
                      <a:pt x="730" y="1423"/>
                    </a:lnTo>
                    <a:lnTo>
                      <a:pt x="732" y="1417"/>
                    </a:lnTo>
                    <a:lnTo>
                      <a:pt x="732" y="1406"/>
                    </a:lnTo>
                    <a:lnTo>
                      <a:pt x="730" y="1393"/>
                    </a:lnTo>
                    <a:lnTo>
                      <a:pt x="728" y="1380"/>
                    </a:lnTo>
                    <a:lnTo>
                      <a:pt x="727" y="1368"/>
                    </a:lnTo>
                    <a:lnTo>
                      <a:pt x="727" y="1357"/>
                    </a:lnTo>
                    <a:lnTo>
                      <a:pt x="728" y="1352"/>
                    </a:lnTo>
                    <a:lnTo>
                      <a:pt x="730" y="1347"/>
                    </a:lnTo>
                    <a:lnTo>
                      <a:pt x="730" y="1347"/>
                    </a:lnTo>
                    <a:lnTo>
                      <a:pt x="732" y="1339"/>
                    </a:lnTo>
                    <a:lnTo>
                      <a:pt x="733" y="1338"/>
                    </a:lnTo>
                    <a:lnTo>
                      <a:pt x="734" y="1337"/>
                    </a:lnTo>
                    <a:lnTo>
                      <a:pt x="735" y="1337"/>
                    </a:lnTo>
                    <a:lnTo>
                      <a:pt x="736" y="1338"/>
                    </a:lnTo>
                    <a:lnTo>
                      <a:pt x="739" y="1344"/>
                    </a:lnTo>
                    <a:lnTo>
                      <a:pt x="747" y="1361"/>
                    </a:lnTo>
                    <a:lnTo>
                      <a:pt x="757" y="1383"/>
                    </a:lnTo>
                    <a:lnTo>
                      <a:pt x="764" y="1393"/>
                    </a:lnTo>
                    <a:lnTo>
                      <a:pt x="771" y="1402"/>
                    </a:lnTo>
                    <a:lnTo>
                      <a:pt x="779" y="1410"/>
                    </a:lnTo>
                    <a:lnTo>
                      <a:pt x="782" y="1413"/>
                    </a:lnTo>
                    <a:lnTo>
                      <a:pt x="787" y="1414"/>
                    </a:lnTo>
                    <a:lnTo>
                      <a:pt x="791" y="1415"/>
                    </a:lnTo>
                    <a:lnTo>
                      <a:pt x="796" y="1415"/>
                    </a:lnTo>
                    <a:lnTo>
                      <a:pt x="802" y="1413"/>
                    </a:lnTo>
                    <a:lnTo>
                      <a:pt x="806" y="1410"/>
                    </a:lnTo>
                    <a:lnTo>
                      <a:pt x="812" y="1406"/>
                    </a:lnTo>
                    <a:lnTo>
                      <a:pt x="818" y="1401"/>
                    </a:lnTo>
                    <a:lnTo>
                      <a:pt x="824" y="1393"/>
                    </a:lnTo>
                    <a:lnTo>
                      <a:pt x="829" y="1385"/>
                    </a:lnTo>
                    <a:lnTo>
                      <a:pt x="829" y="1385"/>
                    </a:lnTo>
                    <a:lnTo>
                      <a:pt x="836" y="1380"/>
                    </a:lnTo>
                    <a:lnTo>
                      <a:pt x="841" y="1376"/>
                    </a:lnTo>
                    <a:lnTo>
                      <a:pt x="843" y="1371"/>
                    </a:lnTo>
                    <a:lnTo>
                      <a:pt x="846" y="1366"/>
                    </a:lnTo>
                    <a:lnTo>
                      <a:pt x="846" y="1360"/>
                    </a:lnTo>
                    <a:lnTo>
                      <a:pt x="844" y="1353"/>
                    </a:lnTo>
                    <a:lnTo>
                      <a:pt x="840" y="1339"/>
                    </a:lnTo>
                    <a:lnTo>
                      <a:pt x="833" y="1322"/>
                    </a:lnTo>
                    <a:lnTo>
                      <a:pt x="826" y="1301"/>
                    </a:lnTo>
                    <a:lnTo>
                      <a:pt x="824" y="1290"/>
                    </a:lnTo>
                    <a:lnTo>
                      <a:pt x="821" y="1277"/>
                    </a:lnTo>
                    <a:lnTo>
                      <a:pt x="820" y="1263"/>
                    </a:lnTo>
                    <a:lnTo>
                      <a:pt x="819" y="1249"/>
                    </a:lnTo>
                    <a:lnTo>
                      <a:pt x="819" y="1249"/>
                    </a:lnTo>
                    <a:lnTo>
                      <a:pt x="837" y="1231"/>
                    </a:lnTo>
                    <a:lnTo>
                      <a:pt x="854" y="1216"/>
                    </a:lnTo>
                    <a:lnTo>
                      <a:pt x="870" y="1206"/>
                    </a:lnTo>
                    <a:lnTo>
                      <a:pt x="886" y="1199"/>
                    </a:lnTo>
                    <a:lnTo>
                      <a:pt x="900" y="1194"/>
                    </a:lnTo>
                    <a:lnTo>
                      <a:pt x="913" y="1192"/>
                    </a:lnTo>
                    <a:lnTo>
                      <a:pt x="926" y="1193"/>
                    </a:lnTo>
                    <a:lnTo>
                      <a:pt x="938" y="1194"/>
                    </a:lnTo>
                    <a:lnTo>
                      <a:pt x="949" y="1198"/>
                    </a:lnTo>
                    <a:lnTo>
                      <a:pt x="959" y="1202"/>
                    </a:lnTo>
                    <a:lnTo>
                      <a:pt x="979" y="1211"/>
                    </a:lnTo>
                    <a:lnTo>
                      <a:pt x="995" y="1219"/>
                    </a:lnTo>
                    <a:lnTo>
                      <a:pt x="1003" y="1222"/>
                    </a:lnTo>
                    <a:lnTo>
                      <a:pt x="1010" y="1223"/>
                    </a:lnTo>
                    <a:lnTo>
                      <a:pt x="1010" y="1223"/>
                    </a:lnTo>
                    <a:lnTo>
                      <a:pt x="1042" y="1219"/>
                    </a:lnTo>
                    <a:lnTo>
                      <a:pt x="1066" y="1218"/>
                    </a:lnTo>
                    <a:lnTo>
                      <a:pt x="1084" y="1219"/>
                    </a:lnTo>
                    <a:lnTo>
                      <a:pt x="1091" y="1221"/>
                    </a:lnTo>
                    <a:lnTo>
                      <a:pt x="1095" y="1222"/>
                    </a:lnTo>
                    <a:lnTo>
                      <a:pt x="1099" y="1224"/>
                    </a:lnTo>
                    <a:lnTo>
                      <a:pt x="1101" y="1226"/>
                    </a:lnTo>
                    <a:lnTo>
                      <a:pt x="1102" y="1229"/>
                    </a:lnTo>
                    <a:lnTo>
                      <a:pt x="1103" y="1232"/>
                    </a:lnTo>
                    <a:lnTo>
                      <a:pt x="1101" y="1238"/>
                    </a:lnTo>
                    <a:lnTo>
                      <a:pt x="1098" y="1245"/>
                    </a:lnTo>
                    <a:lnTo>
                      <a:pt x="1086" y="1260"/>
                    </a:lnTo>
                    <a:lnTo>
                      <a:pt x="1080" y="1267"/>
                    </a:lnTo>
                    <a:lnTo>
                      <a:pt x="1076" y="1273"/>
                    </a:lnTo>
                    <a:lnTo>
                      <a:pt x="1075" y="1279"/>
                    </a:lnTo>
                    <a:lnTo>
                      <a:pt x="1075" y="1282"/>
                    </a:lnTo>
                    <a:lnTo>
                      <a:pt x="1076" y="1284"/>
                    </a:lnTo>
                    <a:lnTo>
                      <a:pt x="1077" y="1286"/>
                    </a:lnTo>
                    <a:lnTo>
                      <a:pt x="1080" y="1287"/>
                    </a:lnTo>
                    <a:lnTo>
                      <a:pt x="1091" y="1288"/>
                    </a:lnTo>
                    <a:lnTo>
                      <a:pt x="1091" y="1288"/>
                    </a:lnTo>
                    <a:lnTo>
                      <a:pt x="1101" y="1291"/>
                    </a:lnTo>
                    <a:lnTo>
                      <a:pt x="1110" y="1294"/>
                    </a:lnTo>
                    <a:lnTo>
                      <a:pt x="1119" y="1296"/>
                    </a:lnTo>
                    <a:lnTo>
                      <a:pt x="1127" y="1301"/>
                    </a:lnTo>
                    <a:lnTo>
                      <a:pt x="1144" y="1310"/>
                    </a:lnTo>
                    <a:lnTo>
                      <a:pt x="1157" y="1321"/>
                    </a:lnTo>
                    <a:lnTo>
                      <a:pt x="1170" y="1334"/>
                    </a:lnTo>
                    <a:lnTo>
                      <a:pt x="1182" y="1348"/>
                    </a:lnTo>
                    <a:lnTo>
                      <a:pt x="1192" y="1364"/>
                    </a:lnTo>
                    <a:lnTo>
                      <a:pt x="1201" y="1380"/>
                    </a:lnTo>
                    <a:lnTo>
                      <a:pt x="1210" y="1398"/>
                    </a:lnTo>
                    <a:lnTo>
                      <a:pt x="1217" y="1416"/>
                    </a:lnTo>
                    <a:lnTo>
                      <a:pt x="1232" y="1453"/>
                    </a:lnTo>
                    <a:lnTo>
                      <a:pt x="1245" y="1490"/>
                    </a:lnTo>
                    <a:lnTo>
                      <a:pt x="1260" y="1524"/>
                    </a:lnTo>
                    <a:lnTo>
                      <a:pt x="1260" y="1524"/>
                    </a:lnTo>
                    <a:lnTo>
                      <a:pt x="1270" y="1545"/>
                    </a:lnTo>
                    <a:lnTo>
                      <a:pt x="1282" y="1565"/>
                    </a:lnTo>
                    <a:lnTo>
                      <a:pt x="1295" y="1584"/>
                    </a:lnTo>
                    <a:lnTo>
                      <a:pt x="1308" y="1603"/>
                    </a:lnTo>
                    <a:lnTo>
                      <a:pt x="1337" y="1639"/>
                    </a:lnTo>
                    <a:lnTo>
                      <a:pt x="1366" y="1674"/>
                    </a:lnTo>
                    <a:lnTo>
                      <a:pt x="1394" y="1710"/>
                    </a:lnTo>
                    <a:lnTo>
                      <a:pt x="1409" y="1728"/>
                    </a:lnTo>
                    <a:lnTo>
                      <a:pt x="1422" y="1746"/>
                    </a:lnTo>
                    <a:lnTo>
                      <a:pt x="1436" y="1766"/>
                    </a:lnTo>
                    <a:lnTo>
                      <a:pt x="1447" y="1786"/>
                    </a:lnTo>
                    <a:lnTo>
                      <a:pt x="1459" y="1807"/>
                    </a:lnTo>
                    <a:lnTo>
                      <a:pt x="1469" y="1829"/>
                    </a:lnTo>
                    <a:lnTo>
                      <a:pt x="1469" y="1829"/>
                    </a:lnTo>
                    <a:lnTo>
                      <a:pt x="1475" y="1843"/>
                    </a:lnTo>
                    <a:lnTo>
                      <a:pt x="1478" y="1856"/>
                    </a:lnTo>
                    <a:lnTo>
                      <a:pt x="1481" y="1867"/>
                    </a:lnTo>
                    <a:lnTo>
                      <a:pt x="1482" y="1880"/>
                    </a:lnTo>
                    <a:lnTo>
                      <a:pt x="1482" y="1891"/>
                    </a:lnTo>
                    <a:lnTo>
                      <a:pt x="1482" y="1903"/>
                    </a:lnTo>
                    <a:lnTo>
                      <a:pt x="1478" y="1927"/>
                    </a:lnTo>
                    <a:lnTo>
                      <a:pt x="1476" y="1954"/>
                    </a:lnTo>
                    <a:lnTo>
                      <a:pt x="1474" y="1983"/>
                    </a:lnTo>
                    <a:lnTo>
                      <a:pt x="1474" y="2001"/>
                    </a:lnTo>
                    <a:lnTo>
                      <a:pt x="1475" y="2019"/>
                    </a:lnTo>
                    <a:lnTo>
                      <a:pt x="1476" y="2039"/>
                    </a:lnTo>
                    <a:lnTo>
                      <a:pt x="1480" y="2061"/>
                    </a:lnTo>
                    <a:lnTo>
                      <a:pt x="1480" y="2061"/>
                    </a:lnTo>
                    <a:lnTo>
                      <a:pt x="1470" y="2064"/>
                    </a:lnTo>
                    <a:lnTo>
                      <a:pt x="1462" y="2067"/>
                    </a:lnTo>
                    <a:lnTo>
                      <a:pt x="1455" y="2071"/>
                    </a:lnTo>
                    <a:lnTo>
                      <a:pt x="1447" y="2072"/>
                    </a:lnTo>
                    <a:lnTo>
                      <a:pt x="1447" y="2072"/>
                    </a:lnTo>
                    <a:lnTo>
                      <a:pt x="1444" y="2071"/>
                    </a:lnTo>
                    <a:lnTo>
                      <a:pt x="1442" y="2070"/>
                    </a:lnTo>
                    <a:lnTo>
                      <a:pt x="1439" y="2067"/>
                    </a:lnTo>
                    <a:lnTo>
                      <a:pt x="1438" y="2065"/>
                    </a:lnTo>
                    <a:lnTo>
                      <a:pt x="1436" y="2058"/>
                    </a:lnTo>
                    <a:lnTo>
                      <a:pt x="1436" y="2050"/>
                    </a:lnTo>
                    <a:lnTo>
                      <a:pt x="1436" y="2033"/>
                    </a:lnTo>
                    <a:lnTo>
                      <a:pt x="1435" y="2026"/>
                    </a:lnTo>
                    <a:lnTo>
                      <a:pt x="1432" y="2020"/>
                    </a:lnTo>
                    <a:lnTo>
                      <a:pt x="1432" y="2020"/>
                    </a:lnTo>
                    <a:lnTo>
                      <a:pt x="1431" y="2019"/>
                    </a:lnTo>
                    <a:lnTo>
                      <a:pt x="1429" y="2017"/>
                    </a:lnTo>
                    <a:lnTo>
                      <a:pt x="1421" y="2011"/>
                    </a:lnTo>
                    <a:lnTo>
                      <a:pt x="1397" y="1997"/>
                    </a:lnTo>
                    <a:lnTo>
                      <a:pt x="1370" y="1985"/>
                    </a:lnTo>
                    <a:lnTo>
                      <a:pt x="1361" y="1981"/>
                    </a:lnTo>
                    <a:lnTo>
                      <a:pt x="1355" y="1980"/>
                    </a:lnTo>
                    <a:lnTo>
                      <a:pt x="1355" y="1980"/>
                    </a:lnTo>
                    <a:lnTo>
                      <a:pt x="1293" y="2067"/>
                    </a:lnTo>
                    <a:lnTo>
                      <a:pt x="1293" y="2067"/>
                    </a:lnTo>
                    <a:lnTo>
                      <a:pt x="1293" y="2067"/>
                    </a:lnTo>
                    <a:lnTo>
                      <a:pt x="1323" y="2082"/>
                    </a:lnTo>
                    <a:lnTo>
                      <a:pt x="1346" y="2093"/>
                    </a:lnTo>
                    <a:lnTo>
                      <a:pt x="1354" y="2096"/>
                    </a:lnTo>
                    <a:lnTo>
                      <a:pt x="1359" y="2097"/>
                    </a:lnTo>
                    <a:lnTo>
                      <a:pt x="1359" y="2097"/>
                    </a:lnTo>
                    <a:lnTo>
                      <a:pt x="1367" y="2097"/>
                    </a:lnTo>
                    <a:lnTo>
                      <a:pt x="1374" y="2096"/>
                    </a:lnTo>
                    <a:lnTo>
                      <a:pt x="1383" y="2093"/>
                    </a:lnTo>
                    <a:lnTo>
                      <a:pt x="1386" y="2093"/>
                    </a:lnTo>
                    <a:lnTo>
                      <a:pt x="1391" y="2093"/>
                    </a:lnTo>
                    <a:lnTo>
                      <a:pt x="1396" y="2094"/>
                    </a:lnTo>
                    <a:lnTo>
                      <a:pt x="1402" y="2097"/>
                    </a:lnTo>
                    <a:lnTo>
                      <a:pt x="1402" y="2097"/>
                    </a:lnTo>
                    <a:lnTo>
                      <a:pt x="1402" y="2156"/>
                    </a:lnTo>
                    <a:lnTo>
                      <a:pt x="1402" y="2156"/>
                    </a:lnTo>
                    <a:lnTo>
                      <a:pt x="1402" y="2156"/>
                    </a:lnTo>
                    <a:lnTo>
                      <a:pt x="1398" y="2164"/>
                    </a:lnTo>
                    <a:lnTo>
                      <a:pt x="1390" y="2170"/>
                    </a:lnTo>
                    <a:lnTo>
                      <a:pt x="1382" y="2176"/>
                    </a:lnTo>
                    <a:lnTo>
                      <a:pt x="1374" y="2181"/>
                    </a:lnTo>
                    <a:lnTo>
                      <a:pt x="1364" y="2186"/>
                    </a:lnTo>
                    <a:lnTo>
                      <a:pt x="1359" y="2191"/>
                    </a:lnTo>
                    <a:lnTo>
                      <a:pt x="1354" y="2195"/>
                    </a:lnTo>
                    <a:lnTo>
                      <a:pt x="1352" y="2197"/>
                    </a:lnTo>
                    <a:lnTo>
                      <a:pt x="1352" y="2200"/>
                    </a:lnTo>
                    <a:lnTo>
                      <a:pt x="1352" y="2200"/>
                    </a:lnTo>
                    <a:lnTo>
                      <a:pt x="1353" y="2207"/>
                    </a:lnTo>
                    <a:lnTo>
                      <a:pt x="1355" y="2214"/>
                    </a:lnTo>
                    <a:lnTo>
                      <a:pt x="1360" y="2219"/>
                    </a:lnTo>
                    <a:lnTo>
                      <a:pt x="1364" y="2226"/>
                    </a:lnTo>
                    <a:lnTo>
                      <a:pt x="1369" y="2232"/>
                    </a:lnTo>
                    <a:lnTo>
                      <a:pt x="1373" y="2238"/>
                    </a:lnTo>
                    <a:lnTo>
                      <a:pt x="1376" y="2245"/>
                    </a:lnTo>
                    <a:lnTo>
                      <a:pt x="1377" y="2252"/>
                    </a:lnTo>
                    <a:lnTo>
                      <a:pt x="1377" y="2252"/>
                    </a:lnTo>
                    <a:lnTo>
                      <a:pt x="1376" y="2264"/>
                    </a:lnTo>
                    <a:lnTo>
                      <a:pt x="1373" y="2275"/>
                    </a:lnTo>
                    <a:lnTo>
                      <a:pt x="1368" y="2284"/>
                    </a:lnTo>
                    <a:lnTo>
                      <a:pt x="1361" y="2293"/>
                    </a:lnTo>
                    <a:lnTo>
                      <a:pt x="1352" y="2300"/>
                    </a:lnTo>
                    <a:lnTo>
                      <a:pt x="1343" y="2306"/>
                    </a:lnTo>
                    <a:lnTo>
                      <a:pt x="1332" y="2310"/>
                    </a:lnTo>
                    <a:lnTo>
                      <a:pt x="1321" y="2315"/>
                    </a:lnTo>
                    <a:lnTo>
                      <a:pt x="1308" y="2317"/>
                    </a:lnTo>
                    <a:lnTo>
                      <a:pt x="1295" y="2321"/>
                    </a:lnTo>
                    <a:lnTo>
                      <a:pt x="1269" y="2323"/>
                    </a:lnTo>
                    <a:lnTo>
                      <a:pt x="1244" y="2324"/>
                    </a:lnTo>
                    <a:lnTo>
                      <a:pt x="1219" y="2325"/>
                    </a:lnTo>
                    <a:lnTo>
                      <a:pt x="1219" y="2325"/>
                    </a:lnTo>
                    <a:lnTo>
                      <a:pt x="1216" y="2325"/>
                    </a:lnTo>
                    <a:lnTo>
                      <a:pt x="1213" y="2326"/>
                    </a:lnTo>
                    <a:lnTo>
                      <a:pt x="1205" y="2331"/>
                    </a:lnTo>
                    <a:lnTo>
                      <a:pt x="1198" y="2339"/>
                    </a:lnTo>
                    <a:lnTo>
                      <a:pt x="1191" y="2347"/>
                    </a:lnTo>
                    <a:lnTo>
                      <a:pt x="1184" y="2357"/>
                    </a:lnTo>
                    <a:lnTo>
                      <a:pt x="1179" y="2367"/>
                    </a:lnTo>
                    <a:lnTo>
                      <a:pt x="1177" y="2376"/>
                    </a:lnTo>
                    <a:lnTo>
                      <a:pt x="1176" y="2384"/>
                    </a:lnTo>
                    <a:lnTo>
                      <a:pt x="1176" y="2384"/>
                    </a:lnTo>
                    <a:lnTo>
                      <a:pt x="1176" y="2393"/>
                    </a:lnTo>
                    <a:lnTo>
                      <a:pt x="1178" y="2400"/>
                    </a:lnTo>
                    <a:lnTo>
                      <a:pt x="1180" y="2407"/>
                    </a:lnTo>
                    <a:lnTo>
                      <a:pt x="1183" y="2413"/>
                    </a:lnTo>
                    <a:lnTo>
                      <a:pt x="1187" y="2423"/>
                    </a:lnTo>
                    <a:lnTo>
                      <a:pt x="1190" y="2429"/>
                    </a:lnTo>
                    <a:lnTo>
                      <a:pt x="1190" y="2436"/>
                    </a:lnTo>
                    <a:lnTo>
                      <a:pt x="1190" y="2436"/>
                    </a:lnTo>
                    <a:lnTo>
                      <a:pt x="1190" y="2443"/>
                    </a:lnTo>
                    <a:lnTo>
                      <a:pt x="1186" y="2448"/>
                    </a:lnTo>
                    <a:lnTo>
                      <a:pt x="1182" y="2452"/>
                    </a:lnTo>
                    <a:lnTo>
                      <a:pt x="1177" y="2454"/>
                    </a:lnTo>
                    <a:lnTo>
                      <a:pt x="1170" y="2456"/>
                    </a:lnTo>
                    <a:lnTo>
                      <a:pt x="1163" y="2456"/>
                    </a:lnTo>
                    <a:lnTo>
                      <a:pt x="1149" y="2458"/>
                    </a:lnTo>
                    <a:lnTo>
                      <a:pt x="1149" y="2458"/>
                    </a:lnTo>
                    <a:lnTo>
                      <a:pt x="1149" y="2454"/>
                    </a:lnTo>
                    <a:lnTo>
                      <a:pt x="1149" y="2454"/>
                    </a:lnTo>
                    <a:lnTo>
                      <a:pt x="1149" y="2454"/>
                    </a:lnTo>
                    <a:lnTo>
                      <a:pt x="1144" y="2433"/>
                    </a:lnTo>
                    <a:lnTo>
                      <a:pt x="1138" y="2412"/>
                    </a:lnTo>
                    <a:lnTo>
                      <a:pt x="1133" y="2391"/>
                    </a:lnTo>
                    <a:lnTo>
                      <a:pt x="1130" y="2369"/>
                    </a:lnTo>
                    <a:lnTo>
                      <a:pt x="1129" y="2347"/>
                    </a:lnTo>
                    <a:lnTo>
                      <a:pt x="1129" y="2323"/>
                    </a:lnTo>
                    <a:lnTo>
                      <a:pt x="1131" y="2299"/>
                    </a:lnTo>
                    <a:lnTo>
                      <a:pt x="1134" y="2273"/>
                    </a:lnTo>
                    <a:lnTo>
                      <a:pt x="1134" y="2273"/>
                    </a:lnTo>
                    <a:lnTo>
                      <a:pt x="1127" y="2272"/>
                    </a:lnTo>
                    <a:lnTo>
                      <a:pt x="1121" y="2271"/>
                    </a:lnTo>
                    <a:lnTo>
                      <a:pt x="1115" y="2269"/>
                    </a:lnTo>
                    <a:lnTo>
                      <a:pt x="1110" y="2267"/>
                    </a:lnTo>
                    <a:lnTo>
                      <a:pt x="1101" y="2260"/>
                    </a:lnTo>
                    <a:lnTo>
                      <a:pt x="1094" y="2252"/>
                    </a:lnTo>
                    <a:lnTo>
                      <a:pt x="1087" y="2242"/>
                    </a:lnTo>
                    <a:lnTo>
                      <a:pt x="1081" y="2234"/>
                    </a:lnTo>
                    <a:lnTo>
                      <a:pt x="1076" y="2226"/>
                    </a:lnTo>
                    <a:lnTo>
                      <a:pt x="1069" y="2218"/>
                    </a:lnTo>
                    <a:lnTo>
                      <a:pt x="1069" y="2218"/>
                    </a:lnTo>
                    <a:lnTo>
                      <a:pt x="1065" y="2212"/>
                    </a:lnTo>
                    <a:lnTo>
                      <a:pt x="1061" y="2208"/>
                    </a:lnTo>
                    <a:lnTo>
                      <a:pt x="1054" y="2206"/>
                    </a:lnTo>
                    <a:lnTo>
                      <a:pt x="1047" y="2203"/>
                    </a:lnTo>
                    <a:lnTo>
                      <a:pt x="1047" y="2203"/>
                    </a:lnTo>
                    <a:lnTo>
                      <a:pt x="1039" y="2210"/>
                    </a:lnTo>
                    <a:lnTo>
                      <a:pt x="1032" y="2218"/>
                    </a:lnTo>
                    <a:lnTo>
                      <a:pt x="1026" y="2226"/>
                    </a:lnTo>
                    <a:lnTo>
                      <a:pt x="1019" y="2235"/>
                    </a:lnTo>
                    <a:lnTo>
                      <a:pt x="1009" y="2256"/>
                    </a:lnTo>
                    <a:lnTo>
                      <a:pt x="997" y="2278"/>
                    </a:lnTo>
                    <a:lnTo>
                      <a:pt x="978" y="2326"/>
                    </a:lnTo>
                    <a:lnTo>
                      <a:pt x="966" y="2349"/>
                    </a:lnTo>
                    <a:lnTo>
                      <a:pt x="955" y="2372"/>
                    </a:lnTo>
                    <a:lnTo>
                      <a:pt x="955" y="2372"/>
                    </a:lnTo>
                    <a:lnTo>
                      <a:pt x="944" y="2391"/>
                    </a:lnTo>
                    <a:lnTo>
                      <a:pt x="933" y="2407"/>
                    </a:lnTo>
                    <a:lnTo>
                      <a:pt x="921" y="2424"/>
                    </a:lnTo>
                    <a:lnTo>
                      <a:pt x="909" y="2439"/>
                    </a:lnTo>
                    <a:lnTo>
                      <a:pt x="895" y="2453"/>
                    </a:lnTo>
                    <a:lnTo>
                      <a:pt x="881" y="2466"/>
                    </a:lnTo>
                    <a:lnTo>
                      <a:pt x="867" y="2477"/>
                    </a:lnTo>
                    <a:lnTo>
                      <a:pt x="854" y="2486"/>
                    </a:lnTo>
                    <a:lnTo>
                      <a:pt x="841" y="2494"/>
                    </a:lnTo>
                    <a:lnTo>
                      <a:pt x="827" y="2500"/>
                    </a:lnTo>
                    <a:lnTo>
                      <a:pt x="814" y="2504"/>
                    </a:lnTo>
                    <a:lnTo>
                      <a:pt x="803" y="2504"/>
                    </a:lnTo>
                    <a:lnTo>
                      <a:pt x="797" y="2504"/>
                    </a:lnTo>
                    <a:lnTo>
                      <a:pt x="793" y="2502"/>
                    </a:lnTo>
                    <a:lnTo>
                      <a:pt x="787" y="2500"/>
                    </a:lnTo>
                    <a:lnTo>
                      <a:pt x="782" y="2498"/>
                    </a:lnTo>
                    <a:lnTo>
                      <a:pt x="779" y="2494"/>
                    </a:lnTo>
                    <a:lnTo>
                      <a:pt x="774" y="2490"/>
                    </a:lnTo>
                    <a:lnTo>
                      <a:pt x="771" y="2485"/>
                    </a:lnTo>
                    <a:lnTo>
                      <a:pt x="767" y="2479"/>
                    </a:lnTo>
                    <a:lnTo>
                      <a:pt x="767" y="2479"/>
                    </a:lnTo>
                    <a:lnTo>
                      <a:pt x="755" y="2455"/>
                    </a:lnTo>
                    <a:lnTo>
                      <a:pt x="745" y="2435"/>
                    </a:lnTo>
                    <a:lnTo>
                      <a:pt x="739" y="2420"/>
                    </a:lnTo>
                    <a:lnTo>
                      <a:pt x="733" y="2407"/>
                    </a:lnTo>
                    <a:lnTo>
                      <a:pt x="727" y="2398"/>
                    </a:lnTo>
                    <a:lnTo>
                      <a:pt x="724" y="2394"/>
                    </a:lnTo>
                    <a:lnTo>
                      <a:pt x="720" y="2392"/>
                    </a:lnTo>
                    <a:lnTo>
                      <a:pt x="714" y="2390"/>
                    </a:lnTo>
                    <a:lnTo>
                      <a:pt x="709" y="2387"/>
                    </a:lnTo>
                    <a:lnTo>
                      <a:pt x="694" y="2384"/>
                    </a:lnTo>
                    <a:lnTo>
                      <a:pt x="694" y="2384"/>
                    </a:lnTo>
                    <a:lnTo>
                      <a:pt x="703" y="2371"/>
                    </a:lnTo>
                    <a:lnTo>
                      <a:pt x="709" y="2360"/>
                    </a:lnTo>
                    <a:lnTo>
                      <a:pt x="711" y="2347"/>
                    </a:lnTo>
                    <a:lnTo>
                      <a:pt x="712" y="2332"/>
                    </a:lnTo>
                    <a:lnTo>
                      <a:pt x="712" y="2332"/>
                    </a:lnTo>
                    <a:lnTo>
                      <a:pt x="712" y="2314"/>
                    </a:lnTo>
                    <a:lnTo>
                      <a:pt x="712" y="2314"/>
                    </a:lnTo>
                    <a:lnTo>
                      <a:pt x="713" y="2306"/>
                    </a:lnTo>
                    <a:lnTo>
                      <a:pt x="715" y="2300"/>
                    </a:lnTo>
                    <a:lnTo>
                      <a:pt x="718" y="2295"/>
                    </a:lnTo>
                    <a:lnTo>
                      <a:pt x="722" y="2292"/>
                    </a:lnTo>
                    <a:lnTo>
                      <a:pt x="726" y="2288"/>
                    </a:lnTo>
                    <a:lnTo>
                      <a:pt x="729" y="2284"/>
                    </a:lnTo>
                    <a:lnTo>
                      <a:pt x="733" y="2278"/>
                    </a:lnTo>
                    <a:lnTo>
                      <a:pt x="734" y="2270"/>
                    </a:lnTo>
                    <a:lnTo>
                      <a:pt x="734" y="2270"/>
                    </a:lnTo>
                    <a:lnTo>
                      <a:pt x="734" y="2273"/>
                    </a:lnTo>
                    <a:lnTo>
                      <a:pt x="734" y="2270"/>
                    </a:lnTo>
                    <a:lnTo>
                      <a:pt x="734" y="227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2" name="Freeform 17"/>
              <p:cNvSpPr>
                <a:spLocks noChangeAspect="1"/>
              </p:cNvSpPr>
              <p:nvPr/>
            </p:nvSpPr>
            <p:spPr bwMode="auto">
              <a:xfrm>
                <a:off x="8641282" y="4367441"/>
                <a:ext cx="50723" cy="122459"/>
              </a:xfrm>
              <a:custGeom>
                <a:avLst/>
                <a:gdLst/>
                <a:ahLst/>
                <a:cxnLst>
                  <a:cxn ang="0">
                    <a:pos x="0" y="66"/>
                  </a:cxn>
                  <a:cxn ang="0">
                    <a:pos x="0" y="66"/>
                  </a:cxn>
                  <a:cxn ang="0">
                    <a:pos x="1" y="75"/>
                  </a:cxn>
                  <a:cxn ang="0">
                    <a:pos x="2" y="82"/>
                  </a:cxn>
                  <a:cxn ang="0">
                    <a:pos x="8" y="92"/>
                  </a:cxn>
                  <a:cxn ang="0">
                    <a:pos x="8" y="92"/>
                  </a:cxn>
                  <a:cxn ang="0">
                    <a:pos x="11" y="106"/>
                  </a:cxn>
                  <a:cxn ang="0">
                    <a:pos x="14" y="121"/>
                  </a:cxn>
                  <a:cxn ang="0">
                    <a:pos x="17" y="135"/>
                  </a:cxn>
                  <a:cxn ang="0">
                    <a:pos x="22" y="148"/>
                  </a:cxn>
                  <a:cxn ang="0">
                    <a:pos x="24" y="154"/>
                  </a:cxn>
                  <a:cxn ang="0">
                    <a:pos x="27" y="159"/>
                  </a:cxn>
                  <a:cxn ang="0">
                    <a:pos x="31" y="165"/>
                  </a:cxn>
                  <a:cxn ang="0">
                    <a:pos x="35" y="168"/>
                  </a:cxn>
                  <a:cxn ang="0">
                    <a:pos x="41" y="172"/>
                  </a:cxn>
                  <a:cxn ang="0">
                    <a:pos x="47" y="174"/>
                  </a:cxn>
                  <a:cxn ang="0">
                    <a:pos x="54" y="176"/>
                  </a:cxn>
                  <a:cxn ang="0">
                    <a:pos x="63" y="176"/>
                  </a:cxn>
                  <a:cxn ang="0">
                    <a:pos x="63" y="176"/>
                  </a:cxn>
                  <a:cxn ang="0">
                    <a:pos x="63" y="166"/>
                  </a:cxn>
                  <a:cxn ang="0">
                    <a:pos x="63" y="166"/>
                  </a:cxn>
                  <a:cxn ang="0">
                    <a:pos x="63" y="166"/>
                  </a:cxn>
                  <a:cxn ang="0">
                    <a:pos x="56" y="158"/>
                  </a:cxn>
                  <a:cxn ang="0">
                    <a:pos x="48" y="146"/>
                  </a:cxn>
                  <a:cxn ang="0">
                    <a:pos x="42" y="134"/>
                  </a:cxn>
                  <a:cxn ang="0">
                    <a:pos x="41" y="127"/>
                  </a:cxn>
                  <a:cxn ang="0">
                    <a:pos x="40" y="121"/>
                  </a:cxn>
                  <a:cxn ang="0">
                    <a:pos x="40" y="121"/>
                  </a:cxn>
                  <a:cxn ang="0">
                    <a:pos x="40" y="69"/>
                  </a:cxn>
                  <a:cxn ang="0">
                    <a:pos x="40" y="69"/>
                  </a:cxn>
                  <a:cxn ang="0">
                    <a:pos x="42" y="59"/>
                  </a:cxn>
                  <a:cxn ang="0">
                    <a:pos x="46" y="46"/>
                  </a:cxn>
                  <a:cxn ang="0">
                    <a:pos x="55" y="26"/>
                  </a:cxn>
                  <a:cxn ang="0">
                    <a:pos x="55" y="26"/>
                  </a:cxn>
                  <a:cxn ang="0">
                    <a:pos x="55" y="0"/>
                  </a:cxn>
                  <a:cxn ang="0">
                    <a:pos x="55" y="0"/>
                  </a:cxn>
                  <a:cxn ang="0">
                    <a:pos x="55" y="0"/>
                  </a:cxn>
                  <a:cxn ang="0">
                    <a:pos x="45" y="4"/>
                  </a:cxn>
                  <a:cxn ang="0">
                    <a:pos x="34" y="8"/>
                  </a:cxn>
                  <a:cxn ang="0">
                    <a:pos x="25" y="14"/>
                  </a:cxn>
                  <a:cxn ang="0">
                    <a:pos x="17" y="22"/>
                  </a:cxn>
                  <a:cxn ang="0">
                    <a:pos x="10" y="31"/>
                  </a:cxn>
                  <a:cxn ang="0">
                    <a:pos x="4" y="42"/>
                  </a:cxn>
                  <a:cxn ang="0">
                    <a:pos x="1" y="53"/>
                  </a:cxn>
                  <a:cxn ang="0">
                    <a:pos x="0" y="66"/>
                  </a:cxn>
                  <a:cxn ang="0">
                    <a:pos x="0" y="66"/>
                  </a:cxn>
                  <a:cxn ang="0">
                    <a:pos x="0" y="66"/>
                  </a:cxn>
                </a:cxnLst>
                <a:rect l="0" t="0" r="r" b="b"/>
                <a:pathLst>
                  <a:path w="63" h="176">
                    <a:moveTo>
                      <a:pt x="0" y="66"/>
                    </a:moveTo>
                    <a:lnTo>
                      <a:pt x="0" y="66"/>
                    </a:lnTo>
                    <a:lnTo>
                      <a:pt x="1" y="75"/>
                    </a:lnTo>
                    <a:lnTo>
                      <a:pt x="2" y="82"/>
                    </a:lnTo>
                    <a:lnTo>
                      <a:pt x="8" y="92"/>
                    </a:lnTo>
                    <a:lnTo>
                      <a:pt x="8" y="92"/>
                    </a:lnTo>
                    <a:lnTo>
                      <a:pt x="11" y="106"/>
                    </a:lnTo>
                    <a:lnTo>
                      <a:pt x="14" y="121"/>
                    </a:lnTo>
                    <a:lnTo>
                      <a:pt x="17" y="135"/>
                    </a:lnTo>
                    <a:lnTo>
                      <a:pt x="22" y="148"/>
                    </a:lnTo>
                    <a:lnTo>
                      <a:pt x="24" y="154"/>
                    </a:lnTo>
                    <a:lnTo>
                      <a:pt x="27" y="159"/>
                    </a:lnTo>
                    <a:lnTo>
                      <a:pt x="31" y="165"/>
                    </a:lnTo>
                    <a:lnTo>
                      <a:pt x="35" y="168"/>
                    </a:lnTo>
                    <a:lnTo>
                      <a:pt x="41" y="172"/>
                    </a:lnTo>
                    <a:lnTo>
                      <a:pt x="47" y="174"/>
                    </a:lnTo>
                    <a:lnTo>
                      <a:pt x="54" y="176"/>
                    </a:lnTo>
                    <a:lnTo>
                      <a:pt x="63" y="176"/>
                    </a:lnTo>
                    <a:lnTo>
                      <a:pt x="63" y="176"/>
                    </a:lnTo>
                    <a:lnTo>
                      <a:pt x="63" y="166"/>
                    </a:lnTo>
                    <a:lnTo>
                      <a:pt x="63" y="166"/>
                    </a:lnTo>
                    <a:lnTo>
                      <a:pt x="63" y="166"/>
                    </a:lnTo>
                    <a:lnTo>
                      <a:pt x="56" y="158"/>
                    </a:lnTo>
                    <a:lnTo>
                      <a:pt x="48" y="146"/>
                    </a:lnTo>
                    <a:lnTo>
                      <a:pt x="42" y="134"/>
                    </a:lnTo>
                    <a:lnTo>
                      <a:pt x="41" y="127"/>
                    </a:lnTo>
                    <a:lnTo>
                      <a:pt x="40" y="121"/>
                    </a:lnTo>
                    <a:lnTo>
                      <a:pt x="40" y="121"/>
                    </a:lnTo>
                    <a:lnTo>
                      <a:pt x="40" y="69"/>
                    </a:lnTo>
                    <a:lnTo>
                      <a:pt x="40" y="69"/>
                    </a:lnTo>
                    <a:lnTo>
                      <a:pt x="42" y="59"/>
                    </a:lnTo>
                    <a:lnTo>
                      <a:pt x="46" y="46"/>
                    </a:lnTo>
                    <a:lnTo>
                      <a:pt x="55" y="26"/>
                    </a:lnTo>
                    <a:lnTo>
                      <a:pt x="55" y="26"/>
                    </a:lnTo>
                    <a:lnTo>
                      <a:pt x="55" y="0"/>
                    </a:lnTo>
                    <a:lnTo>
                      <a:pt x="55" y="0"/>
                    </a:lnTo>
                    <a:lnTo>
                      <a:pt x="55" y="0"/>
                    </a:lnTo>
                    <a:lnTo>
                      <a:pt x="45" y="4"/>
                    </a:lnTo>
                    <a:lnTo>
                      <a:pt x="34" y="8"/>
                    </a:lnTo>
                    <a:lnTo>
                      <a:pt x="25" y="14"/>
                    </a:lnTo>
                    <a:lnTo>
                      <a:pt x="17" y="22"/>
                    </a:lnTo>
                    <a:lnTo>
                      <a:pt x="10" y="31"/>
                    </a:lnTo>
                    <a:lnTo>
                      <a:pt x="4" y="42"/>
                    </a:lnTo>
                    <a:lnTo>
                      <a:pt x="1" y="53"/>
                    </a:lnTo>
                    <a:lnTo>
                      <a:pt x="0" y="66"/>
                    </a:lnTo>
                    <a:lnTo>
                      <a:pt x="0" y="66"/>
                    </a:lnTo>
                    <a:lnTo>
                      <a:pt x="0" y="6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3" name="Freeform 18"/>
              <p:cNvSpPr>
                <a:spLocks noChangeAspect="1"/>
              </p:cNvSpPr>
              <p:nvPr/>
            </p:nvSpPr>
            <p:spPr bwMode="auto">
              <a:xfrm>
                <a:off x="8669814" y="4172620"/>
                <a:ext cx="53893" cy="185081"/>
              </a:xfrm>
              <a:custGeom>
                <a:avLst/>
                <a:gdLst/>
                <a:ahLst/>
                <a:cxnLst>
                  <a:cxn ang="0">
                    <a:pos x="8" y="169"/>
                  </a:cxn>
                  <a:cxn ang="0">
                    <a:pos x="8" y="110"/>
                  </a:cxn>
                  <a:cxn ang="0">
                    <a:pos x="3" y="95"/>
                  </a:cxn>
                  <a:cxn ang="0">
                    <a:pos x="0" y="77"/>
                  </a:cxn>
                  <a:cxn ang="0">
                    <a:pos x="0" y="65"/>
                  </a:cxn>
                  <a:cxn ang="0">
                    <a:pos x="8" y="65"/>
                  </a:cxn>
                  <a:cxn ang="0">
                    <a:pos x="18" y="59"/>
                  </a:cxn>
                  <a:cxn ang="0">
                    <a:pos x="25" y="50"/>
                  </a:cxn>
                  <a:cxn ang="0">
                    <a:pos x="31" y="33"/>
                  </a:cxn>
                  <a:cxn ang="0">
                    <a:pos x="38" y="10"/>
                  </a:cxn>
                  <a:cxn ang="0">
                    <a:pos x="42" y="3"/>
                  </a:cxn>
                  <a:cxn ang="0">
                    <a:pos x="51" y="0"/>
                  </a:cxn>
                  <a:cxn ang="0">
                    <a:pos x="54" y="1"/>
                  </a:cxn>
                  <a:cxn ang="0">
                    <a:pos x="62" y="8"/>
                  </a:cxn>
                  <a:cxn ang="0">
                    <a:pos x="66" y="21"/>
                  </a:cxn>
                  <a:cxn ang="0">
                    <a:pos x="65" y="31"/>
                  </a:cxn>
                  <a:cxn ang="0">
                    <a:pos x="62" y="43"/>
                  </a:cxn>
                  <a:cxn ang="0">
                    <a:pos x="54" y="59"/>
                  </a:cxn>
                  <a:cxn ang="0">
                    <a:pos x="51" y="73"/>
                  </a:cxn>
                  <a:cxn ang="0">
                    <a:pos x="53" y="89"/>
                  </a:cxn>
                  <a:cxn ang="0">
                    <a:pos x="57" y="115"/>
                  </a:cxn>
                  <a:cxn ang="0">
                    <a:pos x="58" y="129"/>
                  </a:cxn>
                  <a:cxn ang="0">
                    <a:pos x="55" y="140"/>
                  </a:cxn>
                  <a:cxn ang="0">
                    <a:pos x="48" y="148"/>
                  </a:cxn>
                  <a:cxn ang="0">
                    <a:pos x="38" y="160"/>
                  </a:cxn>
                  <a:cxn ang="0">
                    <a:pos x="36" y="165"/>
                  </a:cxn>
                  <a:cxn ang="0">
                    <a:pos x="39" y="178"/>
                  </a:cxn>
                  <a:cxn ang="0">
                    <a:pos x="49" y="203"/>
                  </a:cxn>
                  <a:cxn ang="0">
                    <a:pos x="51" y="216"/>
                  </a:cxn>
                  <a:cxn ang="0">
                    <a:pos x="51" y="224"/>
                  </a:cxn>
                  <a:cxn ang="0">
                    <a:pos x="46" y="241"/>
                  </a:cxn>
                  <a:cxn ang="0">
                    <a:pos x="41" y="259"/>
                  </a:cxn>
                  <a:cxn ang="0">
                    <a:pos x="40" y="264"/>
                  </a:cxn>
                  <a:cxn ang="0">
                    <a:pos x="32" y="257"/>
                  </a:cxn>
                  <a:cxn ang="0">
                    <a:pos x="30" y="248"/>
                  </a:cxn>
                  <a:cxn ang="0">
                    <a:pos x="30" y="224"/>
                  </a:cxn>
                  <a:cxn ang="0">
                    <a:pos x="28" y="221"/>
                  </a:cxn>
                  <a:cxn ang="0">
                    <a:pos x="25" y="216"/>
                  </a:cxn>
                  <a:cxn ang="0">
                    <a:pos x="18" y="215"/>
                  </a:cxn>
                  <a:cxn ang="0">
                    <a:pos x="15" y="213"/>
                  </a:cxn>
                  <a:cxn ang="0">
                    <a:pos x="9" y="202"/>
                  </a:cxn>
                  <a:cxn ang="0">
                    <a:pos x="8" y="189"/>
                  </a:cxn>
                  <a:cxn ang="0">
                    <a:pos x="9" y="172"/>
                  </a:cxn>
                  <a:cxn ang="0">
                    <a:pos x="8" y="169"/>
                  </a:cxn>
                </a:cxnLst>
                <a:rect l="0" t="0" r="r" b="b"/>
                <a:pathLst>
                  <a:path w="66" h="264">
                    <a:moveTo>
                      <a:pt x="8" y="169"/>
                    </a:moveTo>
                    <a:lnTo>
                      <a:pt x="8" y="169"/>
                    </a:lnTo>
                    <a:lnTo>
                      <a:pt x="8" y="110"/>
                    </a:lnTo>
                    <a:lnTo>
                      <a:pt x="8" y="110"/>
                    </a:lnTo>
                    <a:lnTo>
                      <a:pt x="7" y="102"/>
                    </a:lnTo>
                    <a:lnTo>
                      <a:pt x="3" y="95"/>
                    </a:lnTo>
                    <a:lnTo>
                      <a:pt x="1" y="87"/>
                    </a:lnTo>
                    <a:lnTo>
                      <a:pt x="0" y="77"/>
                    </a:lnTo>
                    <a:lnTo>
                      <a:pt x="0" y="77"/>
                    </a:lnTo>
                    <a:lnTo>
                      <a:pt x="0" y="65"/>
                    </a:lnTo>
                    <a:lnTo>
                      <a:pt x="0" y="65"/>
                    </a:lnTo>
                    <a:lnTo>
                      <a:pt x="8" y="65"/>
                    </a:lnTo>
                    <a:lnTo>
                      <a:pt x="13" y="63"/>
                    </a:lnTo>
                    <a:lnTo>
                      <a:pt x="18" y="59"/>
                    </a:lnTo>
                    <a:lnTo>
                      <a:pt x="23" y="56"/>
                    </a:lnTo>
                    <a:lnTo>
                      <a:pt x="25" y="50"/>
                    </a:lnTo>
                    <a:lnTo>
                      <a:pt x="27" y="45"/>
                    </a:lnTo>
                    <a:lnTo>
                      <a:pt x="31" y="33"/>
                    </a:lnTo>
                    <a:lnTo>
                      <a:pt x="34" y="20"/>
                    </a:lnTo>
                    <a:lnTo>
                      <a:pt x="38" y="10"/>
                    </a:lnTo>
                    <a:lnTo>
                      <a:pt x="40" y="7"/>
                    </a:lnTo>
                    <a:lnTo>
                      <a:pt x="42" y="3"/>
                    </a:lnTo>
                    <a:lnTo>
                      <a:pt x="47" y="1"/>
                    </a:lnTo>
                    <a:lnTo>
                      <a:pt x="51" y="0"/>
                    </a:lnTo>
                    <a:lnTo>
                      <a:pt x="51" y="0"/>
                    </a:lnTo>
                    <a:lnTo>
                      <a:pt x="54" y="1"/>
                    </a:lnTo>
                    <a:lnTo>
                      <a:pt x="57" y="2"/>
                    </a:lnTo>
                    <a:lnTo>
                      <a:pt x="62" y="8"/>
                    </a:lnTo>
                    <a:lnTo>
                      <a:pt x="65" y="16"/>
                    </a:lnTo>
                    <a:lnTo>
                      <a:pt x="66" y="21"/>
                    </a:lnTo>
                    <a:lnTo>
                      <a:pt x="66" y="21"/>
                    </a:lnTo>
                    <a:lnTo>
                      <a:pt x="65" y="31"/>
                    </a:lnTo>
                    <a:lnTo>
                      <a:pt x="64" y="38"/>
                    </a:lnTo>
                    <a:lnTo>
                      <a:pt x="62" y="43"/>
                    </a:lnTo>
                    <a:lnTo>
                      <a:pt x="59" y="49"/>
                    </a:lnTo>
                    <a:lnTo>
                      <a:pt x="54" y="59"/>
                    </a:lnTo>
                    <a:lnTo>
                      <a:pt x="53" y="66"/>
                    </a:lnTo>
                    <a:lnTo>
                      <a:pt x="51" y="73"/>
                    </a:lnTo>
                    <a:lnTo>
                      <a:pt x="51" y="73"/>
                    </a:lnTo>
                    <a:lnTo>
                      <a:pt x="53" y="89"/>
                    </a:lnTo>
                    <a:lnTo>
                      <a:pt x="55" y="102"/>
                    </a:lnTo>
                    <a:lnTo>
                      <a:pt x="57" y="115"/>
                    </a:lnTo>
                    <a:lnTo>
                      <a:pt x="58" y="129"/>
                    </a:lnTo>
                    <a:lnTo>
                      <a:pt x="58" y="129"/>
                    </a:lnTo>
                    <a:lnTo>
                      <a:pt x="57" y="135"/>
                    </a:lnTo>
                    <a:lnTo>
                      <a:pt x="55" y="140"/>
                    </a:lnTo>
                    <a:lnTo>
                      <a:pt x="51" y="145"/>
                    </a:lnTo>
                    <a:lnTo>
                      <a:pt x="48" y="148"/>
                    </a:lnTo>
                    <a:lnTo>
                      <a:pt x="40" y="156"/>
                    </a:lnTo>
                    <a:lnTo>
                      <a:pt x="38" y="160"/>
                    </a:lnTo>
                    <a:lnTo>
                      <a:pt x="36" y="165"/>
                    </a:lnTo>
                    <a:lnTo>
                      <a:pt x="36" y="165"/>
                    </a:lnTo>
                    <a:lnTo>
                      <a:pt x="38" y="172"/>
                    </a:lnTo>
                    <a:lnTo>
                      <a:pt x="39" y="178"/>
                    </a:lnTo>
                    <a:lnTo>
                      <a:pt x="45" y="191"/>
                    </a:lnTo>
                    <a:lnTo>
                      <a:pt x="49" y="203"/>
                    </a:lnTo>
                    <a:lnTo>
                      <a:pt x="51" y="209"/>
                    </a:lnTo>
                    <a:lnTo>
                      <a:pt x="51" y="216"/>
                    </a:lnTo>
                    <a:lnTo>
                      <a:pt x="51" y="216"/>
                    </a:lnTo>
                    <a:lnTo>
                      <a:pt x="51" y="224"/>
                    </a:lnTo>
                    <a:lnTo>
                      <a:pt x="50" y="231"/>
                    </a:lnTo>
                    <a:lnTo>
                      <a:pt x="46" y="241"/>
                    </a:lnTo>
                    <a:lnTo>
                      <a:pt x="42" y="253"/>
                    </a:lnTo>
                    <a:lnTo>
                      <a:pt x="41" y="259"/>
                    </a:lnTo>
                    <a:lnTo>
                      <a:pt x="40" y="264"/>
                    </a:lnTo>
                    <a:lnTo>
                      <a:pt x="40" y="264"/>
                    </a:lnTo>
                    <a:lnTo>
                      <a:pt x="35" y="261"/>
                    </a:lnTo>
                    <a:lnTo>
                      <a:pt x="32" y="257"/>
                    </a:lnTo>
                    <a:lnTo>
                      <a:pt x="31" y="253"/>
                    </a:lnTo>
                    <a:lnTo>
                      <a:pt x="30" y="248"/>
                    </a:lnTo>
                    <a:lnTo>
                      <a:pt x="28" y="237"/>
                    </a:lnTo>
                    <a:lnTo>
                      <a:pt x="30" y="224"/>
                    </a:lnTo>
                    <a:lnTo>
                      <a:pt x="30" y="224"/>
                    </a:lnTo>
                    <a:lnTo>
                      <a:pt x="28" y="221"/>
                    </a:lnTo>
                    <a:lnTo>
                      <a:pt x="27" y="218"/>
                    </a:lnTo>
                    <a:lnTo>
                      <a:pt x="25" y="216"/>
                    </a:lnTo>
                    <a:lnTo>
                      <a:pt x="23" y="216"/>
                    </a:lnTo>
                    <a:lnTo>
                      <a:pt x="18" y="215"/>
                    </a:lnTo>
                    <a:lnTo>
                      <a:pt x="15" y="213"/>
                    </a:lnTo>
                    <a:lnTo>
                      <a:pt x="15" y="213"/>
                    </a:lnTo>
                    <a:lnTo>
                      <a:pt x="11" y="208"/>
                    </a:lnTo>
                    <a:lnTo>
                      <a:pt x="9" y="202"/>
                    </a:lnTo>
                    <a:lnTo>
                      <a:pt x="8" y="196"/>
                    </a:lnTo>
                    <a:lnTo>
                      <a:pt x="8" y="189"/>
                    </a:lnTo>
                    <a:lnTo>
                      <a:pt x="9" y="177"/>
                    </a:lnTo>
                    <a:lnTo>
                      <a:pt x="9" y="172"/>
                    </a:lnTo>
                    <a:lnTo>
                      <a:pt x="8" y="169"/>
                    </a:lnTo>
                    <a:lnTo>
                      <a:pt x="8" y="169"/>
                    </a:lnTo>
                    <a:lnTo>
                      <a:pt x="8" y="16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4" name="Freeform 19"/>
              <p:cNvSpPr>
                <a:spLocks noChangeAspect="1"/>
              </p:cNvSpPr>
              <p:nvPr/>
            </p:nvSpPr>
            <p:spPr bwMode="auto">
              <a:xfrm>
                <a:off x="8731634" y="4393881"/>
                <a:ext cx="20607" cy="29223"/>
              </a:xfrm>
              <a:custGeom>
                <a:avLst/>
                <a:gdLst/>
                <a:ahLst/>
                <a:cxnLst>
                  <a:cxn ang="0">
                    <a:pos x="26" y="10"/>
                  </a:cxn>
                  <a:cxn ang="0">
                    <a:pos x="26" y="10"/>
                  </a:cxn>
                  <a:cxn ang="0">
                    <a:pos x="23" y="10"/>
                  </a:cxn>
                  <a:cxn ang="0">
                    <a:pos x="22" y="9"/>
                  </a:cxn>
                  <a:cxn ang="0">
                    <a:pos x="18" y="6"/>
                  </a:cxn>
                  <a:cxn ang="0">
                    <a:pos x="17" y="1"/>
                  </a:cxn>
                  <a:cxn ang="0">
                    <a:pos x="16" y="0"/>
                  </a:cxn>
                  <a:cxn ang="0">
                    <a:pos x="15" y="0"/>
                  </a:cxn>
                  <a:cxn ang="0">
                    <a:pos x="15" y="0"/>
                  </a:cxn>
                  <a:cxn ang="0">
                    <a:pos x="11" y="0"/>
                  </a:cxn>
                  <a:cxn ang="0">
                    <a:pos x="8" y="2"/>
                  </a:cxn>
                  <a:cxn ang="0">
                    <a:pos x="5" y="6"/>
                  </a:cxn>
                  <a:cxn ang="0">
                    <a:pos x="3" y="10"/>
                  </a:cxn>
                  <a:cxn ang="0">
                    <a:pos x="1" y="21"/>
                  </a:cxn>
                  <a:cxn ang="0">
                    <a:pos x="0" y="32"/>
                  </a:cxn>
                  <a:cxn ang="0">
                    <a:pos x="0" y="32"/>
                  </a:cxn>
                  <a:cxn ang="0">
                    <a:pos x="0" y="35"/>
                  </a:cxn>
                  <a:cxn ang="0">
                    <a:pos x="1" y="37"/>
                  </a:cxn>
                  <a:cxn ang="0">
                    <a:pos x="4" y="39"/>
                  </a:cxn>
                  <a:cxn ang="0">
                    <a:pos x="8" y="41"/>
                  </a:cxn>
                  <a:cxn ang="0">
                    <a:pos x="11" y="44"/>
                  </a:cxn>
                  <a:cxn ang="0">
                    <a:pos x="11" y="44"/>
                  </a:cxn>
                  <a:cxn ang="0">
                    <a:pos x="20" y="24"/>
                  </a:cxn>
                  <a:cxn ang="0">
                    <a:pos x="25" y="15"/>
                  </a:cxn>
                  <a:cxn ang="0">
                    <a:pos x="26" y="12"/>
                  </a:cxn>
                  <a:cxn ang="0">
                    <a:pos x="26" y="10"/>
                  </a:cxn>
                  <a:cxn ang="0">
                    <a:pos x="26" y="10"/>
                  </a:cxn>
                  <a:cxn ang="0">
                    <a:pos x="26" y="10"/>
                  </a:cxn>
                </a:cxnLst>
                <a:rect l="0" t="0" r="r" b="b"/>
                <a:pathLst>
                  <a:path w="26" h="44">
                    <a:moveTo>
                      <a:pt x="26" y="10"/>
                    </a:moveTo>
                    <a:lnTo>
                      <a:pt x="26" y="10"/>
                    </a:lnTo>
                    <a:lnTo>
                      <a:pt x="23" y="10"/>
                    </a:lnTo>
                    <a:lnTo>
                      <a:pt x="22" y="9"/>
                    </a:lnTo>
                    <a:lnTo>
                      <a:pt x="18" y="6"/>
                    </a:lnTo>
                    <a:lnTo>
                      <a:pt x="17" y="1"/>
                    </a:lnTo>
                    <a:lnTo>
                      <a:pt x="16" y="0"/>
                    </a:lnTo>
                    <a:lnTo>
                      <a:pt x="15" y="0"/>
                    </a:lnTo>
                    <a:lnTo>
                      <a:pt x="15" y="0"/>
                    </a:lnTo>
                    <a:lnTo>
                      <a:pt x="11" y="0"/>
                    </a:lnTo>
                    <a:lnTo>
                      <a:pt x="8" y="2"/>
                    </a:lnTo>
                    <a:lnTo>
                      <a:pt x="5" y="6"/>
                    </a:lnTo>
                    <a:lnTo>
                      <a:pt x="3" y="10"/>
                    </a:lnTo>
                    <a:lnTo>
                      <a:pt x="1" y="21"/>
                    </a:lnTo>
                    <a:lnTo>
                      <a:pt x="0" y="32"/>
                    </a:lnTo>
                    <a:lnTo>
                      <a:pt x="0" y="32"/>
                    </a:lnTo>
                    <a:lnTo>
                      <a:pt x="0" y="35"/>
                    </a:lnTo>
                    <a:lnTo>
                      <a:pt x="1" y="37"/>
                    </a:lnTo>
                    <a:lnTo>
                      <a:pt x="4" y="39"/>
                    </a:lnTo>
                    <a:lnTo>
                      <a:pt x="8" y="41"/>
                    </a:lnTo>
                    <a:lnTo>
                      <a:pt x="11" y="44"/>
                    </a:lnTo>
                    <a:lnTo>
                      <a:pt x="11" y="44"/>
                    </a:lnTo>
                    <a:lnTo>
                      <a:pt x="20" y="24"/>
                    </a:lnTo>
                    <a:lnTo>
                      <a:pt x="25" y="15"/>
                    </a:lnTo>
                    <a:lnTo>
                      <a:pt x="26" y="12"/>
                    </a:lnTo>
                    <a:lnTo>
                      <a:pt x="26" y="10"/>
                    </a:lnTo>
                    <a:lnTo>
                      <a:pt x="26" y="10"/>
                    </a:lnTo>
                    <a:lnTo>
                      <a:pt x="26" y="1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5" name="Freeform 20"/>
              <p:cNvSpPr>
                <a:spLocks noChangeAspect="1"/>
              </p:cNvSpPr>
              <p:nvPr/>
            </p:nvSpPr>
            <p:spPr bwMode="auto">
              <a:xfrm>
                <a:off x="8718953" y="4026503"/>
                <a:ext cx="33287" cy="101586"/>
              </a:xfrm>
              <a:custGeom>
                <a:avLst/>
                <a:gdLst/>
                <a:ahLst/>
                <a:cxnLst>
                  <a:cxn ang="0">
                    <a:pos x="41" y="31"/>
                  </a:cxn>
                  <a:cxn ang="0">
                    <a:pos x="41" y="31"/>
                  </a:cxn>
                  <a:cxn ang="0">
                    <a:pos x="41" y="97"/>
                  </a:cxn>
                  <a:cxn ang="0">
                    <a:pos x="41" y="97"/>
                  </a:cxn>
                  <a:cxn ang="0">
                    <a:pos x="39" y="106"/>
                  </a:cxn>
                  <a:cxn ang="0">
                    <a:pos x="34" y="122"/>
                  </a:cxn>
                  <a:cxn ang="0">
                    <a:pos x="30" y="137"/>
                  </a:cxn>
                  <a:cxn ang="0">
                    <a:pos x="27" y="143"/>
                  </a:cxn>
                  <a:cxn ang="0">
                    <a:pos x="26" y="145"/>
                  </a:cxn>
                  <a:cxn ang="0">
                    <a:pos x="26" y="145"/>
                  </a:cxn>
                  <a:cxn ang="0">
                    <a:pos x="17" y="129"/>
                  </a:cxn>
                  <a:cxn ang="0">
                    <a:pos x="9" y="112"/>
                  </a:cxn>
                  <a:cxn ang="0">
                    <a:pos x="6" y="104"/>
                  </a:cxn>
                  <a:cxn ang="0">
                    <a:pos x="2" y="93"/>
                  </a:cxn>
                  <a:cxn ang="0">
                    <a:pos x="1" y="83"/>
                  </a:cxn>
                  <a:cxn ang="0">
                    <a:pos x="0" y="71"/>
                  </a:cxn>
                  <a:cxn ang="0">
                    <a:pos x="0" y="71"/>
                  </a:cxn>
                  <a:cxn ang="0">
                    <a:pos x="1" y="55"/>
                  </a:cxn>
                  <a:cxn ang="0">
                    <a:pos x="2" y="41"/>
                  </a:cxn>
                  <a:cxn ang="0">
                    <a:pos x="3" y="28"/>
                  </a:cxn>
                  <a:cxn ang="0">
                    <a:pos x="4" y="13"/>
                  </a:cxn>
                  <a:cxn ang="0">
                    <a:pos x="4" y="13"/>
                  </a:cxn>
                  <a:cxn ang="0">
                    <a:pos x="4" y="8"/>
                  </a:cxn>
                  <a:cxn ang="0">
                    <a:pos x="6" y="5"/>
                  </a:cxn>
                  <a:cxn ang="0">
                    <a:pos x="8" y="2"/>
                  </a:cxn>
                  <a:cxn ang="0">
                    <a:pos x="10" y="1"/>
                  </a:cxn>
                  <a:cxn ang="0">
                    <a:pos x="12" y="0"/>
                  </a:cxn>
                  <a:cxn ang="0">
                    <a:pos x="16" y="0"/>
                  </a:cxn>
                  <a:cxn ang="0">
                    <a:pos x="23" y="2"/>
                  </a:cxn>
                  <a:cxn ang="0">
                    <a:pos x="30" y="7"/>
                  </a:cxn>
                  <a:cxn ang="0">
                    <a:pos x="35" y="14"/>
                  </a:cxn>
                  <a:cxn ang="0">
                    <a:pos x="39" y="22"/>
                  </a:cxn>
                  <a:cxn ang="0">
                    <a:pos x="40" y="27"/>
                  </a:cxn>
                  <a:cxn ang="0">
                    <a:pos x="41" y="31"/>
                  </a:cxn>
                  <a:cxn ang="0">
                    <a:pos x="41" y="31"/>
                  </a:cxn>
                  <a:cxn ang="0">
                    <a:pos x="41" y="31"/>
                  </a:cxn>
                </a:cxnLst>
                <a:rect l="0" t="0" r="r" b="b"/>
                <a:pathLst>
                  <a:path w="41" h="145">
                    <a:moveTo>
                      <a:pt x="41" y="31"/>
                    </a:moveTo>
                    <a:lnTo>
                      <a:pt x="41" y="31"/>
                    </a:lnTo>
                    <a:lnTo>
                      <a:pt x="41" y="97"/>
                    </a:lnTo>
                    <a:lnTo>
                      <a:pt x="41" y="97"/>
                    </a:lnTo>
                    <a:lnTo>
                      <a:pt x="39" y="106"/>
                    </a:lnTo>
                    <a:lnTo>
                      <a:pt x="34" y="122"/>
                    </a:lnTo>
                    <a:lnTo>
                      <a:pt x="30" y="137"/>
                    </a:lnTo>
                    <a:lnTo>
                      <a:pt x="27" y="143"/>
                    </a:lnTo>
                    <a:lnTo>
                      <a:pt x="26" y="145"/>
                    </a:lnTo>
                    <a:lnTo>
                      <a:pt x="26" y="145"/>
                    </a:lnTo>
                    <a:lnTo>
                      <a:pt x="17" y="129"/>
                    </a:lnTo>
                    <a:lnTo>
                      <a:pt x="9" y="112"/>
                    </a:lnTo>
                    <a:lnTo>
                      <a:pt x="6" y="104"/>
                    </a:lnTo>
                    <a:lnTo>
                      <a:pt x="2" y="93"/>
                    </a:lnTo>
                    <a:lnTo>
                      <a:pt x="1" y="83"/>
                    </a:lnTo>
                    <a:lnTo>
                      <a:pt x="0" y="71"/>
                    </a:lnTo>
                    <a:lnTo>
                      <a:pt x="0" y="71"/>
                    </a:lnTo>
                    <a:lnTo>
                      <a:pt x="1" y="55"/>
                    </a:lnTo>
                    <a:lnTo>
                      <a:pt x="2" y="41"/>
                    </a:lnTo>
                    <a:lnTo>
                      <a:pt x="3" y="28"/>
                    </a:lnTo>
                    <a:lnTo>
                      <a:pt x="4" y="13"/>
                    </a:lnTo>
                    <a:lnTo>
                      <a:pt x="4" y="13"/>
                    </a:lnTo>
                    <a:lnTo>
                      <a:pt x="4" y="8"/>
                    </a:lnTo>
                    <a:lnTo>
                      <a:pt x="6" y="5"/>
                    </a:lnTo>
                    <a:lnTo>
                      <a:pt x="8" y="2"/>
                    </a:lnTo>
                    <a:lnTo>
                      <a:pt x="10" y="1"/>
                    </a:lnTo>
                    <a:lnTo>
                      <a:pt x="12" y="0"/>
                    </a:lnTo>
                    <a:lnTo>
                      <a:pt x="16" y="0"/>
                    </a:lnTo>
                    <a:lnTo>
                      <a:pt x="23" y="2"/>
                    </a:lnTo>
                    <a:lnTo>
                      <a:pt x="30" y="7"/>
                    </a:lnTo>
                    <a:lnTo>
                      <a:pt x="35" y="14"/>
                    </a:lnTo>
                    <a:lnTo>
                      <a:pt x="39" y="22"/>
                    </a:lnTo>
                    <a:lnTo>
                      <a:pt x="40" y="27"/>
                    </a:lnTo>
                    <a:lnTo>
                      <a:pt x="41" y="31"/>
                    </a:lnTo>
                    <a:lnTo>
                      <a:pt x="41" y="31"/>
                    </a:lnTo>
                    <a:lnTo>
                      <a:pt x="41" y="3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6" name="Freeform 21"/>
              <p:cNvSpPr>
                <a:spLocks noChangeAspect="1"/>
              </p:cNvSpPr>
              <p:nvPr/>
            </p:nvSpPr>
            <p:spPr bwMode="auto">
              <a:xfrm>
                <a:off x="8731634" y="3863688"/>
                <a:ext cx="28532" cy="57055"/>
              </a:xfrm>
              <a:custGeom>
                <a:avLst/>
                <a:gdLst/>
                <a:ahLst/>
                <a:cxnLst>
                  <a:cxn ang="0">
                    <a:pos x="18" y="74"/>
                  </a:cxn>
                  <a:cxn ang="0">
                    <a:pos x="18" y="51"/>
                  </a:cxn>
                  <a:cxn ang="0">
                    <a:pos x="18" y="51"/>
                  </a:cxn>
                  <a:cxn ang="0">
                    <a:pos x="18" y="51"/>
                  </a:cxn>
                  <a:cxn ang="0">
                    <a:pos x="17" y="48"/>
                  </a:cxn>
                  <a:cxn ang="0">
                    <a:pos x="15" y="44"/>
                  </a:cxn>
                  <a:cxn ang="0">
                    <a:pos x="9" y="36"/>
                  </a:cxn>
                  <a:cxn ang="0">
                    <a:pos x="5" y="32"/>
                  </a:cxn>
                  <a:cxn ang="0">
                    <a:pos x="2" y="27"/>
                  </a:cxn>
                  <a:cxn ang="0">
                    <a:pos x="1" y="21"/>
                  </a:cxn>
                  <a:cxn ang="0">
                    <a:pos x="0" y="15"/>
                  </a:cxn>
                  <a:cxn ang="0">
                    <a:pos x="0" y="15"/>
                  </a:cxn>
                  <a:cxn ang="0">
                    <a:pos x="1" y="10"/>
                  </a:cxn>
                  <a:cxn ang="0">
                    <a:pos x="4" y="5"/>
                  </a:cxn>
                  <a:cxn ang="0">
                    <a:pos x="8" y="2"/>
                  </a:cxn>
                  <a:cxn ang="0">
                    <a:pos x="11" y="0"/>
                  </a:cxn>
                  <a:cxn ang="0">
                    <a:pos x="11" y="0"/>
                  </a:cxn>
                  <a:cxn ang="0">
                    <a:pos x="19" y="13"/>
                  </a:cxn>
                  <a:cxn ang="0">
                    <a:pos x="28" y="26"/>
                  </a:cxn>
                  <a:cxn ang="0">
                    <a:pos x="32" y="34"/>
                  </a:cxn>
                  <a:cxn ang="0">
                    <a:pos x="34" y="42"/>
                  </a:cxn>
                  <a:cxn ang="0">
                    <a:pos x="37" y="51"/>
                  </a:cxn>
                  <a:cxn ang="0">
                    <a:pos x="37" y="63"/>
                  </a:cxn>
                  <a:cxn ang="0">
                    <a:pos x="37" y="63"/>
                  </a:cxn>
                  <a:cxn ang="0">
                    <a:pos x="37" y="71"/>
                  </a:cxn>
                  <a:cxn ang="0">
                    <a:pos x="35" y="76"/>
                  </a:cxn>
                  <a:cxn ang="0">
                    <a:pos x="35" y="79"/>
                  </a:cxn>
                  <a:cxn ang="0">
                    <a:pos x="33" y="80"/>
                  </a:cxn>
                  <a:cxn ang="0">
                    <a:pos x="32" y="81"/>
                  </a:cxn>
                  <a:cxn ang="0">
                    <a:pos x="30" y="81"/>
                  </a:cxn>
                  <a:cxn ang="0">
                    <a:pos x="30" y="81"/>
                  </a:cxn>
                  <a:cxn ang="0">
                    <a:pos x="26" y="80"/>
                  </a:cxn>
                  <a:cxn ang="0">
                    <a:pos x="23" y="78"/>
                  </a:cxn>
                  <a:cxn ang="0">
                    <a:pos x="18" y="74"/>
                  </a:cxn>
                  <a:cxn ang="0">
                    <a:pos x="18" y="74"/>
                  </a:cxn>
                  <a:cxn ang="0">
                    <a:pos x="18" y="74"/>
                  </a:cxn>
                </a:cxnLst>
                <a:rect l="0" t="0" r="r" b="b"/>
                <a:pathLst>
                  <a:path w="37" h="81">
                    <a:moveTo>
                      <a:pt x="18" y="74"/>
                    </a:moveTo>
                    <a:lnTo>
                      <a:pt x="18" y="51"/>
                    </a:lnTo>
                    <a:lnTo>
                      <a:pt x="18" y="51"/>
                    </a:lnTo>
                    <a:lnTo>
                      <a:pt x="18" y="51"/>
                    </a:lnTo>
                    <a:lnTo>
                      <a:pt x="17" y="48"/>
                    </a:lnTo>
                    <a:lnTo>
                      <a:pt x="15" y="44"/>
                    </a:lnTo>
                    <a:lnTo>
                      <a:pt x="9" y="36"/>
                    </a:lnTo>
                    <a:lnTo>
                      <a:pt x="5" y="32"/>
                    </a:lnTo>
                    <a:lnTo>
                      <a:pt x="2" y="27"/>
                    </a:lnTo>
                    <a:lnTo>
                      <a:pt x="1" y="21"/>
                    </a:lnTo>
                    <a:lnTo>
                      <a:pt x="0" y="15"/>
                    </a:lnTo>
                    <a:lnTo>
                      <a:pt x="0" y="15"/>
                    </a:lnTo>
                    <a:lnTo>
                      <a:pt x="1" y="10"/>
                    </a:lnTo>
                    <a:lnTo>
                      <a:pt x="4" y="5"/>
                    </a:lnTo>
                    <a:lnTo>
                      <a:pt x="8" y="2"/>
                    </a:lnTo>
                    <a:lnTo>
                      <a:pt x="11" y="0"/>
                    </a:lnTo>
                    <a:lnTo>
                      <a:pt x="11" y="0"/>
                    </a:lnTo>
                    <a:lnTo>
                      <a:pt x="19" y="13"/>
                    </a:lnTo>
                    <a:lnTo>
                      <a:pt x="28" y="26"/>
                    </a:lnTo>
                    <a:lnTo>
                      <a:pt x="32" y="34"/>
                    </a:lnTo>
                    <a:lnTo>
                      <a:pt x="34" y="42"/>
                    </a:lnTo>
                    <a:lnTo>
                      <a:pt x="37" y="51"/>
                    </a:lnTo>
                    <a:lnTo>
                      <a:pt x="37" y="63"/>
                    </a:lnTo>
                    <a:lnTo>
                      <a:pt x="37" y="63"/>
                    </a:lnTo>
                    <a:lnTo>
                      <a:pt x="37" y="71"/>
                    </a:lnTo>
                    <a:lnTo>
                      <a:pt x="35" y="76"/>
                    </a:lnTo>
                    <a:lnTo>
                      <a:pt x="35" y="79"/>
                    </a:lnTo>
                    <a:lnTo>
                      <a:pt x="33" y="80"/>
                    </a:lnTo>
                    <a:lnTo>
                      <a:pt x="32" y="81"/>
                    </a:lnTo>
                    <a:lnTo>
                      <a:pt x="30" y="81"/>
                    </a:lnTo>
                    <a:lnTo>
                      <a:pt x="30" y="81"/>
                    </a:lnTo>
                    <a:lnTo>
                      <a:pt x="26" y="80"/>
                    </a:lnTo>
                    <a:lnTo>
                      <a:pt x="23" y="78"/>
                    </a:lnTo>
                    <a:lnTo>
                      <a:pt x="18" y="74"/>
                    </a:lnTo>
                    <a:lnTo>
                      <a:pt x="18" y="74"/>
                    </a:lnTo>
                    <a:lnTo>
                      <a:pt x="18" y="7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7" name="Freeform 22"/>
              <p:cNvSpPr>
                <a:spLocks noChangeAspect="1"/>
              </p:cNvSpPr>
              <p:nvPr/>
            </p:nvSpPr>
            <p:spPr bwMode="auto">
              <a:xfrm>
                <a:off x="8728463" y="3827508"/>
                <a:ext cx="12681" cy="20874"/>
              </a:xfrm>
              <a:custGeom>
                <a:avLst/>
                <a:gdLst/>
                <a:ahLst/>
                <a:cxnLst>
                  <a:cxn ang="0">
                    <a:pos x="12" y="30"/>
                  </a:cxn>
                  <a:cxn ang="0">
                    <a:pos x="12" y="30"/>
                  </a:cxn>
                  <a:cxn ang="0">
                    <a:pos x="6" y="28"/>
                  </a:cxn>
                  <a:cxn ang="0">
                    <a:pos x="3" y="26"/>
                  </a:cxn>
                  <a:cxn ang="0">
                    <a:pos x="1" y="23"/>
                  </a:cxn>
                  <a:cxn ang="0">
                    <a:pos x="0" y="18"/>
                  </a:cxn>
                  <a:cxn ang="0">
                    <a:pos x="0" y="18"/>
                  </a:cxn>
                  <a:cxn ang="0">
                    <a:pos x="0" y="8"/>
                  </a:cxn>
                  <a:cxn ang="0">
                    <a:pos x="4" y="0"/>
                  </a:cxn>
                  <a:cxn ang="0">
                    <a:pos x="15" y="8"/>
                  </a:cxn>
                  <a:cxn ang="0">
                    <a:pos x="15" y="8"/>
                  </a:cxn>
                  <a:cxn ang="0">
                    <a:pos x="15" y="25"/>
                  </a:cxn>
                  <a:cxn ang="0">
                    <a:pos x="15" y="25"/>
                  </a:cxn>
                  <a:cxn ang="0">
                    <a:pos x="15" y="25"/>
                  </a:cxn>
                  <a:cxn ang="0">
                    <a:pos x="12" y="30"/>
                  </a:cxn>
                  <a:cxn ang="0">
                    <a:pos x="12" y="30"/>
                  </a:cxn>
                </a:cxnLst>
                <a:rect l="0" t="0" r="r" b="b"/>
                <a:pathLst>
                  <a:path w="15" h="30">
                    <a:moveTo>
                      <a:pt x="12" y="30"/>
                    </a:moveTo>
                    <a:lnTo>
                      <a:pt x="12" y="30"/>
                    </a:lnTo>
                    <a:lnTo>
                      <a:pt x="6" y="28"/>
                    </a:lnTo>
                    <a:lnTo>
                      <a:pt x="3" y="26"/>
                    </a:lnTo>
                    <a:lnTo>
                      <a:pt x="1" y="23"/>
                    </a:lnTo>
                    <a:lnTo>
                      <a:pt x="0" y="18"/>
                    </a:lnTo>
                    <a:lnTo>
                      <a:pt x="0" y="18"/>
                    </a:lnTo>
                    <a:lnTo>
                      <a:pt x="0" y="8"/>
                    </a:lnTo>
                    <a:lnTo>
                      <a:pt x="4" y="0"/>
                    </a:lnTo>
                    <a:lnTo>
                      <a:pt x="15" y="8"/>
                    </a:lnTo>
                    <a:lnTo>
                      <a:pt x="15" y="8"/>
                    </a:lnTo>
                    <a:lnTo>
                      <a:pt x="15" y="25"/>
                    </a:lnTo>
                    <a:lnTo>
                      <a:pt x="15" y="25"/>
                    </a:lnTo>
                    <a:lnTo>
                      <a:pt x="15" y="25"/>
                    </a:lnTo>
                    <a:lnTo>
                      <a:pt x="12" y="30"/>
                    </a:lnTo>
                    <a:lnTo>
                      <a:pt x="12" y="3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8" name="Freeform 23"/>
              <p:cNvSpPr>
                <a:spLocks noChangeAspect="1"/>
              </p:cNvSpPr>
              <p:nvPr/>
            </p:nvSpPr>
            <p:spPr bwMode="auto">
              <a:xfrm>
                <a:off x="8723708" y="3771844"/>
                <a:ext cx="17436" cy="18091"/>
              </a:xfrm>
              <a:custGeom>
                <a:avLst/>
                <a:gdLst/>
                <a:ahLst/>
                <a:cxnLst>
                  <a:cxn ang="0">
                    <a:pos x="19" y="12"/>
                  </a:cxn>
                  <a:cxn ang="0">
                    <a:pos x="19" y="12"/>
                  </a:cxn>
                  <a:cxn ang="0">
                    <a:pos x="15" y="10"/>
                  </a:cxn>
                  <a:cxn ang="0">
                    <a:pos x="13" y="9"/>
                  </a:cxn>
                  <a:cxn ang="0">
                    <a:pos x="10" y="6"/>
                  </a:cxn>
                  <a:cxn ang="0">
                    <a:pos x="5" y="2"/>
                  </a:cxn>
                  <a:cxn ang="0">
                    <a:pos x="3" y="0"/>
                  </a:cxn>
                  <a:cxn ang="0">
                    <a:pos x="0" y="0"/>
                  </a:cxn>
                  <a:cxn ang="0">
                    <a:pos x="0" y="0"/>
                  </a:cxn>
                  <a:cxn ang="0">
                    <a:pos x="0" y="15"/>
                  </a:cxn>
                  <a:cxn ang="0">
                    <a:pos x="0" y="15"/>
                  </a:cxn>
                  <a:cxn ang="0">
                    <a:pos x="0" y="19"/>
                  </a:cxn>
                  <a:cxn ang="0">
                    <a:pos x="3" y="22"/>
                  </a:cxn>
                  <a:cxn ang="0">
                    <a:pos x="5" y="24"/>
                  </a:cxn>
                  <a:cxn ang="0">
                    <a:pos x="7" y="27"/>
                  </a:cxn>
                  <a:cxn ang="0">
                    <a:pos x="7" y="27"/>
                  </a:cxn>
                  <a:cxn ang="0">
                    <a:pos x="11" y="24"/>
                  </a:cxn>
                  <a:cxn ang="0">
                    <a:pos x="14" y="22"/>
                  </a:cxn>
                  <a:cxn ang="0">
                    <a:pos x="22" y="15"/>
                  </a:cxn>
                  <a:cxn ang="0">
                    <a:pos x="19" y="12"/>
                  </a:cxn>
                  <a:cxn ang="0">
                    <a:pos x="19" y="12"/>
                  </a:cxn>
                  <a:cxn ang="0">
                    <a:pos x="19" y="12"/>
                  </a:cxn>
                </a:cxnLst>
                <a:rect l="0" t="0" r="r" b="b"/>
                <a:pathLst>
                  <a:path w="22" h="27">
                    <a:moveTo>
                      <a:pt x="19" y="12"/>
                    </a:moveTo>
                    <a:lnTo>
                      <a:pt x="19" y="12"/>
                    </a:lnTo>
                    <a:lnTo>
                      <a:pt x="15" y="10"/>
                    </a:lnTo>
                    <a:lnTo>
                      <a:pt x="13" y="9"/>
                    </a:lnTo>
                    <a:lnTo>
                      <a:pt x="10" y="6"/>
                    </a:lnTo>
                    <a:lnTo>
                      <a:pt x="5" y="2"/>
                    </a:lnTo>
                    <a:lnTo>
                      <a:pt x="3" y="0"/>
                    </a:lnTo>
                    <a:lnTo>
                      <a:pt x="0" y="0"/>
                    </a:lnTo>
                    <a:lnTo>
                      <a:pt x="0" y="0"/>
                    </a:lnTo>
                    <a:lnTo>
                      <a:pt x="0" y="15"/>
                    </a:lnTo>
                    <a:lnTo>
                      <a:pt x="0" y="15"/>
                    </a:lnTo>
                    <a:lnTo>
                      <a:pt x="0" y="19"/>
                    </a:lnTo>
                    <a:lnTo>
                      <a:pt x="3" y="22"/>
                    </a:lnTo>
                    <a:lnTo>
                      <a:pt x="5" y="24"/>
                    </a:lnTo>
                    <a:lnTo>
                      <a:pt x="7" y="27"/>
                    </a:lnTo>
                    <a:lnTo>
                      <a:pt x="7" y="27"/>
                    </a:lnTo>
                    <a:lnTo>
                      <a:pt x="11" y="24"/>
                    </a:lnTo>
                    <a:lnTo>
                      <a:pt x="14" y="22"/>
                    </a:lnTo>
                    <a:lnTo>
                      <a:pt x="22" y="15"/>
                    </a:lnTo>
                    <a:lnTo>
                      <a:pt x="19" y="12"/>
                    </a:lnTo>
                    <a:lnTo>
                      <a:pt x="19" y="12"/>
                    </a:lnTo>
                    <a:lnTo>
                      <a:pt x="19" y="1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39" name="Freeform 24"/>
              <p:cNvSpPr>
                <a:spLocks noChangeAspect="1"/>
              </p:cNvSpPr>
              <p:nvPr/>
            </p:nvSpPr>
            <p:spPr bwMode="auto">
              <a:xfrm>
                <a:off x="8701516" y="3738446"/>
                <a:ext cx="17436" cy="15308"/>
              </a:xfrm>
              <a:custGeom>
                <a:avLst/>
                <a:gdLst/>
                <a:ahLst/>
                <a:cxnLst>
                  <a:cxn ang="0">
                    <a:pos x="11" y="22"/>
                  </a:cxn>
                  <a:cxn ang="0">
                    <a:pos x="11" y="22"/>
                  </a:cxn>
                  <a:cxn ang="0">
                    <a:pos x="8" y="21"/>
                  </a:cxn>
                  <a:cxn ang="0">
                    <a:pos x="6" y="17"/>
                  </a:cxn>
                  <a:cxn ang="0">
                    <a:pos x="3" y="15"/>
                  </a:cxn>
                  <a:cxn ang="0">
                    <a:pos x="0" y="14"/>
                  </a:cxn>
                  <a:cxn ang="0">
                    <a:pos x="0" y="14"/>
                  </a:cxn>
                  <a:cxn ang="0">
                    <a:pos x="0" y="0"/>
                  </a:cxn>
                  <a:cxn ang="0">
                    <a:pos x="0" y="0"/>
                  </a:cxn>
                  <a:cxn ang="0">
                    <a:pos x="0" y="0"/>
                  </a:cxn>
                  <a:cxn ang="0">
                    <a:pos x="8" y="1"/>
                  </a:cxn>
                  <a:cxn ang="0">
                    <a:pos x="14" y="5"/>
                  </a:cxn>
                  <a:cxn ang="0">
                    <a:pos x="18" y="9"/>
                  </a:cxn>
                  <a:cxn ang="0">
                    <a:pos x="22" y="14"/>
                  </a:cxn>
                  <a:cxn ang="0">
                    <a:pos x="22" y="14"/>
                  </a:cxn>
                  <a:cxn ang="0">
                    <a:pos x="19" y="15"/>
                  </a:cxn>
                  <a:cxn ang="0">
                    <a:pos x="17" y="17"/>
                  </a:cxn>
                  <a:cxn ang="0">
                    <a:pos x="14" y="21"/>
                  </a:cxn>
                  <a:cxn ang="0">
                    <a:pos x="11" y="22"/>
                  </a:cxn>
                  <a:cxn ang="0">
                    <a:pos x="11" y="22"/>
                  </a:cxn>
                  <a:cxn ang="0">
                    <a:pos x="11" y="22"/>
                  </a:cxn>
                </a:cxnLst>
                <a:rect l="0" t="0" r="r" b="b"/>
                <a:pathLst>
                  <a:path w="22" h="22">
                    <a:moveTo>
                      <a:pt x="11" y="22"/>
                    </a:moveTo>
                    <a:lnTo>
                      <a:pt x="11" y="22"/>
                    </a:lnTo>
                    <a:lnTo>
                      <a:pt x="8" y="21"/>
                    </a:lnTo>
                    <a:lnTo>
                      <a:pt x="6" y="17"/>
                    </a:lnTo>
                    <a:lnTo>
                      <a:pt x="3" y="15"/>
                    </a:lnTo>
                    <a:lnTo>
                      <a:pt x="0" y="14"/>
                    </a:lnTo>
                    <a:lnTo>
                      <a:pt x="0" y="14"/>
                    </a:lnTo>
                    <a:lnTo>
                      <a:pt x="0" y="0"/>
                    </a:lnTo>
                    <a:lnTo>
                      <a:pt x="0" y="0"/>
                    </a:lnTo>
                    <a:lnTo>
                      <a:pt x="0" y="0"/>
                    </a:lnTo>
                    <a:lnTo>
                      <a:pt x="8" y="1"/>
                    </a:lnTo>
                    <a:lnTo>
                      <a:pt x="14" y="5"/>
                    </a:lnTo>
                    <a:lnTo>
                      <a:pt x="18" y="9"/>
                    </a:lnTo>
                    <a:lnTo>
                      <a:pt x="22" y="14"/>
                    </a:lnTo>
                    <a:lnTo>
                      <a:pt x="22" y="14"/>
                    </a:lnTo>
                    <a:lnTo>
                      <a:pt x="19" y="15"/>
                    </a:lnTo>
                    <a:lnTo>
                      <a:pt x="17" y="17"/>
                    </a:lnTo>
                    <a:lnTo>
                      <a:pt x="14" y="21"/>
                    </a:lnTo>
                    <a:lnTo>
                      <a:pt x="11" y="22"/>
                    </a:lnTo>
                    <a:lnTo>
                      <a:pt x="11" y="22"/>
                    </a:lnTo>
                    <a:lnTo>
                      <a:pt x="11" y="2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0" name="Freeform 25"/>
              <p:cNvSpPr>
                <a:spLocks noChangeAspect="1"/>
              </p:cNvSpPr>
              <p:nvPr/>
            </p:nvSpPr>
            <p:spPr bwMode="auto">
              <a:xfrm>
                <a:off x="8669814" y="3641035"/>
                <a:ext cx="22191" cy="27831"/>
              </a:xfrm>
              <a:custGeom>
                <a:avLst/>
                <a:gdLst/>
                <a:ahLst/>
                <a:cxnLst>
                  <a:cxn ang="0">
                    <a:pos x="15" y="0"/>
                  </a:cxn>
                  <a:cxn ang="0">
                    <a:pos x="15" y="0"/>
                  </a:cxn>
                  <a:cxn ang="0">
                    <a:pos x="10" y="1"/>
                  </a:cxn>
                  <a:cxn ang="0">
                    <a:pos x="5" y="2"/>
                  </a:cxn>
                  <a:cxn ang="0">
                    <a:pos x="3" y="4"/>
                  </a:cxn>
                  <a:cxn ang="0">
                    <a:pos x="2" y="8"/>
                  </a:cxn>
                  <a:cxn ang="0">
                    <a:pos x="0" y="16"/>
                  </a:cxn>
                  <a:cxn ang="0">
                    <a:pos x="0" y="21"/>
                  </a:cxn>
                  <a:cxn ang="0">
                    <a:pos x="0" y="21"/>
                  </a:cxn>
                  <a:cxn ang="0">
                    <a:pos x="0" y="27"/>
                  </a:cxn>
                  <a:cxn ang="0">
                    <a:pos x="1" y="31"/>
                  </a:cxn>
                  <a:cxn ang="0">
                    <a:pos x="3" y="34"/>
                  </a:cxn>
                  <a:cxn ang="0">
                    <a:pos x="4" y="36"/>
                  </a:cxn>
                  <a:cxn ang="0">
                    <a:pos x="9" y="40"/>
                  </a:cxn>
                  <a:cxn ang="0">
                    <a:pos x="15" y="40"/>
                  </a:cxn>
                  <a:cxn ang="0">
                    <a:pos x="15" y="40"/>
                  </a:cxn>
                  <a:cxn ang="0">
                    <a:pos x="17" y="40"/>
                  </a:cxn>
                  <a:cxn ang="0">
                    <a:pos x="19" y="38"/>
                  </a:cxn>
                  <a:cxn ang="0">
                    <a:pos x="23" y="33"/>
                  </a:cxn>
                  <a:cxn ang="0">
                    <a:pos x="25" y="26"/>
                  </a:cxn>
                  <a:cxn ang="0">
                    <a:pos x="26" y="21"/>
                  </a:cxn>
                  <a:cxn ang="0">
                    <a:pos x="26" y="21"/>
                  </a:cxn>
                  <a:cxn ang="0">
                    <a:pos x="26" y="8"/>
                  </a:cxn>
                  <a:cxn ang="0">
                    <a:pos x="26" y="8"/>
                  </a:cxn>
                  <a:cxn ang="0">
                    <a:pos x="20" y="2"/>
                  </a:cxn>
                  <a:cxn ang="0">
                    <a:pos x="17" y="1"/>
                  </a:cxn>
                  <a:cxn ang="0">
                    <a:pos x="15" y="0"/>
                  </a:cxn>
                  <a:cxn ang="0">
                    <a:pos x="15" y="0"/>
                  </a:cxn>
                  <a:cxn ang="0">
                    <a:pos x="15" y="0"/>
                  </a:cxn>
                </a:cxnLst>
                <a:rect l="0" t="0" r="r" b="b"/>
                <a:pathLst>
                  <a:path w="26" h="40">
                    <a:moveTo>
                      <a:pt x="15" y="0"/>
                    </a:moveTo>
                    <a:lnTo>
                      <a:pt x="15" y="0"/>
                    </a:lnTo>
                    <a:lnTo>
                      <a:pt x="10" y="1"/>
                    </a:lnTo>
                    <a:lnTo>
                      <a:pt x="5" y="2"/>
                    </a:lnTo>
                    <a:lnTo>
                      <a:pt x="3" y="4"/>
                    </a:lnTo>
                    <a:lnTo>
                      <a:pt x="2" y="8"/>
                    </a:lnTo>
                    <a:lnTo>
                      <a:pt x="0" y="16"/>
                    </a:lnTo>
                    <a:lnTo>
                      <a:pt x="0" y="21"/>
                    </a:lnTo>
                    <a:lnTo>
                      <a:pt x="0" y="21"/>
                    </a:lnTo>
                    <a:lnTo>
                      <a:pt x="0" y="27"/>
                    </a:lnTo>
                    <a:lnTo>
                      <a:pt x="1" y="31"/>
                    </a:lnTo>
                    <a:lnTo>
                      <a:pt x="3" y="34"/>
                    </a:lnTo>
                    <a:lnTo>
                      <a:pt x="4" y="36"/>
                    </a:lnTo>
                    <a:lnTo>
                      <a:pt x="9" y="40"/>
                    </a:lnTo>
                    <a:lnTo>
                      <a:pt x="15" y="40"/>
                    </a:lnTo>
                    <a:lnTo>
                      <a:pt x="15" y="40"/>
                    </a:lnTo>
                    <a:lnTo>
                      <a:pt x="17" y="40"/>
                    </a:lnTo>
                    <a:lnTo>
                      <a:pt x="19" y="38"/>
                    </a:lnTo>
                    <a:lnTo>
                      <a:pt x="23" y="33"/>
                    </a:lnTo>
                    <a:lnTo>
                      <a:pt x="25" y="26"/>
                    </a:lnTo>
                    <a:lnTo>
                      <a:pt x="26" y="21"/>
                    </a:lnTo>
                    <a:lnTo>
                      <a:pt x="26" y="21"/>
                    </a:lnTo>
                    <a:lnTo>
                      <a:pt x="26" y="8"/>
                    </a:lnTo>
                    <a:lnTo>
                      <a:pt x="26" y="8"/>
                    </a:lnTo>
                    <a:lnTo>
                      <a:pt x="20" y="2"/>
                    </a:lnTo>
                    <a:lnTo>
                      <a:pt x="17" y="1"/>
                    </a:lnTo>
                    <a:lnTo>
                      <a:pt x="15" y="0"/>
                    </a:lnTo>
                    <a:lnTo>
                      <a:pt x="15" y="0"/>
                    </a:lnTo>
                    <a:lnTo>
                      <a:pt x="15"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1" name="Freeform 26"/>
              <p:cNvSpPr>
                <a:spLocks noChangeAspect="1"/>
              </p:cNvSpPr>
              <p:nvPr/>
            </p:nvSpPr>
            <p:spPr bwMode="auto">
              <a:xfrm>
                <a:off x="8661889" y="3603462"/>
                <a:ext cx="17436" cy="12525"/>
              </a:xfrm>
              <a:custGeom>
                <a:avLst/>
                <a:gdLst/>
                <a:ahLst/>
                <a:cxnLst>
                  <a:cxn ang="0">
                    <a:pos x="23" y="11"/>
                  </a:cxn>
                  <a:cxn ang="0">
                    <a:pos x="12" y="0"/>
                  </a:cxn>
                  <a:cxn ang="0">
                    <a:pos x="12" y="0"/>
                  </a:cxn>
                  <a:cxn ang="0">
                    <a:pos x="12" y="0"/>
                  </a:cxn>
                  <a:cxn ang="0">
                    <a:pos x="8" y="0"/>
                  </a:cxn>
                  <a:cxn ang="0">
                    <a:pos x="5" y="3"/>
                  </a:cxn>
                  <a:cxn ang="0">
                    <a:pos x="1" y="6"/>
                  </a:cxn>
                  <a:cxn ang="0">
                    <a:pos x="1" y="9"/>
                  </a:cxn>
                  <a:cxn ang="0">
                    <a:pos x="0" y="11"/>
                  </a:cxn>
                  <a:cxn ang="0">
                    <a:pos x="0" y="11"/>
                  </a:cxn>
                  <a:cxn ang="0">
                    <a:pos x="1" y="13"/>
                  </a:cxn>
                  <a:cxn ang="0">
                    <a:pos x="2" y="15"/>
                  </a:cxn>
                  <a:cxn ang="0">
                    <a:pos x="8" y="18"/>
                  </a:cxn>
                  <a:cxn ang="0">
                    <a:pos x="15" y="18"/>
                  </a:cxn>
                  <a:cxn ang="0">
                    <a:pos x="20" y="18"/>
                  </a:cxn>
                  <a:cxn ang="0">
                    <a:pos x="20" y="18"/>
                  </a:cxn>
                  <a:cxn ang="0">
                    <a:pos x="22" y="18"/>
                  </a:cxn>
                  <a:cxn ang="0">
                    <a:pos x="22" y="15"/>
                  </a:cxn>
                  <a:cxn ang="0">
                    <a:pos x="23" y="11"/>
                  </a:cxn>
                  <a:cxn ang="0">
                    <a:pos x="23" y="11"/>
                  </a:cxn>
                  <a:cxn ang="0">
                    <a:pos x="23" y="11"/>
                  </a:cxn>
                  <a:cxn ang="0">
                    <a:pos x="23" y="11"/>
                  </a:cxn>
                </a:cxnLst>
                <a:rect l="0" t="0" r="r" b="b"/>
                <a:pathLst>
                  <a:path w="23" h="18">
                    <a:moveTo>
                      <a:pt x="23" y="11"/>
                    </a:moveTo>
                    <a:lnTo>
                      <a:pt x="12" y="0"/>
                    </a:lnTo>
                    <a:lnTo>
                      <a:pt x="12" y="0"/>
                    </a:lnTo>
                    <a:lnTo>
                      <a:pt x="12" y="0"/>
                    </a:lnTo>
                    <a:lnTo>
                      <a:pt x="8" y="0"/>
                    </a:lnTo>
                    <a:lnTo>
                      <a:pt x="5" y="3"/>
                    </a:lnTo>
                    <a:lnTo>
                      <a:pt x="1" y="6"/>
                    </a:lnTo>
                    <a:lnTo>
                      <a:pt x="1" y="9"/>
                    </a:lnTo>
                    <a:lnTo>
                      <a:pt x="0" y="11"/>
                    </a:lnTo>
                    <a:lnTo>
                      <a:pt x="0" y="11"/>
                    </a:lnTo>
                    <a:lnTo>
                      <a:pt x="1" y="13"/>
                    </a:lnTo>
                    <a:lnTo>
                      <a:pt x="2" y="15"/>
                    </a:lnTo>
                    <a:lnTo>
                      <a:pt x="8" y="18"/>
                    </a:lnTo>
                    <a:lnTo>
                      <a:pt x="15" y="18"/>
                    </a:lnTo>
                    <a:lnTo>
                      <a:pt x="20" y="18"/>
                    </a:lnTo>
                    <a:lnTo>
                      <a:pt x="20" y="18"/>
                    </a:lnTo>
                    <a:lnTo>
                      <a:pt x="22" y="18"/>
                    </a:lnTo>
                    <a:lnTo>
                      <a:pt x="22" y="15"/>
                    </a:lnTo>
                    <a:lnTo>
                      <a:pt x="23" y="11"/>
                    </a:lnTo>
                    <a:lnTo>
                      <a:pt x="23" y="11"/>
                    </a:lnTo>
                    <a:lnTo>
                      <a:pt x="23" y="11"/>
                    </a:lnTo>
                    <a:lnTo>
                      <a:pt x="23" y="1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2" name="Freeform 27"/>
              <p:cNvSpPr>
                <a:spLocks noChangeAspect="1"/>
              </p:cNvSpPr>
              <p:nvPr/>
            </p:nvSpPr>
            <p:spPr bwMode="auto">
              <a:xfrm>
                <a:off x="8634943" y="3554757"/>
                <a:ext cx="38043" cy="34790"/>
              </a:xfrm>
              <a:custGeom>
                <a:avLst/>
                <a:gdLst/>
                <a:ahLst/>
                <a:cxnLst>
                  <a:cxn ang="0">
                    <a:pos x="47" y="33"/>
                  </a:cxn>
                  <a:cxn ang="0">
                    <a:pos x="47" y="33"/>
                  </a:cxn>
                  <a:cxn ang="0">
                    <a:pos x="40" y="23"/>
                  </a:cxn>
                  <a:cxn ang="0">
                    <a:pos x="30" y="12"/>
                  </a:cxn>
                  <a:cxn ang="0">
                    <a:pos x="24" y="7"/>
                  </a:cxn>
                  <a:cxn ang="0">
                    <a:pos x="18" y="4"/>
                  </a:cxn>
                  <a:cxn ang="0">
                    <a:pos x="13" y="1"/>
                  </a:cxn>
                  <a:cxn ang="0">
                    <a:pos x="7" y="0"/>
                  </a:cxn>
                  <a:cxn ang="0">
                    <a:pos x="7" y="0"/>
                  </a:cxn>
                  <a:cxn ang="0">
                    <a:pos x="5" y="0"/>
                  </a:cxn>
                  <a:cxn ang="0">
                    <a:pos x="2" y="1"/>
                  </a:cxn>
                  <a:cxn ang="0">
                    <a:pos x="0" y="4"/>
                  </a:cxn>
                  <a:cxn ang="0">
                    <a:pos x="0" y="4"/>
                  </a:cxn>
                  <a:cxn ang="0">
                    <a:pos x="2" y="8"/>
                  </a:cxn>
                  <a:cxn ang="0">
                    <a:pos x="3" y="13"/>
                  </a:cxn>
                  <a:cxn ang="0">
                    <a:pos x="5" y="22"/>
                  </a:cxn>
                  <a:cxn ang="0">
                    <a:pos x="6" y="27"/>
                  </a:cxn>
                  <a:cxn ang="0">
                    <a:pos x="7" y="30"/>
                  </a:cxn>
                  <a:cxn ang="0">
                    <a:pos x="10" y="33"/>
                  </a:cxn>
                  <a:cxn ang="0">
                    <a:pos x="15" y="33"/>
                  </a:cxn>
                  <a:cxn ang="0">
                    <a:pos x="15" y="33"/>
                  </a:cxn>
                  <a:cxn ang="0">
                    <a:pos x="15" y="39"/>
                  </a:cxn>
                  <a:cxn ang="0">
                    <a:pos x="16" y="43"/>
                  </a:cxn>
                  <a:cxn ang="0">
                    <a:pos x="17" y="46"/>
                  </a:cxn>
                  <a:cxn ang="0">
                    <a:pos x="19" y="49"/>
                  </a:cxn>
                  <a:cxn ang="0">
                    <a:pos x="22" y="50"/>
                  </a:cxn>
                  <a:cxn ang="0">
                    <a:pos x="25" y="51"/>
                  </a:cxn>
                  <a:cxn ang="0">
                    <a:pos x="32" y="51"/>
                  </a:cxn>
                  <a:cxn ang="0">
                    <a:pos x="32" y="51"/>
                  </a:cxn>
                  <a:cxn ang="0">
                    <a:pos x="37" y="51"/>
                  </a:cxn>
                  <a:cxn ang="0">
                    <a:pos x="39" y="50"/>
                  </a:cxn>
                  <a:cxn ang="0">
                    <a:pos x="42" y="49"/>
                  </a:cxn>
                  <a:cxn ang="0">
                    <a:pos x="44" y="46"/>
                  </a:cxn>
                  <a:cxn ang="0">
                    <a:pos x="47" y="41"/>
                  </a:cxn>
                  <a:cxn ang="0">
                    <a:pos x="47" y="33"/>
                  </a:cxn>
                  <a:cxn ang="0">
                    <a:pos x="47" y="33"/>
                  </a:cxn>
                  <a:cxn ang="0">
                    <a:pos x="47" y="33"/>
                  </a:cxn>
                </a:cxnLst>
                <a:rect l="0" t="0" r="r" b="b"/>
                <a:pathLst>
                  <a:path w="47" h="51">
                    <a:moveTo>
                      <a:pt x="47" y="33"/>
                    </a:moveTo>
                    <a:lnTo>
                      <a:pt x="47" y="33"/>
                    </a:lnTo>
                    <a:lnTo>
                      <a:pt x="40" y="23"/>
                    </a:lnTo>
                    <a:lnTo>
                      <a:pt x="30" y="12"/>
                    </a:lnTo>
                    <a:lnTo>
                      <a:pt x="24" y="7"/>
                    </a:lnTo>
                    <a:lnTo>
                      <a:pt x="18" y="4"/>
                    </a:lnTo>
                    <a:lnTo>
                      <a:pt x="13" y="1"/>
                    </a:lnTo>
                    <a:lnTo>
                      <a:pt x="7" y="0"/>
                    </a:lnTo>
                    <a:lnTo>
                      <a:pt x="7" y="0"/>
                    </a:lnTo>
                    <a:lnTo>
                      <a:pt x="5" y="0"/>
                    </a:lnTo>
                    <a:lnTo>
                      <a:pt x="2" y="1"/>
                    </a:lnTo>
                    <a:lnTo>
                      <a:pt x="0" y="4"/>
                    </a:lnTo>
                    <a:lnTo>
                      <a:pt x="0" y="4"/>
                    </a:lnTo>
                    <a:lnTo>
                      <a:pt x="2" y="8"/>
                    </a:lnTo>
                    <a:lnTo>
                      <a:pt x="3" y="13"/>
                    </a:lnTo>
                    <a:lnTo>
                      <a:pt x="5" y="22"/>
                    </a:lnTo>
                    <a:lnTo>
                      <a:pt x="6" y="27"/>
                    </a:lnTo>
                    <a:lnTo>
                      <a:pt x="7" y="30"/>
                    </a:lnTo>
                    <a:lnTo>
                      <a:pt x="10" y="33"/>
                    </a:lnTo>
                    <a:lnTo>
                      <a:pt x="15" y="33"/>
                    </a:lnTo>
                    <a:lnTo>
                      <a:pt x="15" y="33"/>
                    </a:lnTo>
                    <a:lnTo>
                      <a:pt x="15" y="39"/>
                    </a:lnTo>
                    <a:lnTo>
                      <a:pt x="16" y="43"/>
                    </a:lnTo>
                    <a:lnTo>
                      <a:pt x="17" y="46"/>
                    </a:lnTo>
                    <a:lnTo>
                      <a:pt x="19" y="49"/>
                    </a:lnTo>
                    <a:lnTo>
                      <a:pt x="22" y="50"/>
                    </a:lnTo>
                    <a:lnTo>
                      <a:pt x="25" y="51"/>
                    </a:lnTo>
                    <a:lnTo>
                      <a:pt x="32" y="51"/>
                    </a:lnTo>
                    <a:lnTo>
                      <a:pt x="32" y="51"/>
                    </a:lnTo>
                    <a:lnTo>
                      <a:pt x="37" y="51"/>
                    </a:lnTo>
                    <a:lnTo>
                      <a:pt x="39" y="50"/>
                    </a:lnTo>
                    <a:lnTo>
                      <a:pt x="42" y="49"/>
                    </a:lnTo>
                    <a:lnTo>
                      <a:pt x="44" y="46"/>
                    </a:lnTo>
                    <a:lnTo>
                      <a:pt x="47" y="41"/>
                    </a:lnTo>
                    <a:lnTo>
                      <a:pt x="47" y="33"/>
                    </a:lnTo>
                    <a:lnTo>
                      <a:pt x="47" y="33"/>
                    </a:lnTo>
                    <a:lnTo>
                      <a:pt x="47" y="3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3" name="Freeform 28"/>
              <p:cNvSpPr>
                <a:spLocks noChangeAspect="1"/>
              </p:cNvSpPr>
              <p:nvPr/>
            </p:nvSpPr>
            <p:spPr bwMode="auto">
              <a:xfrm>
                <a:off x="8592145" y="3419774"/>
                <a:ext cx="34873" cy="91844"/>
              </a:xfrm>
              <a:custGeom>
                <a:avLst/>
                <a:gdLst/>
                <a:ahLst/>
                <a:cxnLst>
                  <a:cxn ang="0">
                    <a:pos x="0" y="0"/>
                  </a:cxn>
                  <a:cxn ang="0">
                    <a:pos x="0" y="0"/>
                  </a:cxn>
                  <a:cxn ang="0">
                    <a:pos x="4" y="1"/>
                  </a:cxn>
                  <a:cxn ang="0">
                    <a:pos x="12" y="3"/>
                  </a:cxn>
                  <a:cxn ang="0">
                    <a:pos x="22" y="7"/>
                  </a:cxn>
                  <a:cxn ang="0">
                    <a:pos x="22" y="7"/>
                  </a:cxn>
                  <a:cxn ang="0">
                    <a:pos x="25" y="7"/>
                  </a:cxn>
                  <a:cxn ang="0">
                    <a:pos x="28" y="8"/>
                  </a:cxn>
                  <a:cxn ang="0">
                    <a:pos x="31" y="9"/>
                  </a:cxn>
                  <a:cxn ang="0">
                    <a:pos x="32" y="11"/>
                  </a:cxn>
                  <a:cxn ang="0">
                    <a:pos x="34" y="17"/>
                  </a:cxn>
                  <a:cxn ang="0">
                    <a:pos x="35" y="24"/>
                  </a:cxn>
                  <a:cxn ang="0">
                    <a:pos x="36" y="40"/>
                  </a:cxn>
                  <a:cxn ang="0">
                    <a:pos x="39" y="49"/>
                  </a:cxn>
                  <a:cxn ang="0">
                    <a:pos x="43" y="58"/>
                  </a:cxn>
                  <a:cxn ang="0">
                    <a:pos x="43" y="58"/>
                  </a:cxn>
                  <a:cxn ang="0">
                    <a:pos x="43" y="117"/>
                  </a:cxn>
                  <a:cxn ang="0">
                    <a:pos x="43" y="117"/>
                  </a:cxn>
                  <a:cxn ang="0">
                    <a:pos x="42" y="121"/>
                  </a:cxn>
                  <a:cxn ang="0">
                    <a:pos x="40" y="125"/>
                  </a:cxn>
                  <a:cxn ang="0">
                    <a:pos x="39" y="128"/>
                  </a:cxn>
                  <a:cxn ang="0">
                    <a:pos x="35" y="130"/>
                  </a:cxn>
                  <a:cxn ang="0">
                    <a:pos x="33" y="131"/>
                  </a:cxn>
                  <a:cxn ang="0">
                    <a:pos x="28" y="132"/>
                  </a:cxn>
                  <a:cxn ang="0">
                    <a:pos x="28" y="132"/>
                  </a:cxn>
                  <a:cxn ang="0">
                    <a:pos x="25" y="131"/>
                  </a:cxn>
                  <a:cxn ang="0">
                    <a:pos x="22" y="128"/>
                  </a:cxn>
                  <a:cxn ang="0">
                    <a:pos x="11" y="119"/>
                  </a:cxn>
                  <a:cxn ang="0">
                    <a:pos x="7" y="114"/>
                  </a:cxn>
                  <a:cxn ang="0">
                    <a:pos x="3" y="108"/>
                  </a:cxn>
                  <a:cxn ang="0">
                    <a:pos x="1" y="102"/>
                  </a:cxn>
                  <a:cxn ang="0">
                    <a:pos x="0" y="98"/>
                  </a:cxn>
                  <a:cxn ang="0">
                    <a:pos x="0" y="98"/>
                  </a:cxn>
                  <a:cxn ang="0">
                    <a:pos x="0" y="92"/>
                  </a:cxn>
                  <a:cxn ang="0">
                    <a:pos x="1" y="87"/>
                  </a:cxn>
                  <a:cxn ang="0">
                    <a:pos x="5" y="78"/>
                  </a:cxn>
                  <a:cxn ang="0">
                    <a:pos x="9" y="71"/>
                  </a:cxn>
                  <a:cxn ang="0">
                    <a:pos x="10" y="67"/>
                  </a:cxn>
                  <a:cxn ang="0">
                    <a:pos x="10" y="62"/>
                  </a:cxn>
                  <a:cxn ang="0">
                    <a:pos x="10" y="62"/>
                  </a:cxn>
                  <a:cxn ang="0">
                    <a:pos x="10" y="54"/>
                  </a:cxn>
                  <a:cxn ang="0">
                    <a:pos x="9" y="49"/>
                  </a:cxn>
                  <a:cxn ang="0">
                    <a:pos x="7" y="45"/>
                  </a:cxn>
                  <a:cxn ang="0">
                    <a:pos x="5" y="41"/>
                  </a:cxn>
                  <a:cxn ang="0">
                    <a:pos x="1" y="35"/>
                  </a:cxn>
                  <a:cxn ang="0">
                    <a:pos x="0" y="31"/>
                  </a:cxn>
                  <a:cxn ang="0">
                    <a:pos x="0" y="24"/>
                  </a:cxn>
                  <a:cxn ang="0">
                    <a:pos x="0" y="24"/>
                  </a:cxn>
                  <a:cxn ang="0">
                    <a:pos x="0" y="0"/>
                  </a:cxn>
                  <a:cxn ang="0">
                    <a:pos x="0" y="0"/>
                  </a:cxn>
                  <a:cxn ang="0">
                    <a:pos x="0" y="0"/>
                  </a:cxn>
                </a:cxnLst>
                <a:rect l="0" t="0" r="r" b="b"/>
                <a:pathLst>
                  <a:path w="43" h="132">
                    <a:moveTo>
                      <a:pt x="0" y="0"/>
                    </a:moveTo>
                    <a:lnTo>
                      <a:pt x="0" y="0"/>
                    </a:lnTo>
                    <a:lnTo>
                      <a:pt x="4" y="1"/>
                    </a:lnTo>
                    <a:lnTo>
                      <a:pt x="12" y="3"/>
                    </a:lnTo>
                    <a:lnTo>
                      <a:pt x="22" y="7"/>
                    </a:lnTo>
                    <a:lnTo>
                      <a:pt x="22" y="7"/>
                    </a:lnTo>
                    <a:lnTo>
                      <a:pt x="25" y="7"/>
                    </a:lnTo>
                    <a:lnTo>
                      <a:pt x="28" y="8"/>
                    </a:lnTo>
                    <a:lnTo>
                      <a:pt x="31" y="9"/>
                    </a:lnTo>
                    <a:lnTo>
                      <a:pt x="32" y="11"/>
                    </a:lnTo>
                    <a:lnTo>
                      <a:pt x="34" y="17"/>
                    </a:lnTo>
                    <a:lnTo>
                      <a:pt x="35" y="24"/>
                    </a:lnTo>
                    <a:lnTo>
                      <a:pt x="36" y="40"/>
                    </a:lnTo>
                    <a:lnTo>
                      <a:pt x="39" y="49"/>
                    </a:lnTo>
                    <a:lnTo>
                      <a:pt x="43" y="58"/>
                    </a:lnTo>
                    <a:lnTo>
                      <a:pt x="43" y="58"/>
                    </a:lnTo>
                    <a:lnTo>
                      <a:pt x="43" y="117"/>
                    </a:lnTo>
                    <a:lnTo>
                      <a:pt x="43" y="117"/>
                    </a:lnTo>
                    <a:lnTo>
                      <a:pt x="42" y="121"/>
                    </a:lnTo>
                    <a:lnTo>
                      <a:pt x="40" y="125"/>
                    </a:lnTo>
                    <a:lnTo>
                      <a:pt x="39" y="128"/>
                    </a:lnTo>
                    <a:lnTo>
                      <a:pt x="35" y="130"/>
                    </a:lnTo>
                    <a:lnTo>
                      <a:pt x="33" y="131"/>
                    </a:lnTo>
                    <a:lnTo>
                      <a:pt x="28" y="132"/>
                    </a:lnTo>
                    <a:lnTo>
                      <a:pt x="28" y="132"/>
                    </a:lnTo>
                    <a:lnTo>
                      <a:pt x="25" y="131"/>
                    </a:lnTo>
                    <a:lnTo>
                      <a:pt x="22" y="128"/>
                    </a:lnTo>
                    <a:lnTo>
                      <a:pt x="11" y="119"/>
                    </a:lnTo>
                    <a:lnTo>
                      <a:pt x="7" y="114"/>
                    </a:lnTo>
                    <a:lnTo>
                      <a:pt x="3" y="108"/>
                    </a:lnTo>
                    <a:lnTo>
                      <a:pt x="1" y="102"/>
                    </a:lnTo>
                    <a:lnTo>
                      <a:pt x="0" y="98"/>
                    </a:lnTo>
                    <a:lnTo>
                      <a:pt x="0" y="98"/>
                    </a:lnTo>
                    <a:lnTo>
                      <a:pt x="0" y="92"/>
                    </a:lnTo>
                    <a:lnTo>
                      <a:pt x="1" y="87"/>
                    </a:lnTo>
                    <a:lnTo>
                      <a:pt x="5" y="78"/>
                    </a:lnTo>
                    <a:lnTo>
                      <a:pt x="9" y="71"/>
                    </a:lnTo>
                    <a:lnTo>
                      <a:pt x="10" y="67"/>
                    </a:lnTo>
                    <a:lnTo>
                      <a:pt x="10" y="62"/>
                    </a:lnTo>
                    <a:lnTo>
                      <a:pt x="10" y="62"/>
                    </a:lnTo>
                    <a:lnTo>
                      <a:pt x="10" y="54"/>
                    </a:lnTo>
                    <a:lnTo>
                      <a:pt x="9" y="49"/>
                    </a:lnTo>
                    <a:lnTo>
                      <a:pt x="7" y="45"/>
                    </a:lnTo>
                    <a:lnTo>
                      <a:pt x="5" y="41"/>
                    </a:lnTo>
                    <a:lnTo>
                      <a:pt x="1" y="35"/>
                    </a:lnTo>
                    <a:lnTo>
                      <a:pt x="0" y="31"/>
                    </a:lnTo>
                    <a:lnTo>
                      <a:pt x="0" y="24"/>
                    </a:lnTo>
                    <a:lnTo>
                      <a:pt x="0" y="24"/>
                    </a:lnTo>
                    <a:lnTo>
                      <a:pt x="0" y="0"/>
                    </a:lnTo>
                    <a:lnTo>
                      <a:pt x="0" y="0"/>
                    </a:lnTo>
                    <a:lnTo>
                      <a:pt x="0"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4" name="Freeform 29"/>
              <p:cNvSpPr>
                <a:spLocks noChangeAspect="1"/>
              </p:cNvSpPr>
              <p:nvPr/>
            </p:nvSpPr>
            <p:spPr bwMode="auto">
              <a:xfrm>
                <a:off x="8588974" y="3386376"/>
                <a:ext cx="31702" cy="25048"/>
              </a:xfrm>
              <a:custGeom>
                <a:avLst/>
                <a:gdLst/>
                <a:ahLst/>
                <a:cxnLst>
                  <a:cxn ang="0">
                    <a:pos x="17" y="7"/>
                  </a:cxn>
                  <a:cxn ang="0">
                    <a:pos x="17" y="7"/>
                  </a:cxn>
                  <a:cxn ang="0">
                    <a:pos x="12" y="7"/>
                  </a:cxn>
                  <a:cxn ang="0">
                    <a:pos x="8" y="5"/>
                  </a:cxn>
                  <a:cxn ang="0">
                    <a:pos x="5" y="3"/>
                  </a:cxn>
                  <a:cxn ang="0">
                    <a:pos x="0" y="0"/>
                  </a:cxn>
                  <a:cxn ang="0">
                    <a:pos x="0" y="0"/>
                  </a:cxn>
                  <a:cxn ang="0">
                    <a:pos x="0" y="22"/>
                  </a:cxn>
                  <a:cxn ang="0">
                    <a:pos x="0" y="22"/>
                  </a:cxn>
                  <a:cxn ang="0">
                    <a:pos x="1" y="28"/>
                  </a:cxn>
                  <a:cxn ang="0">
                    <a:pos x="5" y="33"/>
                  </a:cxn>
                  <a:cxn ang="0">
                    <a:pos x="11" y="36"/>
                  </a:cxn>
                  <a:cxn ang="0">
                    <a:pos x="14" y="37"/>
                  </a:cxn>
                  <a:cxn ang="0">
                    <a:pos x="17" y="37"/>
                  </a:cxn>
                  <a:cxn ang="0">
                    <a:pos x="17" y="37"/>
                  </a:cxn>
                  <a:cxn ang="0">
                    <a:pos x="27" y="36"/>
                  </a:cxn>
                  <a:cxn ang="0">
                    <a:pos x="34" y="34"/>
                  </a:cxn>
                  <a:cxn ang="0">
                    <a:pos x="36" y="32"/>
                  </a:cxn>
                  <a:cxn ang="0">
                    <a:pos x="37" y="29"/>
                  </a:cxn>
                  <a:cxn ang="0">
                    <a:pos x="40" y="22"/>
                  </a:cxn>
                  <a:cxn ang="0">
                    <a:pos x="40" y="22"/>
                  </a:cxn>
                  <a:cxn ang="0">
                    <a:pos x="17" y="7"/>
                  </a:cxn>
                  <a:cxn ang="0">
                    <a:pos x="17" y="7"/>
                  </a:cxn>
                </a:cxnLst>
                <a:rect l="0" t="0" r="r" b="b"/>
                <a:pathLst>
                  <a:path w="40" h="37">
                    <a:moveTo>
                      <a:pt x="17" y="7"/>
                    </a:moveTo>
                    <a:lnTo>
                      <a:pt x="17" y="7"/>
                    </a:lnTo>
                    <a:lnTo>
                      <a:pt x="12" y="7"/>
                    </a:lnTo>
                    <a:lnTo>
                      <a:pt x="8" y="5"/>
                    </a:lnTo>
                    <a:lnTo>
                      <a:pt x="5" y="3"/>
                    </a:lnTo>
                    <a:lnTo>
                      <a:pt x="0" y="0"/>
                    </a:lnTo>
                    <a:lnTo>
                      <a:pt x="0" y="0"/>
                    </a:lnTo>
                    <a:lnTo>
                      <a:pt x="0" y="22"/>
                    </a:lnTo>
                    <a:lnTo>
                      <a:pt x="0" y="22"/>
                    </a:lnTo>
                    <a:lnTo>
                      <a:pt x="1" y="28"/>
                    </a:lnTo>
                    <a:lnTo>
                      <a:pt x="5" y="33"/>
                    </a:lnTo>
                    <a:lnTo>
                      <a:pt x="11" y="36"/>
                    </a:lnTo>
                    <a:lnTo>
                      <a:pt x="14" y="37"/>
                    </a:lnTo>
                    <a:lnTo>
                      <a:pt x="17" y="37"/>
                    </a:lnTo>
                    <a:lnTo>
                      <a:pt x="17" y="37"/>
                    </a:lnTo>
                    <a:lnTo>
                      <a:pt x="27" y="36"/>
                    </a:lnTo>
                    <a:lnTo>
                      <a:pt x="34" y="34"/>
                    </a:lnTo>
                    <a:lnTo>
                      <a:pt x="36" y="32"/>
                    </a:lnTo>
                    <a:lnTo>
                      <a:pt x="37" y="29"/>
                    </a:lnTo>
                    <a:lnTo>
                      <a:pt x="40" y="22"/>
                    </a:lnTo>
                    <a:lnTo>
                      <a:pt x="40" y="22"/>
                    </a:lnTo>
                    <a:lnTo>
                      <a:pt x="17" y="7"/>
                    </a:lnTo>
                    <a:lnTo>
                      <a:pt x="17" y="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5" name="Freeform 30"/>
              <p:cNvSpPr>
                <a:spLocks noChangeAspect="1"/>
              </p:cNvSpPr>
              <p:nvPr/>
            </p:nvSpPr>
            <p:spPr bwMode="auto">
              <a:xfrm>
                <a:off x="8543006" y="3429515"/>
                <a:ext cx="25362" cy="20874"/>
              </a:xfrm>
              <a:custGeom>
                <a:avLst/>
                <a:gdLst/>
                <a:ahLst/>
                <a:cxnLst>
                  <a:cxn ang="0">
                    <a:pos x="32" y="3"/>
                  </a:cxn>
                  <a:cxn ang="0">
                    <a:pos x="32" y="3"/>
                  </a:cxn>
                  <a:cxn ang="0">
                    <a:pos x="27" y="3"/>
                  </a:cxn>
                  <a:cxn ang="0">
                    <a:pos x="21" y="2"/>
                  </a:cxn>
                  <a:cxn ang="0">
                    <a:pos x="13" y="0"/>
                  </a:cxn>
                  <a:cxn ang="0">
                    <a:pos x="13" y="0"/>
                  </a:cxn>
                  <a:cxn ang="0">
                    <a:pos x="10" y="2"/>
                  </a:cxn>
                  <a:cxn ang="0">
                    <a:pos x="5" y="7"/>
                  </a:cxn>
                  <a:cxn ang="0">
                    <a:pos x="1" y="12"/>
                  </a:cxn>
                  <a:cxn ang="0">
                    <a:pos x="0" y="16"/>
                  </a:cxn>
                  <a:cxn ang="0">
                    <a:pos x="0" y="18"/>
                  </a:cxn>
                  <a:cxn ang="0">
                    <a:pos x="0" y="18"/>
                  </a:cxn>
                  <a:cxn ang="0">
                    <a:pos x="0" y="19"/>
                  </a:cxn>
                  <a:cxn ang="0">
                    <a:pos x="2" y="21"/>
                  </a:cxn>
                  <a:cxn ang="0">
                    <a:pos x="9" y="25"/>
                  </a:cxn>
                  <a:cxn ang="0">
                    <a:pos x="16" y="28"/>
                  </a:cxn>
                  <a:cxn ang="0">
                    <a:pos x="21" y="30"/>
                  </a:cxn>
                  <a:cxn ang="0">
                    <a:pos x="21" y="30"/>
                  </a:cxn>
                  <a:cxn ang="0">
                    <a:pos x="32" y="30"/>
                  </a:cxn>
                  <a:cxn ang="0">
                    <a:pos x="32" y="30"/>
                  </a:cxn>
                  <a:cxn ang="0">
                    <a:pos x="32" y="3"/>
                  </a:cxn>
                  <a:cxn ang="0">
                    <a:pos x="32" y="3"/>
                  </a:cxn>
                  <a:cxn ang="0">
                    <a:pos x="32" y="3"/>
                  </a:cxn>
                </a:cxnLst>
                <a:rect l="0" t="0" r="r" b="b"/>
                <a:pathLst>
                  <a:path w="32" h="30">
                    <a:moveTo>
                      <a:pt x="32" y="3"/>
                    </a:moveTo>
                    <a:lnTo>
                      <a:pt x="32" y="3"/>
                    </a:lnTo>
                    <a:lnTo>
                      <a:pt x="27" y="3"/>
                    </a:lnTo>
                    <a:lnTo>
                      <a:pt x="21" y="2"/>
                    </a:lnTo>
                    <a:lnTo>
                      <a:pt x="13" y="0"/>
                    </a:lnTo>
                    <a:lnTo>
                      <a:pt x="13" y="0"/>
                    </a:lnTo>
                    <a:lnTo>
                      <a:pt x="10" y="2"/>
                    </a:lnTo>
                    <a:lnTo>
                      <a:pt x="5" y="7"/>
                    </a:lnTo>
                    <a:lnTo>
                      <a:pt x="1" y="12"/>
                    </a:lnTo>
                    <a:lnTo>
                      <a:pt x="0" y="16"/>
                    </a:lnTo>
                    <a:lnTo>
                      <a:pt x="0" y="18"/>
                    </a:lnTo>
                    <a:lnTo>
                      <a:pt x="0" y="18"/>
                    </a:lnTo>
                    <a:lnTo>
                      <a:pt x="0" y="19"/>
                    </a:lnTo>
                    <a:lnTo>
                      <a:pt x="2" y="21"/>
                    </a:lnTo>
                    <a:lnTo>
                      <a:pt x="9" y="25"/>
                    </a:lnTo>
                    <a:lnTo>
                      <a:pt x="16" y="28"/>
                    </a:lnTo>
                    <a:lnTo>
                      <a:pt x="21" y="30"/>
                    </a:lnTo>
                    <a:lnTo>
                      <a:pt x="21" y="30"/>
                    </a:lnTo>
                    <a:lnTo>
                      <a:pt x="32" y="30"/>
                    </a:lnTo>
                    <a:lnTo>
                      <a:pt x="32" y="30"/>
                    </a:lnTo>
                    <a:lnTo>
                      <a:pt x="32" y="3"/>
                    </a:lnTo>
                    <a:lnTo>
                      <a:pt x="32" y="3"/>
                    </a:lnTo>
                    <a:lnTo>
                      <a:pt x="32" y="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6" name="Freeform 31"/>
              <p:cNvSpPr>
                <a:spLocks noChangeAspect="1"/>
              </p:cNvSpPr>
              <p:nvPr/>
            </p:nvSpPr>
            <p:spPr bwMode="auto">
              <a:xfrm>
                <a:off x="8504963" y="2605699"/>
                <a:ext cx="69745" cy="26440"/>
              </a:xfrm>
              <a:custGeom>
                <a:avLst/>
                <a:gdLst/>
                <a:ahLst/>
                <a:cxnLst>
                  <a:cxn ang="0">
                    <a:pos x="66" y="11"/>
                  </a:cxn>
                  <a:cxn ang="0">
                    <a:pos x="66" y="11"/>
                  </a:cxn>
                  <a:cxn ang="0">
                    <a:pos x="52" y="11"/>
                  </a:cxn>
                  <a:cxn ang="0">
                    <a:pos x="38" y="10"/>
                  </a:cxn>
                  <a:cxn ang="0">
                    <a:pos x="31" y="9"/>
                  </a:cxn>
                  <a:cxn ang="0">
                    <a:pos x="26" y="7"/>
                  </a:cxn>
                  <a:cxn ang="0">
                    <a:pos x="20" y="3"/>
                  </a:cxn>
                  <a:cxn ang="0">
                    <a:pos x="15" y="0"/>
                  </a:cxn>
                  <a:cxn ang="0">
                    <a:pos x="15" y="0"/>
                  </a:cxn>
                  <a:cxn ang="0">
                    <a:pos x="9" y="3"/>
                  </a:cxn>
                  <a:cxn ang="0">
                    <a:pos x="6" y="5"/>
                  </a:cxn>
                  <a:cxn ang="0">
                    <a:pos x="4" y="10"/>
                  </a:cxn>
                  <a:cxn ang="0">
                    <a:pos x="0" y="15"/>
                  </a:cxn>
                  <a:cxn ang="0">
                    <a:pos x="0" y="15"/>
                  </a:cxn>
                  <a:cxn ang="0">
                    <a:pos x="0" y="37"/>
                  </a:cxn>
                  <a:cxn ang="0">
                    <a:pos x="0" y="37"/>
                  </a:cxn>
                  <a:cxn ang="0">
                    <a:pos x="0" y="37"/>
                  </a:cxn>
                  <a:cxn ang="0">
                    <a:pos x="13" y="38"/>
                  </a:cxn>
                  <a:cxn ang="0">
                    <a:pos x="26" y="38"/>
                  </a:cxn>
                  <a:cxn ang="0">
                    <a:pos x="42" y="37"/>
                  </a:cxn>
                  <a:cxn ang="0">
                    <a:pos x="62" y="37"/>
                  </a:cxn>
                  <a:cxn ang="0">
                    <a:pos x="62" y="37"/>
                  </a:cxn>
                  <a:cxn ang="0">
                    <a:pos x="70" y="35"/>
                  </a:cxn>
                  <a:cxn ang="0">
                    <a:pos x="76" y="34"/>
                  </a:cxn>
                  <a:cxn ang="0">
                    <a:pos x="80" y="32"/>
                  </a:cxn>
                  <a:cxn ang="0">
                    <a:pos x="83" y="30"/>
                  </a:cxn>
                  <a:cxn ang="0">
                    <a:pos x="85" y="26"/>
                  </a:cxn>
                  <a:cxn ang="0">
                    <a:pos x="87" y="22"/>
                  </a:cxn>
                  <a:cxn ang="0">
                    <a:pos x="89" y="11"/>
                  </a:cxn>
                  <a:cxn ang="0">
                    <a:pos x="89" y="11"/>
                  </a:cxn>
                  <a:cxn ang="0">
                    <a:pos x="66" y="11"/>
                  </a:cxn>
                  <a:cxn ang="0">
                    <a:pos x="66" y="11"/>
                  </a:cxn>
                  <a:cxn ang="0">
                    <a:pos x="66" y="11"/>
                  </a:cxn>
                </a:cxnLst>
                <a:rect l="0" t="0" r="r" b="b"/>
                <a:pathLst>
                  <a:path w="89" h="38">
                    <a:moveTo>
                      <a:pt x="66" y="11"/>
                    </a:moveTo>
                    <a:lnTo>
                      <a:pt x="66" y="11"/>
                    </a:lnTo>
                    <a:lnTo>
                      <a:pt x="52" y="11"/>
                    </a:lnTo>
                    <a:lnTo>
                      <a:pt x="38" y="10"/>
                    </a:lnTo>
                    <a:lnTo>
                      <a:pt x="31" y="9"/>
                    </a:lnTo>
                    <a:lnTo>
                      <a:pt x="26" y="7"/>
                    </a:lnTo>
                    <a:lnTo>
                      <a:pt x="20" y="3"/>
                    </a:lnTo>
                    <a:lnTo>
                      <a:pt x="15" y="0"/>
                    </a:lnTo>
                    <a:lnTo>
                      <a:pt x="15" y="0"/>
                    </a:lnTo>
                    <a:lnTo>
                      <a:pt x="9" y="3"/>
                    </a:lnTo>
                    <a:lnTo>
                      <a:pt x="6" y="5"/>
                    </a:lnTo>
                    <a:lnTo>
                      <a:pt x="4" y="10"/>
                    </a:lnTo>
                    <a:lnTo>
                      <a:pt x="0" y="15"/>
                    </a:lnTo>
                    <a:lnTo>
                      <a:pt x="0" y="15"/>
                    </a:lnTo>
                    <a:lnTo>
                      <a:pt x="0" y="37"/>
                    </a:lnTo>
                    <a:lnTo>
                      <a:pt x="0" y="37"/>
                    </a:lnTo>
                    <a:lnTo>
                      <a:pt x="0" y="37"/>
                    </a:lnTo>
                    <a:lnTo>
                      <a:pt x="13" y="38"/>
                    </a:lnTo>
                    <a:lnTo>
                      <a:pt x="26" y="38"/>
                    </a:lnTo>
                    <a:lnTo>
                      <a:pt x="42" y="37"/>
                    </a:lnTo>
                    <a:lnTo>
                      <a:pt x="62" y="37"/>
                    </a:lnTo>
                    <a:lnTo>
                      <a:pt x="62" y="37"/>
                    </a:lnTo>
                    <a:lnTo>
                      <a:pt x="70" y="35"/>
                    </a:lnTo>
                    <a:lnTo>
                      <a:pt x="76" y="34"/>
                    </a:lnTo>
                    <a:lnTo>
                      <a:pt x="80" y="32"/>
                    </a:lnTo>
                    <a:lnTo>
                      <a:pt x="83" y="30"/>
                    </a:lnTo>
                    <a:lnTo>
                      <a:pt x="85" y="26"/>
                    </a:lnTo>
                    <a:lnTo>
                      <a:pt x="87" y="22"/>
                    </a:lnTo>
                    <a:lnTo>
                      <a:pt x="89" y="11"/>
                    </a:lnTo>
                    <a:lnTo>
                      <a:pt x="89" y="11"/>
                    </a:lnTo>
                    <a:lnTo>
                      <a:pt x="66" y="11"/>
                    </a:lnTo>
                    <a:lnTo>
                      <a:pt x="66" y="11"/>
                    </a:lnTo>
                    <a:lnTo>
                      <a:pt x="66" y="1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7" name="Freeform 32"/>
              <p:cNvSpPr>
                <a:spLocks noChangeAspect="1"/>
              </p:cNvSpPr>
              <p:nvPr/>
            </p:nvSpPr>
            <p:spPr bwMode="auto">
              <a:xfrm>
                <a:off x="8600070" y="2550036"/>
                <a:ext cx="52309" cy="25048"/>
              </a:xfrm>
              <a:custGeom>
                <a:avLst/>
                <a:gdLst/>
                <a:ahLst/>
                <a:cxnLst>
                  <a:cxn ang="0">
                    <a:pos x="26" y="34"/>
                  </a:cxn>
                  <a:cxn ang="0">
                    <a:pos x="8" y="37"/>
                  </a:cxn>
                  <a:cxn ang="0">
                    <a:pos x="8" y="37"/>
                  </a:cxn>
                  <a:cxn ang="0">
                    <a:pos x="8" y="37"/>
                  </a:cxn>
                  <a:cxn ang="0">
                    <a:pos x="7" y="34"/>
                  </a:cxn>
                  <a:cxn ang="0">
                    <a:pos x="5" y="30"/>
                  </a:cxn>
                  <a:cxn ang="0">
                    <a:pos x="0" y="25"/>
                  </a:cxn>
                  <a:cxn ang="0">
                    <a:pos x="0" y="25"/>
                  </a:cxn>
                  <a:cxn ang="0">
                    <a:pos x="1" y="21"/>
                  </a:cxn>
                  <a:cxn ang="0">
                    <a:pos x="3" y="15"/>
                  </a:cxn>
                  <a:cxn ang="0">
                    <a:pos x="7" y="11"/>
                  </a:cxn>
                  <a:cxn ang="0">
                    <a:pos x="13" y="7"/>
                  </a:cxn>
                  <a:cxn ang="0">
                    <a:pos x="18" y="4"/>
                  </a:cxn>
                  <a:cxn ang="0">
                    <a:pos x="25" y="1"/>
                  </a:cxn>
                  <a:cxn ang="0">
                    <a:pos x="33" y="0"/>
                  </a:cxn>
                  <a:cxn ang="0">
                    <a:pos x="41" y="0"/>
                  </a:cxn>
                  <a:cxn ang="0">
                    <a:pos x="41" y="0"/>
                  </a:cxn>
                  <a:cxn ang="0">
                    <a:pos x="50" y="0"/>
                  </a:cxn>
                  <a:cxn ang="0">
                    <a:pos x="56" y="1"/>
                  </a:cxn>
                  <a:cxn ang="0">
                    <a:pos x="60" y="2"/>
                  </a:cxn>
                  <a:cxn ang="0">
                    <a:pos x="63" y="5"/>
                  </a:cxn>
                  <a:cxn ang="0">
                    <a:pos x="66" y="7"/>
                  </a:cxn>
                  <a:cxn ang="0">
                    <a:pos x="67" y="11"/>
                  </a:cxn>
                  <a:cxn ang="0">
                    <a:pos x="67" y="11"/>
                  </a:cxn>
                  <a:cxn ang="0">
                    <a:pos x="60" y="15"/>
                  </a:cxn>
                  <a:cxn ang="0">
                    <a:pos x="53" y="17"/>
                  </a:cxn>
                  <a:cxn ang="0">
                    <a:pos x="51" y="19"/>
                  </a:cxn>
                  <a:cxn ang="0">
                    <a:pos x="50" y="20"/>
                  </a:cxn>
                  <a:cxn ang="0">
                    <a:pos x="48" y="22"/>
                  </a:cxn>
                  <a:cxn ang="0">
                    <a:pos x="48" y="25"/>
                  </a:cxn>
                  <a:cxn ang="0">
                    <a:pos x="48" y="25"/>
                  </a:cxn>
                  <a:cxn ang="0">
                    <a:pos x="26" y="34"/>
                  </a:cxn>
                  <a:cxn ang="0">
                    <a:pos x="26" y="34"/>
                  </a:cxn>
                </a:cxnLst>
                <a:rect l="0" t="0" r="r" b="b"/>
                <a:pathLst>
                  <a:path w="67" h="37">
                    <a:moveTo>
                      <a:pt x="26" y="34"/>
                    </a:moveTo>
                    <a:lnTo>
                      <a:pt x="8" y="37"/>
                    </a:lnTo>
                    <a:lnTo>
                      <a:pt x="8" y="37"/>
                    </a:lnTo>
                    <a:lnTo>
                      <a:pt x="8" y="37"/>
                    </a:lnTo>
                    <a:lnTo>
                      <a:pt x="7" y="34"/>
                    </a:lnTo>
                    <a:lnTo>
                      <a:pt x="5" y="30"/>
                    </a:lnTo>
                    <a:lnTo>
                      <a:pt x="0" y="25"/>
                    </a:lnTo>
                    <a:lnTo>
                      <a:pt x="0" y="25"/>
                    </a:lnTo>
                    <a:lnTo>
                      <a:pt x="1" y="21"/>
                    </a:lnTo>
                    <a:lnTo>
                      <a:pt x="3" y="15"/>
                    </a:lnTo>
                    <a:lnTo>
                      <a:pt x="7" y="11"/>
                    </a:lnTo>
                    <a:lnTo>
                      <a:pt x="13" y="7"/>
                    </a:lnTo>
                    <a:lnTo>
                      <a:pt x="18" y="4"/>
                    </a:lnTo>
                    <a:lnTo>
                      <a:pt x="25" y="1"/>
                    </a:lnTo>
                    <a:lnTo>
                      <a:pt x="33" y="0"/>
                    </a:lnTo>
                    <a:lnTo>
                      <a:pt x="41" y="0"/>
                    </a:lnTo>
                    <a:lnTo>
                      <a:pt x="41" y="0"/>
                    </a:lnTo>
                    <a:lnTo>
                      <a:pt x="50" y="0"/>
                    </a:lnTo>
                    <a:lnTo>
                      <a:pt x="56" y="1"/>
                    </a:lnTo>
                    <a:lnTo>
                      <a:pt x="60" y="2"/>
                    </a:lnTo>
                    <a:lnTo>
                      <a:pt x="63" y="5"/>
                    </a:lnTo>
                    <a:lnTo>
                      <a:pt x="66" y="7"/>
                    </a:lnTo>
                    <a:lnTo>
                      <a:pt x="67" y="11"/>
                    </a:lnTo>
                    <a:lnTo>
                      <a:pt x="67" y="11"/>
                    </a:lnTo>
                    <a:lnTo>
                      <a:pt x="60" y="15"/>
                    </a:lnTo>
                    <a:lnTo>
                      <a:pt x="53" y="17"/>
                    </a:lnTo>
                    <a:lnTo>
                      <a:pt x="51" y="19"/>
                    </a:lnTo>
                    <a:lnTo>
                      <a:pt x="50" y="20"/>
                    </a:lnTo>
                    <a:lnTo>
                      <a:pt x="48" y="22"/>
                    </a:lnTo>
                    <a:lnTo>
                      <a:pt x="48" y="25"/>
                    </a:lnTo>
                    <a:lnTo>
                      <a:pt x="48" y="25"/>
                    </a:lnTo>
                    <a:lnTo>
                      <a:pt x="26" y="34"/>
                    </a:lnTo>
                    <a:lnTo>
                      <a:pt x="26" y="3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8" name="Freeform 33"/>
              <p:cNvSpPr>
                <a:spLocks noChangeAspect="1"/>
              </p:cNvSpPr>
              <p:nvPr/>
            </p:nvSpPr>
            <p:spPr bwMode="auto">
              <a:xfrm>
                <a:off x="7002280" y="1251691"/>
                <a:ext cx="69745" cy="150291"/>
              </a:xfrm>
              <a:custGeom>
                <a:avLst/>
                <a:gdLst/>
                <a:ahLst/>
                <a:cxnLst>
                  <a:cxn ang="0">
                    <a:pos x="87" y="0"/>
                  </a:cxn>
                  <a:cxn ang="0">
                    <a:pos x="87" y="0"/>
                  </a:cxn>
                  <a:cxn ang="0">
                    <a:pos x="78" y="5"/>
                  </a:cxn>
                  <a:cxn ang="0">
                    <a:pos x="68" y="11"/>
                  </a:cxn>
                  <a:cxn ang="0">
                    <a:pos x="60" y="17"/>
                  </a:cxn>
                  <a:cxn ang="0">
                    <a:pos x="51" y="24"/>
                  </a:cxn>
                  <a:cxn ang="0">
                    <a:pos x="43" y="31"/>
                  </a:cxn>
                  <a:cxn ang="0">
                    <a:pos x="36" y="38"/>
                  </a:cxn>
                  <a:cxn ang="0">
                    <a:pos x="29" y="47"/>
                  </a:cxn>
                  <a:cxn ang="0">
                    <a:pos x="23" y="55"/>
                  </a:cxn>
                  <a:cxn ang="0">
                    <a:pos x="17" y="64"/>
                  </a:cxn>
                  <a:cxn ang="0">
                    <a:pos x="13" y="74"/>
                  </a:cxn>
                  <a:cxn ang="0">
                    <a:pos x="9" y="85"/>
                  </a:cxn>
                  <a:cxn ang="0">
                    <a:pos x="6" y="96"/>
                  </a:cxn>
                  <a:cxn ang="0">
                    <a:pos x="3" y="108"/>
                  </a:cxn>
                  <a:cxn ang="0">
                    <a:pos x="1" y="121"/>
                  </a:cxn>
                  <a:cxn ang="0">
                    <a:pos x="0" y="133"/>
                  </a:cxn>
                  <a:cxn ang="0">
                    <a:pos x="0" y="147"/>
                  </a:cxn>
                  <a:cxn ang="0">
                    <a:pos x="0" y="147"/>
                  </a:cxn>
                  <a:cxn ang="0">
                    <a:pos x="0" y="159"/>
                  </a:cxn>
                  <a:cxn ang="0">
                    <a:pos x="1" y="169"/>
                  </a:cxn>
                  <a:cxn ang="0">
                    <a:pos x="3" y="177"/>
                  </a:cxn>
                  <a:cxn ang="0">
                    <a:pos x="7" y="185"/>
                  </a:cxn>
                  <a:cxn ang="0">
                    <a:pos x="10" y="192"/>
                  </a:cxn>
                  <a:cxn ang="0">
                    <a:pos x="15" y="196"/>
                  </a:cxn>
                  <a:cxn ang="0">
                    <a:pos x="21" y="201"/>
                  </a:cxn>
                  <a:cxn ang="0">
                    <a:pos x="26" y="206"/>
                  </a:cxn>
                  <a:cxn ang="0">
                    <a:pos x="32" y="208"/>
                  </a:cxn>
                  <a:cxn ang="0">
                    <a:pos x="39" y="210"/>
                  </a:cxn>
                  <a:cxn ang="0">
                    <a:pos x="54" y="214"/>
                  </a:cxn>
                  <a:cxn ang="0">
                    <a:pos x="70" y="215"/>
                  </a:cxn>
                  <a:cxn ang="0">
                    <a:pos x="87" y="216"/>
                  </a:cxn>
                  <a:cxn ang="0">
                    <a:pos x="87" y="216"/>
                  </a:cxn>
                  <a:cxn ang="0">
                    <a:pos x="87" y="0"/>
                  </a:cxn>
                  <a:cxn ang="0">
                    <a:pos x="87" y="0"/>
                  </a:cxn>
                </a:cxnLst>
                <a:rect l="0" t="0" r="r" b="b"/>
                <a:pathLst>
                  <a:path w="87" h="216">
                    <a:moveTo>
                      <a:pt x="87" y="0"/>
                    </a:moveTo>
                    <a:lnTo>
                      <a:pt x="87" y="0"/>
                    </a:lnTo>
                    <a:lnTo>
                      <a:pt x="78" y="5"/>
                    </a:lnTo>
                    <a:lnTo>
                      <a:pt x="68" y="11"/>
                    </a:lnTo>
                    <a:lnTo>
                      <a:pt x="60" y="17"/>
                    </a:lnTo>
                    <a:lnTo>
                      <a:pt x="51" y="24"/>
                    </a:lnTo>
                    <a:lnTo>
                      <a:pt x="43" y="31"/>
                    </a:lnTo>
                    <a:lnTo>
                      <a:pt x="36" y="38"/>
                    </a:lnTo>
                    <a:lnTo>
                      <a:pt x="29" y="47"/>
                    </a:lnTo>
                    <a:lnTo>
                      <a:pt x="23" y="55"/>
                    </a:lnTo>
                    <a:lnTo>
                      <a:pt x="17" y="64"/>
                    </a:lnTo>
                    <a:lnTo>
                      <a:pt x="13" y="74"/>
                    </a:lnTo>
                    <a:lnTo>
                      <a:pt x="9" y="85"/>
                    </a:lnTo>
                    <a:lnTo>
                      <a:pt x="6" y="96"/>
                    </a:lnTo>
                    <a:lnTo>
                      <a:pt x="3" y="108"/>
                    </a:lnTo>
                    <a:lnTo>
                      <a:pt x="1" y="121"/>
                    </a:lnTo>
                    <a:lnTo>
                      <a:pt x="0" y="133"/>
                    </a:lnTo>
                    <a:lnTo>
                      <a:pt x="0" y="147"/>
                    </a:lnTo>
                    <a:lnTo>
                      <a:pt x="0" y="147"/>
                    </a:lnTo>
                    <a:lnTo>
                      <a:pt x="0" y="159"/>
                    </a:lnTo>
                    <a:lnTo>
                      <a:pt x="1" y="169"/>
                    </a:lnTo>
                    <a:lnTo>
                      <a:pt x="3" y="177"/>
                    </a:lnTo>
                    <a:lnTo>
                      <a:pt x="7" y="185"/>
                    </a:lnTo>
                    <a:lnTo>
                      <a:pt x="10" y="192"/>
                    </a:lnTo>
                    <a:lnTo>
                      <a:pt x="15" y="196"/>
                    </a:lnTo>
                    <a:lnTo>
                      <a:pt x="21" y="201"/>
                    </a:lnTo>
                    <a:lnTo>
                      <a:pt x="26" y="206"/>
                    </a:lnTo>
                    <a:lnTo>
                      <a:pt x="32" y="208"/>
                    </a:lnTo>
                    <a:lnTo>
                      <a:pt x="39" y="210"/>
                    </a:lnTo>
                    <a:lnTo>
                      <a:pt x="54" y="214"/>
                    </a:lnTo>
                    <a:lnTo>
                      <a:pt x="70" y="215"/>
                    </a:lnTo>
                    <a:lnTo>
                      <a:pt x="87" y="216"/>
                    </a:lnTo>
                    <a:lnTo>
                      <a:pt x="87" y="216"/>
                    </a:lnTo>
                    <a:lnTo>
                      <a:pt x="87" y="0"/>
                    </a:lnTo>
                    <a:lnTo>
                      <a:pt x="87"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49" name="Freeform 34"/>
              <p:cNvSpPr>
                <a:spLocks noChangeAspect="1"/>
              </p:cNvSpPr>
              <p:nvPr/>
            </p:nvSpPr>
            <p:spPr bwMode="auto">
              <a:xfrm>
                <a:off x="3453222" y="1767967"/>
                <a:ext cx="71330" cy="36181"/>
              </a:xfrm>
              <a:custGeom>
                <a:avLst/>
                <a:gdLst/>
                <a:ahLst/>
                <a:cxnLst>
                  <a:cxn ang="0">
                    <a:pos x="88" y="52"/>
                  </a:cxn>
                  <a:cxn ang="0">
                    <a:pos x="88" y="52"/>
                  </a:cxn>
                  <a:cxn ang="0">
                    <a:pos x="89" y="51"/>
                  </a:cxn>
                  <a:cxn ang="0">
                    <a:pos x="90" y="49"/>
                  </a:cxn>
                  <a:cxn ang="0">
                    <a:pos x="90" y="46"/>
                  </a:cxn>
                  <a:cxn ang="0">
                    <a:pos x="90" y="34"/>
                  </a:cxn>
                  <a:cxn ang="0">
                    <a:pos x="88" y="18"/>
                  </a:cxn>
                  <a:cxn ang="0">
                    <a:pos x="88" y="18"/>
                  </a:cxn>
                  <a:cxn ang="0">
                    <a:pos x="78" y="11"/>
                  </a:cxn>
                  <a:cxn ang="0">
                    <a:pos x="70" y="7"/>
                  </a:cxn>
                  <a:cxn ang="0">
                    <a:pos x="70" y="7"/>
                  </a:cxn>
                  <a:cxn ang="0">
                    <a:pos x="21" y="7"/>
                  </a:cxn>
                  <a:cxn ang="0">
                    <a:pos x="21" y="7"/>
                  </a:cxn>
                  <a:cxn ang="0">
                    <a:pos x="21" y="7"/>
                  </a:cxn>
                  <a:cxn ang="0">
                    <a:pos x="17" y="6"/>
                  </a:cxn>
                  <a:cxn ang="0">
                    <a:pos x="11" y="3"/>
                  </a:cxn>
                  <a:cxn ang="0">
                    <a:pos x="6" y="2"/>
                  </a:cxn>
                  <a:cxn ang="0">
                    <a:pos x="3" y="0"/>
                  </a:cxn>
                  <a:cxn ang="0">
                    <a:pos x="3" y="0"/>
                  </a:cxn>
                  <a:cxn ang="0">
                    <a:pos x="0" y="5"/>
                  </a:cxn>
                  <a:cxn ang="0">
                    <a:pos x="0" y="7"/>
                  </a:cxn>
                  <a:cxn ang="0">
                    <a:pos x="0" y="15"/>
                  </a:cxn>
                  <a:cxn ang="0">
                    <a:pos x="0" y="15"/>
                  </a:cxn>
                  <a:cxn ang="0">
                    <a:pos x="1" y="21"/>
                  </a:cxn>
                  <a:cxn ang="0">
                    <a:pos x="1" y="25"/>
                  </a:cxn>
                  <a:cxn ang="0">
                    <a:pos x="3" y="29"/>
                  </a:cxn>
                  <a:cxn ang="0">
                    <a:pos x="5" y="32"/>
                  </a:cxn>
                  <a:cxn ang="0">
                    <a:pos x="8" y="34"/>
                  </a:cxn>
                  <a:cxn ang="0">
                    <a:pos x="11" y="37"/>
                  </a:cxn>
                  <a:cxn ang="0">
                    <a:pos x="18" y="38"/>
                  </a:cxn>
                  <a:cxn ang="0">
                    <a:pos x="26" y="39"/>
                  </a:cxn>
                  <a:cxn ang="0">
                    <a:pos x="35" y="38"/>
                  </a:cxn>
                  <a:cxn ang="0">
                    <a:pos x="55" y="37"/>
                  </a:cxn>
                  <a:cxn ang="0">
                    <a:pos x="55" y="37"/>
                  </a:cxn>
                  <a:cxn ang="0">
                    <a:pos x="70" y="37"/>
                  </a:cxn>
                  <a:cxn ang="0">
                    <a:pos x="70" y="37"/>
                  </a:cxn>
                  <a:cxn ang="0">
                    <a:pos x="71" y="42"/>
                  </a:cxn>
                  <a:cxn ang="0">
                    <a:pos x="74" y="47"/>
                  </a:cxn>
                  <a:cxn ang="0">
                    <a:pos x="80" y="51"/>
                  </a:cxn>
                  <a:cxn ang="0">
                    <a:pos x="88" y="52"/>
                  </a:cxn>
                  <a:cxn ang="0">
                    <a:pos x="88" y="52"/>
                  </a:cxn>
                  <a:cxn ang="0">
                    <a:pos x="88" y="52"/>
                  </a:cxn>
                </a:cxnLst>
                <a:rect l="0" t="0" r="r" b="b"/>
                <a:pathLst>
                  <a:path w="90" h="52">
                    <a:moveTo>
                      <a:pt x="88" y="52"/>
                    </a:moveTo>
                    <a:lnTo>
                      <a:pt x="88" y="52"/>
                    </a:lnTo>
                    <a:lnTo>
                      <a:pt x="89" y="51"/>
                    </a:lnTo>
                    <a:lnTo>
                      <a:pt x="90" y="49"/>
                    </a:lnTo>
                    <a:lnTo>
                      <a:pt x="90" y="46"/>
                    </a:lnTo>
                    <a:lnTo>
                      <a:pt x="90" y="34"/>
                    </a:lnTo>
                    <a:lnTo>
                      <a:pt x="88" y="18"/>
                    </a:lnTo>
                    <a:lnTo>
                      <a:pt x="88" y="18"/>
                    </a:lnTo>
                    <a:lnTo>
                      <a:pt x="78" y="11"/>
                    </a:lnTo>
                    <a:lnTo>
                      <a:pt x="70" y="7"/>
                    </a:lnTo>
                    <a:lnTo>
                      <a:pt x="70" y="7"/>
                    </a:lnTo>
                    <a:lnTo>
                      <a:pt x="21" y="7"/>
                    </a:lnTo>
                    <a:lnTo>
                      <a:pt x="21" y="7"/>
                    </a:lnTo>
                    <a:lnTo>
                      <a:pt x="21" y="7"/>
                    </a:lnTo>
                    <a:lnTo>
                      <a:pt x="17" y="6"/>
                    </a:lnTo>
                    <a:lnTo>
                      <a:pt x="11" y="3"/>
                    </a:lnTo>
                    <a:lnTo>
                      <a:pt x="6" y="2"/>
                    </a:lnTo>
                    <a:lnTo>
                      <a:pt x="3" y="0"/>
                    </a:lnTo>
                    <a:lnTo>
                      <a:pt x="3" y="0"/>
                    </a:lnTo>
                    <a:lnTo>
                      <a:pt x="0" y="5"/>
                    </a:lnTo>
                    <a:lnTo>
                      <a:pt x="0" y="7"/>
                    </a:lnTo>
                    <a:lnTo>
                      <a:pt x="0" y="15"/>
                    </a:lnTo>
                    <a:lnTo>
                      <a:pt x="0" y="15"/>
                    </a:lnTo>
                    <a:lnTo>
                      <a:pt x="1" y="21"/>
                    </a:lnTo>
                    <a:lnTo>
                      <a:pt x="1" y="25"/>
                    </a:lnTo>
                    <a:lnTo>
                      <a:pt x="3" y="29"/>
                    </a:lnTo>
                    <a:lnTo>
                      <a:pt x="5" y="32"/>
                    </a:lnTo>
                    <a:lnTo>
                      <a:pt x="8" y="34"/>
                    </a:lnTo>
                    <a:lnTo>
                      <a:pt x="11" y="37"/>
                    </a:lnTo>
                    <a:lnTo>
                      <a:pt x="18" y="38"/>
                    </a:lnTo>
                    <a:lnTo>
                      <a:pt x="26" y="39"/>
                    </a:lnTo>
                    <a:lnTo>
                      <a:pt x="35" y="38"/>
                    </a:lnTo>
                    <a:lnTo>
                      <a:pt x="55" y="37"/>
                    </a:lnTo>
                    <a:lnTo>
                      <a:pt x="55" y="37"/>
                    </a:lnTo>
                    <a:lnTo>
                      <a:pt x="70" y="37"/>
                    </a:lnTo>
                    <a:lnTo>
                      <a:pt x="70" y="37"/>
                    </a:lnTo>
                    <a:lnTo>
                      <a:pt x="71" y="42"/>
                    </a:lnTo>
                    <a:lnTo>
                      <a:pt x="74" y="47"/>
                    </a:lnTo>
                    <a:lnTo>
                      <a:pt x="80" y="51"/>
                    </a:lnTo>
                    <a:lnTo>
                      <a:pt x="88" y="52"/>
                    </a:lnTo>
                    <a:lnTo>
                      <a:pt x="88" y="52"/>
                    </a:lnTo>
                    <a:lnTo>
                      <a:pt x="88" y="5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0" name="Freeform 35"/>
              <p:cNvSpPr>
                <a:spLocks noChangeAspect="1"/>
              </p:cNvSpPr>
              <p:nvPr/>
            </p:nvSpPr>
            <p:spPr bwMode="auto">
              <a:xfrm>
                <a:off x="3457978" y="1791624"/>
                <a:ext cx="120468" cy="64013"/>
              </a:xfrm>
              <a:custGeom>
                <a:avLst/>
                <a:gdLst/>
                <a:ahLst/>
                <a:cxnLst>
                  <a:cxn ang="0">
                    <a:pos x="74" y="47"/>
                  </a:cxn>
                  <a:cxn ang="0">
                    <a:pos x="67" y="45"/>
                  </a:cxn>
                  <a:cxn ang="0">
                    <a:pos x="56" y="35"/>
                  </a:cxn>
                  <a:cxn ang="0">
                    <a:pos x="49" y="34"/>
                  </a:cxn>
                  <a:cxn ang="0">
                    <a:pos x="46" y="34"/>
                  </a:cxn>
                  <a:cxn ang="0">
                    <a:pos x="40" y="38"/>
                  </a:cxn>
                  <a:cxn ang="0">
                    <a:pos x="30" y="44"/>
                  </a:cxn>
                  <a:cxn ang="0">
                    <a:pos x="27" y="44"/>
                  </a:cxn>
                  <a:cxn ang="0">
                    <a:pos x="14" y="43"/>
                  </a:cxn>
                  <a:cxn ang="0">
                    <a:pos x="8" y="37"/>
                  </a:cxn>
                  <a:cxn ang="0">
                    <a:pos x="6" y="39"/>
                  </a:cxn>
                  <a:cxn ang="0">
                    <a:pos x="2" y="50"/>
                  </a:cxn>
                  <a:cxn ang="0">
                    <a:pos x="0" y="62"/>
                  </a:cxn>
                  <a:cxn ang="0">
                    <a:pos x="2" y="76"/>
                  </a:cxn>
                  <a:cxn ang="0">
                    <a:pos x="3" y="85"/>
                  </a:cxn>
                  <a:cxn ang="0">
                    <a:pos x="7" y="90"/>
                  </a:cxn>
                  <a:cxn ang="0">
                    <a:pos x="15" y="92"/>
                  </a:cxn>
                  <a:cxn ang="0">
                    <a:pos x="23" y="91"/>
                  </a:cxn>
                  <a:cxn ang="0">
                    <a:pos x="35" y="85"/>
                  </a:cxn>
                  <a:cxn ang="0">
                    <a:pos x="46" y="74"/>
                  </a:cxn>
                  <a:cxn ang="0">
                    <a:pos x="52" y="70"/>
                  </a:cxn>
                  <a:cxn ang="0">
                    <a:pos x="56" y="72"/>
                  </a:cxn>
                  <a:cxn ang="0">
                    <a:pos x="64" y="76"/>
                  </a:cxn>
                  <a:cxn ang="0">
                    <a:pos x="67" y="77"/>
                  </a:cxn>
                  <a:cxn ang="0">
                    <a:pos x="72" y="75"/>
                  </a:cxn>
                  <a:cxn ang="0">
                    <a:pos x="82" y="65"/>
                  </a:cxn>
                  <a:cxn ang="0">
                    <a:pos x="89" y="62"/>
                  </a:cxn>
                  <a:cxn ang="0">
                    <a:pos x="119" y="62"/>
                  </a:cxn>
                  <a:cxn ang="0">
                    <a:pos x="133" y="62"/>
                  </a:cxn>
                  <a:cxn ang="0">
                    <a:pos x="141" y="61"/>
                  </a:cxn>
                  <a:cxn ang="0">
                    <a:pos x="145" y="57"/>
                  </a:cxn>
                  <a:cxn ang="0">
                    <a:pos x="151" y="44"/>
                  </a:cxn>
                  <a:cxn ang="0">
                    <a:pos x="151" y="37"/>
                  </a:cxn>
                  <a:cxn ang="0">
                    <a:pos x="145" y="36"/>
                  </a:cxn>
                  <a:cxn ang="0">
                    <a:pos x="135" y="34"/>
                  </a:cxn>
                  <a:cxn ang="0">
                    <a:pos x="133" y="29"/>
                  </a:cxn>
                  <a:cxn ang="0">
                    <a:pos x="134" y="18"/>
                  </a:cxn>
                  <a:cxn ang="0">
                    <a:pos x="135" y="9"/>
                  </a:cxn>
                  <a:cxn ang="0">
                    <a:pos x="133" y="0"/>
                  </a:cxn>
                  <a:cxn ang="0">
                    <a:pos x="122" y="0"/>
                  </a:cxn>
                  <a:cxn ang="0">
                    <a:pos x="114" y="3"/>
                  </a:cxn>
                  <a:cxn ang="0">
                    <a:pos x="109" y="7"/>
                  </a:cxn>
                  <a:cxn ang="0">
                    <a:pos x="98" y="24"/>
                  </a:cxn>
                  <a:cxn ang="0">
                    <a:pos x="88" y="41"/>
                  </a:cxn>
                  <a:cxn ang="0">
                    <a:pos x="82" y="45"/>
                  </a:cxn>
                  <a:cxn ang="0">
                    <a:pos x="74" y="47"/>
                  </a:cxn>
                  <a:cxn ang="0">
                    <a:pos x="74" y="47"/>
                  </a:cxn>
                </a:cxnLst>
                <a:rect l="0" t="0" r="r" b="b"/>
                <a:pathLst>
                  <a:path w="151" h="92">
                    <a:moveTo>
                      <a:pt x="74" y="47"/>
                    </a:moveTo>
                    <a:lnTo>
                      <a:pt x="74" y="47"/>
                    </a:lnTo>
                    <a:lnTo>
                      <a:pt x="71" y="47"/>
                    </a:lnTo>
                    <a:lnTo>
                      <a:pt x="67" y="45"/>
                    </a:lnTo>
                    <a:lnTo>
                      <a:pt x="61" y="41"/>
                    </a:lnTo>
                    <a:lnTo>
                      <a:pt x="56" y="35"/>
                    </a:lnTo>
                    <a:lnTo>
                      <a:pt x="53" y="34"/>
                    </a:lnTo>
                    <a:lnTo>
                      <a:pt x="49" y="34"/>
                    </a:lnTo>
                    <a:lnTo>
                      <a:pt x="49" y="34"/>
                    </a:lnTo>
                    <a:lnTo>
                      <a:pt x="46" y="34"/>
                    </a:lnTo>
                    <a:lnTo>
                      <a:pt x="44" y="35"/>
                    </a:lnTo>
                    <a:lnTo>
                      <a:pt x="40" y="38"/>
                    </a:lnTo>
                    <a:lnTo>
                      <a:pt x="34" y="43"/>
                    </a:lnTo>
                    <a:lnTo>
                      <a:pt x="30" y="44"/>
                    </a:lnTo>
                    <a:lnTo>
                      <a:pt x="27" y="44"/>
                    </a:lnTo>
                    <a:lnTo>
                      <a:pt x="27" y="44"/>
                    </a:lnTo>
                    <a:lnTo>
                      <a:pt x="20" y="44"/>
                    </a:lnTo>
                    <a:lnTo>
                      <a:pt x="14" y="43"/>
                    </a:lnTo>
                    <a:lnTo>
                      <a:pt x="11" y="41"/>
                    </a:lnTo>
                    <a:lnTo>
                      <a:pt x="8" y="37"/>
                    </a:lnTo>
                    <a:lnTo>
                      <a:pt x="8" y="37"/>
                    </a:lnTo>
                    <a:lnTo>
                      <a:pt x="6" y="39"/>
                    </a:lnTo>
                    <a:lnTo>
                      <a:pt x="4" y="43"/>
                    </a:lnTo>
                    <a:lnTo>
                      <a:pt x="2" y="50"/>
                    </a:lnTo>
                    <a:lnTo>
                      <a:pt x="0" y="57"/>
                    </a:lnTo>
                    <a:lnTo>
                      <a:pt x="0" y="62"/>
                    </a:lnTo>
                    <a:lnTo>
                      <a:pt x="0" y="62"/>
                    </a:lnTo>
                    <a:lnTo>
                      <a:pt x="2" y="76"/>
                    </a:lnTo>
                    <a:lnTo>
                      <a:pt x="2" y="82"/>
                    </a:lnTo>
                    <a:lnTo>
                      <a:pt x="3" y="85"/>
                    </a:lnTo>
                    <a:lnTo>
                      <a:pt x="4" y="89"/>
                    </a:lnTo>
                    <a:lnTo>
                      <a:pt x="7" y="90"/>
                    </a:lnTo>
                    <a:lnTo>
                      <a:pt x="11" y="91"/>
                    </a:lnTo>
                    <a:lnTo>
                      <a:pt x="15" y="92"/>
                    </a:lnTo>
                    <a:lnTo>
                      <a:pt x="15" y="92"/>
                    </a:lnTo>
                    <a:lnTo>
                      <a:pt x="23" y="91"/>
                    </a:lnTo>
                    <a:lnTo>
                      <a:pt x="29" y="89"/>
                    </a:lnTo>
                    <a:lnTo>
                      <a:pt x="35" y="85"/>
                    </a:lnTo>
                    <a:lnTo>
                      <a:pt x="40" y="81"/>
                    </a:lnTo>
                    <a:lnTo>
                      <a:pt x="46" y="74"/>
                    </a:lnTo>
                    <a:lnTo>
                      <a:pt x="50" y="72"/>
                    </a:lnTo>
                    <a:lnTo>
                      <a:pt x="52" y="70"/>
                    </a:lnTo>
                    <a:lnTo>
                      <a:pt x="52" y="70"/>
                    </a:lnTo>
                    <a:lnTo>
                      <a:pt x="56" y="72"/>
                    </a:lnTo>
                    <a:lnTo>
                      <a:pt x="60" y="74"/>
                    </a:lnTo>
                    <a:lnTo>
                      <a:pt x="64" y="76"/>
                    </a:lnTo>
                    <a:lnTo>
                      <a:pt x="67" y="77"/>
                    </a:lnTo>
                    <a:lnTo>
                      <a:pt x="67" y="77"/>
                    </a:lnTo>
                    <a:lnTo>
                      <a:pt x="69" y="76"/>
                    </a:lnTo>
                    <a:lnTo>
                      <a:pt x="72" y="75"/>
                    </a:lnTo>
                    <a:lnTo>
                      <a:pt x="76" y="69"/>
                    </a:lnTo>
                    <a:lnTo>
                      <a:pt x="82" y="65"/>
                    </a:lnTo>
                    <a:lnTo>
                      <a:pt x="86" y="64"/>
                    </a:lnTo>
                    <a:lnTo>
                      <a:pt x="89" y="62"/>
                    </a:lnTo>
                    <a:lnTo>
                      <a:pt x="89" y="62"/>
                    </a:lnTo>
                    <a:lnTo>
                      <a:pt x="119" y="62"/>
                    </a:lnTo>
                    <a:lnTo>
                      <a:pt x="119" y="62"/>
                    </a:lnTo>
                    <a:lnTo>
                      <a:pt x="133" y="62"/>
                    </a:lnTo>
                    <a:lnTo>
                      <a:pt x="137" y="62"/>
                    </a:lnTo>
                    <a:lnTo>
                      <a:pt x="141" y="61"/>
                    </a:lnTo>
                    <a:lnTo>
                      <a:pt x="143" y="60"/>
                    </a:lnTo>
                    <a:lnTo>
                      <a:pt x="145" y="57"/>
                    </a:lnTo>
                    <a:lnTo>
                      <a:pt x="151" y="44"/>
                    </a:lnTo>
                    <a:lnTo>
                      <a:pt x="151" y="44"/>
                    </a:lnTo>
                    <a:lnTo>
                      <a:pt x="151" y="37"/>
                    </a:lnTo>
                    <a:lnTo>
                      <a:pt x="151" y="37"/>
                    </a:lnTo>
                    <a:lnTo>
                      <a:pt x="151" y="37"/>
                    </a:lnTo>
                    <a:lnTo>
                      <a:pt x="145" y="36"/>
                    </a:lnTo>
                    <a:lnTo>
                      <a:pt x="140" y="36"/>
                    </a:lnTo>
                    <a:lnTo>
                      <a:pt x="135" y="34"/>
                    </a:lnTo>
                    <a:lnTo>
                      <a:pt x="134" y="31"/>
                    </a:lnTo>
                    <a:lnTo>
                      <a:pt x="133" y="29"/>
                    </a:lnTo>
                    <a:lnTo>
                      <a:pt x="133" y="29"/>
                    </a:lnTo>
                    <a:lnTo>
                      <a:pt x="134" y="18"/>
                    </a:lnTo>
                    <a:lnTo>
                      <a:pt x="134" y="13"/>
                    </a:lnTo>
                    <a:lnTo>
                      <a:pt x="135" y="9"/>
                    </a:lnTo>
                    <a:lnTo>
                      <a:pt x="133" y="0"/>
                    </a:lnTo>
                    <a:lnTo>
                      <a:pt x="133" y="0"/>
                    </a:lnTo>
                    <a:lnTo>
                      <a:pt x="122" y="0"/>
                    </a:lnTo>
                    <a:lnTo>
                      <a:pt x="122" y="0"/>
                    </a:lnTo>
                    <a:lnTo>
                      <a:pt x="118" y="0"/>
                    </a:lnTo>
                    <a:lnTo>
                      <a:pt x="114" y="3"/>
                    </a:lnTo>
                    <a:lnTo>
                      <a:pt x="111" y="5"/>
                    </a:lnTo>
                    <a:lnTo>
                      <a:pt x="109" y="7"/>
                    </a:lnTo>
                    <a:lnTo>
                      <a:pt x="103" y="15"/>
                    </a:lnTo>
                    <a:lnTo>
                      <a:pt x="98" y="24"/>
                    </a:lnTo>
                    <a:lnTo>
                      <a:pt x="94" y="32"/>
                    </a:lnTo>
                    <a:lnTo>
                      <a:pt x="88" y="41"/>
                    </a:lnTo>
                    <a:lnTo>
                      <a:pt x="86" y="43"/>
                    </a:lnTo>
                    <a:lnTo>
                      <a:pt x="82" y="45"/>
                    </a:lnTo>
                    <a:lnTo>
                      <a:pt x="79" y="47"/>
                    </a:lnTo>
                    <a:lnTo>
                      <a:pt x="74" y="47"/>
                    </a:lnTo>
                    <a:lnTo>
                      <a:pt x="74" y="47"/>
                    </a:lnTo>
                    <a:lnTo>
                      <a:pt x="74" y="4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1" name="Freeform 36"/>
              <p:cNvSpPr>
                <a:spLocks noChangeAspect="1"/>
              </p:cNvSpPr>
              <p:nvPr/>
            </p:nvSpPr>
            <p:spPr bwMode="auto">
              <a:xfrm>
                <a:off x="3562595" y="1872336"/>
                <a:ext cx="33287" cy="36181"/>
              </a:xfrm>
              <a:custGeom>
                <a:avLst/>
                <a:gdLst/>
                <a:ahLst/>
                <a:cxnLst>
                  <a:cxn ang="0">
                    <a:pos x="18" y="7"/>
                  </a:cxn>
                  <a:cxn ang="0">
                    <a:pos x="18" y="7"/>
                  </a:cxn>
                  <a:cxn ang="0">
                    <a:pos x="11" y="10"/>
                  </a:cxn>
                  <a:cxn ang="0">
                    <a:pos x="5" y="16"/>
                  </a:cxn>
                  <a:cxn ang="0">
                    <a:pos x="3" y="19"/>
                  </a:cxn>
                  <a:cxn ang="0">
                    <a:pos x="2" y="23"/>
                  </a:cxn>
                  <a:cxn ang="0">
                    <a:pos x="1" y="27"/>
                  </a:cxn>
                  <a:cxn ang="0">
                    <a:pos x="0" y="33"/>
                  </a:cxn>
                  <a:cxn ang="0">
                    <a:pos x="0" y="33"/>
                  </a:cxn>
                  <a:cxn ang="0">
                    <a:pos x="1" y="38"/>
                  </a:cxn>
                  <a:cxn ang="0">
                    <a:pos x="2" y="41"/>
                  </a:cxn>
                  <a:cxn ang="0">
                    <a:pos x="4" y="45"/>
                  </a:cxn>
                  <a:cxn ang="0">
                    <a:pos x="7" y="46"/>
                  </a:cxn>
                  <a:cxn ang="0">
                    <a:pos x="12" y="49"/>
                  </a:cxn>
                  <a:cxn ang="0">
                    <a:pos x="18" y="51"/>
                  </a:cxn>
                  <a:cxn ang="0">
                    <a:pos x="18" y="51"/>
                  </a:cxn>
                  <a:cxn ang="0">
                    <a:pos x="26" y="51"/>
                  </a:cxn>
                  <a:cxn ang="0">
                    <a:pos x="26" y="51"/>
                  </a:cxn>
                  <a:cxn ang="0">
                    <a:pos x="26" y="51"/>
                  </a:cxn>
                  <a:cxn ang="0">
                    <a:pos x="26" y="45"/>
                  </a:cxn>
                  <a:cxn ang="0">
                    <a:pos x="29" y="38"/>
                  </a:cxn>
                  <a:cxn ang="0">
                    <a:pos x="33" y="25"/>
                  </a:cxn>
                  <a:cxn ang="0">
                    <a:pos x="39" y="12"/>
                  </a:cxn>
                  <a:cxn ang="0">
                    <a:pos x="40" y="8"/>
                  </a:cxn>
                  <a:cxn ang="0">
                    <a:pos x="41" y="3"/>
                  </a:cxn>
                  <a:cxn ang="0">
                    <a:pos x="41" y="3"/>
                  </a:cxn>
                  <a:cxn ang="0">
                    <a:pos x="38" y="3"/>
                  </a:cxn>
                  <a:cxn ang="0">
                    <a:pos x="35" y="2"/>
                  </a:cxn>
                  <a:cxn ang="0">
                    <a:pos x="32" y="1"/>
                  </a:cxn>
                  <a:cxn ang="0">
                    <a:pos x="30" y="0"/>
                  </a:cxn>
                  <a:cxn ang="0">
                    <a:pos x="30" y="0"/>
                  </a:cxn>
                  <a:cxn ang="0">
                    <a:pos x="25" y="2"/>
                  </a:cxn>
                  <a:cxn ang="0">
                    <a:pos x="18" y="7"/>
                  </a:cxn>
                  <a:cxn ang="0">
                    <a:pos x="18" y="7"/>
                  </a:cxn>
                  <a:cxn ang="0">
                    <a:pos x="18" y="7"/>
                  </a:cxn>
                </a:cxnLst>
                <a:rect l="0" t="0" r="r" b="b"/>
                <a:pathLst>
                  <a:path w="41" h="51">
                    <a:moveTo>
                      <a:pt x="18" y="7"/>
                    </a:moveTo>
                    <a:lnTo>
                      <a:pt x="18" y="7"/>
                    </a:lnTo>
                    <a:lnTo>
                      <a:pt x="11" y="10"/>
                    </a:lnTo>
                    <a:lnTo>
                      <a:pt x="5" y="16"/>
                    </a:lnTo>
                    <a:lnTo>
                      <a:pt x="3" y="19"/>
                    </a:lnTo>
                    <a:lnTo>
                      <a:pt x="2" y="23"/>
                    </a:lnTo>
                    <a:lnTo>
                      <a:pt x="1" y="27"/>
                    </a:lnTo>
                    <a:lnTo>
                      <a:pt x="0" y="33"/>
                    </a:lnTo>
                    <a:lnTo>
                      <a:pt x="0" y="33"/>
                    </a:lnTo>
                    <a:lnTo>
                      <a:pt x="1" y="38"/>
                    </a:lnTo>
                    <a:lnTo>
                      <a:pt x="2" y="41"/>
                    </a:lnTo>
                    <a:lnTo>
                      <a:pt x="4" y="45"/>
                    </a:lnTo>
                    <a:lnTo>
                      <a:pt x="7" y="46"/>
                    </a:lnTo>
                    <a:lnTo>
                      <a:pt x="12" y="49"/>
                    </a:lnTo>
                    <a:lnTo>
                      <a:pt x="18" y="51"/>
                    </a:lnTo>
                    <a:lnTo>
                      <a:pt x="18" y="51"/>
                    </a:lnTo>
                    <a:lnTo>
                      <a:pt x="26" y="51"/>
                    </a:lnTo>
                    <a:lnTo>
                      <a:pt x="26" y="51"/>
                    </a:lnTo>
                    <a:lnTo>
                      <a:pt x="26" y="51"/>
                    </a:lnTo>
                    <a:lnTo>
                      <a:pt x="26" y="45"/>
                    </a:lnTo>
                    <a:lnTo>
                      <a:pt x="29" y="38"/>
                    </a:lnTo>
                    <a:lnTo>
                      <a:pt x="33" y="25"/>
                    </a:lnTo>
                    <a:lnTo>
                      <a:pt x="39" y="12"/>
                    </a:lnTo>
                    <a:lnTo>
                      <a:pt x="40" y="8"/>
                    </a:lnTo>
                    <a:lnTo>
                      <a:pt x="41" y="3"/>
                    </a:lnTo>
                    <a:lnTo>
                      <a:pt x="41" y="3"/>
                    </a:lnTo>
                    <a:lnTo>
                      <a:pt x="38" y="3"/>
                    </a:lnTo>
                    <a:lnTo>
                      <a:pt x="35" y="2"/>
                    </a:lnTo>
                    <a:lnTo>
                      <a:pt x="32" y="1"/>
                    </a:lnTo>
                    <a:lnTo>
                      <a:pt x="30" y="0"/>
                    </a:lnTo>
                    <a:lnTo>
                      <a:pt x="30" y="0"/>
                    </a:lnTo>
                    <a:lnTo>
                      <a:pt x="25" y="2"/>
                    </a:lnTo>
                    <a:lnTo>
                      <a:pt x="18" y="7"/>
                    </a:lnTo>
                    <a:lnTo>
                      <a:pt x="18" y="7"/>
                    </a:lnTo>
                    <a:lnTo>
                      <a:pt x="18" y="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2" name="Freeform 37"/>
              <p:cNvSpPr>
                <a:spLocks noChangeAspect="1"/>
              </p:cNvSpPr>
              <p:nvPr/>
            </p:nvSpPr>
            <p:spPr bwMode="auto">
              <a:xfrm>
                <a:off x="3803531" y="1890426"/>
                <a:ext cx="61819" cy="45922"/>
              </a:xfrm>
              <a:custGeom>
                <a:avLst/>
                <a:gdLst/>
                <a:ahLst/>
                <a:cxnLst>
                  <a:cxn ang="0">
                    <a:pos x="54" y="0"/>
                  </a:cxn>
                  <a:cxn ang="0">
                    <a:pos x="54" y="18"/>
                  </a:cxn>
                  <a:cxn ang="0">
                    <a:pos x="54" y="18"/>
                  </a:cxn>
                  <a:cxn ang="0">
                    <a:pos x="54" y="18"/>
                  </a:cxn>
                  <a:cxn ang="0">
                    <a:pos x="53" y="22"/>
                  </a:cxn>
                  <a:cxn ang="0">
                    <a:pos x="51" y="24"/>
                  </a:cxn>
                  <a:cxn ang="0">
                    <a:pos x="48" y="25"/>
                  </a:cxn>
                  <a:cxn ang="0">
                    <a:pos x="44" y="26"/>
                  </a:cxn>
                  <a:cxn ang="0">
                    <a:pos x="36" y="28"/>
                  </a:cxn>
                  <a:cxn ang="0">
                    <a:pos x="26" y="29"/>
                  </a:cxn>
                  <a:cxn ang="0">
                    <a:pos x="16" y="29"/>
                  </a:cxn>
                  <a:cxn ang="0">
                    <a:pos x="7" y="31"/>
                  </a:cxn>
                  <a:cxn ang="0">
                    <a:pos x="5" y="32"/>
                  </a:cxn>
                  <a:cxn ang="0">
                    <a:pos x="2" y="34"/>
                  </a:cxn>
                  <a:cxn ang="0">
                    <a:pos x="0" y="37"/>
                  </a:cxn>
                  <a:cxn ang="0">
                    <a:pos x="0" y="40"/>
                  </a:cxn>
                  <a:cxn ang="0">
                    <a:pos x="0" y="40"/>
                  </a:cxn>
                  <a:cxn ang="0">
                    <a:pos x="0" y="48"/>
                  </a:cxn>
                  <a:cxn ang="0">
                    <a:pos x="3" y="54"/>
                  </a:cxn>
                  <a:cxn ang="0">
                    <a:pos x="5" y="59"/>
                  </a:cxn>
                  <a:cxn ang="0">
                    <a:pos x="8" y="62"/>
                  </a:cxn>
                  <a:cxn ang="0">
                    <a:pos x="13" y="64"/>
                  </a:cxn>
                  <a:cxn ang="0">
                    <a:pos x="19" y="66"/>
                  </a:cxn>
                  <a:cxn ang="0">
                    <a:pos x="29" y="67"/>
                  </a:cxn>
                  <a:cxn ang="0">
                    <a:pos x="29" y="67"/>
                  </a:cxn>
                  <a:cxn ang="0">
                    <a:pos x="43" y="66"/>
                  </a:cxn>
                  <a:cxn ang="0">
                    <a:pos x="54" y="63"/>
                  </a:cxn>
                  <a:cxn ang="0">
                    <a:pos x="63" y="59"/>
                  </a:cxn>
                  <a:cxn ang="0">
                    <a:pos x="69" y="53"/>
                  </a:cxn>
                  <a:cxn ang="0">
                    <a:pos x="75" y="46"/>
                  </a:cxn>
                  <a:cxn ang="0">
                    <a:pos x="77" y="37"/>
                  </a:cxn>
                  <a:cxn ang="0">
                    <a:pos x="80" y="26"/>
                  </a:cxn>
                  <a:cxn ang="0">
                    <a:pos x="80" y="15"/>
                  </a:cxn>
                  <a:cxn ang="0">
                    <a:pos x="80" y="15"/>
                  </a:cxn>
                  <a:cxn ang="0">
                    <a:pos x="80" y="10"/>
                  </a:cxn>
                  <a:cxn ang="0">
                    <a:pos x="77" y="6"/>
                  </a:cxn>
                  <a:cxn ang="0">
                    <a:pos x="75" y="3"/>
                  </a:cxn>
                  <a:cxn ang="0">
                    <a:pos x="72" y="2"/>
                  </a:cxn>
                  <a:cxn ang="0">
                    <a:pos x="64" y="0"/>
                  </a:cxn>
                  <a:cxn ang="0">
                    <a:pos x="54" y="0"/>
                  </a:cxn>
                  <a:cxn ang="0">
                    <a:pos x="54" y="0"/>
                  </a:cxn>
                  <a:cxn ang="0">
                    <a:pos x="54" y="0"/>
                  </a:cxn>
                </a:cxnLst>
                <a:rect l="0" t="0" r="r" b="b"/>
                <a:pathLst>
                  <a:path w="80" h="67">
                    <a:moveTo>
                      <a:pt x="54" y="0"/>
                    </a:moveTo>
                    <a:lnTo>
                      <a:pt x="54" y="18"/>
                    </a:lnTo>
                    <a:lnTo>
                      <a:pt x="54" y="18"/>
                    </a:lnTo>
                    <a:lnTo>
                      <a:pt x="54" y="18"/>
                    </a:lnTo>
                    <a:lnTo>
                      <a:pt x="53" y="22"/>
                    </a:lnTo>
                    <a:lnTo>
                      <a:pt x="51" y="24"/>
                    </a:lnTo>
                    <a:lnTo>
                      <a:pt x="48" y="25"/>
                    </a:lnTo>
                    <a:lnTo>
                      <a:pt x="44" y="26"/>
                    </a:lnTo>
                    <a:lnTo>
                      <a:pt x="36" y="28"/>
                    </a:lnTo>
                    <a:lnTo>
                      <a:pt x="26" y="29"/>
                    </a:lnTo>
                    <a:lnTo>
                      <a:pt x="16" y="29"/>
                    </a:lnTo>
                    <a:lnTo>
                      <a:pt x="7" y="31"/>
                    </a:lnTo>
                    <a:lnTo>
                      <a:pt x="5" y="32"/>
                    </a:lnTo>
                    <a:lnTo>
                      <a:pt x="2" y="34"/>
                    </a:lnTo>
                    <a:lnTo>
                      <a:pt x="0" y="37"/>
                    </a:lnTo>
                    <a:lnTo>
                      <a:pt x="0" y="40"/>
                    </a:lnTo>
                    <a:lnTo>
                      <a:pt x="0" y="40"/>
                    </a:lnTo>
                    <a:lnTo>
                      <a:pt x="0" y="48"/>
                    </a:lnTo>
                    <a:lnTo>
                      <a:pt x="3" y="54"/>
                    </a:lnTo>
                    <a:lnTo>
                      <a:pt x="5" y="59"/>
                    </a:lnTo>
                    <a:lnTo>
                      <a:pt x="8" y="62"/>
                    </a:lnTo>
                    <a:lnTo>
                      <a:pt x="13" y="64"/>
                    </a:lnTo>
                    <a:lnTo>
                      <a:pt x="19" y="66"/>
                    </a:lnTo>
                    <a:lnTo>
                      <a:pt x="29" y="67"/>
                    </a:lnTo>
                    <a:lnTo>
                      <a:pt x="29" y="67"/>
                    </a:lnTo>
                    <a:lnTo>
                      <a:pt x="43" y="66"/>
                    </a:lnTo>
                    <a:lnTo>
                      <a:pt x="54" y="63"/>
                    </a:lnTo>
                    <a:lnTo>
                      <a:pt x="63" y="59"/>
                    </a:lnTo>
                    <a:lnTo>
                      <a:pt x="69" y="53"/>
                    </a:lnTo>
                    <a:lnTo>
                      <a:pt x="75" y="46"/>
                    </a:lnTo>
                    <a:lnTo>
                      <a:pt x="77" y="37"/>
                    </a:lnTo>
                    <a:lnTo>
                      <a:pt x="80" y="26"/>
                    </a:lnTo>
                    <a:lnTo>
                      <a:pt x="80" y="15"/>
                    </a:lnTo>
                    <a:lnTo>
                      <a:pt x="80" y="15"/>
                    </a:lnTo>
                    <a:lnTo>
                      <a:pt x="80" y="10"/>
                    </a:lnTo>
                    <a:lnTo>
                      <a:pt x="77" y="6"/>
                    </a:lnTo>
                    <a:lnTo>
                      <a:pt x="75" y="3"/>
                    </a:lnTo>
                    <a:lnTo>
                      <a:pt x="72" y="2"/>
                    </a:lnTo>
                    <a:lnTo>
                      <a:pt x="64" y="0"/>
                    </a:lnTo>
                    <a:lnTo>
                      <a:pt x="54" y="0"/>
                    </a:lnTo>
                    <a:lnTo>
                      <a:pt x="54" y="0"/>
                    </a:lnTo>
                    <a:lnTo>
                      <a:pt x="54"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3" name="Freeform 38"/>
              <p:cNvSpPr>
                <a:spLocks noChangeAspect="1"/>
              </p:cNvSpPr>
              <p:nvPr/>
            </p:nvSpPr>
            <p:spPr bwMode="auto">
              <a:xfrm>
                <a:off x="3717936" y="1895993"/>
                <a:ext cx="69745" cy="55664"/>
              </a:xfrm>
              <a:custGeom>
                <a:avLst/>
                <a:gdLst/>
                <a:ahLst/>
                <a:cxnLst>
                  <a:cxn ang="0">
                    <a:pos x="42" y="81"/>
                  </a:cxn>
                  <a:cxn ang="0">
                    <a:pos x="42" y="81"/>
                  </a:cxn>
                  <a:cxn ang="0">
                    <a:pos x="34" y="79"/>
                  </a:cxn>
                  <a:cxn ang="0">
                    <a:pos x="26" y="78"/>
                  </a:cxn>
                  <a:cxn ang="0">
                    <a:pos x="19" y="76"/>
                  </a:cxn>
                  <a:cxn ang="0">
                    <a:pos x="13" y="73"/>
                  </a:cxn>
                  <a:cxn ang="0">
                    <a:pos x="8" y="68"/>
                  </a:cxn>
                  <a:cxn ang="0">
                    <a:pos x="4" y="63"/>
                  </a:cxn>
                  <a:cxn ang="0">
                    <a:pos x="1" y="58"/>
                  </a:cxn>
                  <a:cxn ang="0">
                    <a:pos x="0" y="51"/>
                  </a:cxn>
                  <a:cxn ang="0">
                    <a:pos x="0" y="51"/>
                  </a:cxn>
                  <a:cxn ang="0">
                    <a:pos x="1" y="46"/>
                  </a:cxn>
                  <a:cxn ang="0">
                    <a:pos x="4" y="38"/>
                  </a:cxn>
                  <a:cxn ang="0">
                    <a:pos x="9" y="21"/>
                  </a:cxn>
                  <a:cxn ang="0">
                    <a:pos x="14" y="13"/>
                  </a:cxn>
                  <a:cxn ang="0">
                    <a:pos x="17" y="6"/>
                  </a:cxn>
                  <a:cxn ang="0">
                    <a:pos x="22" y="1"/>
                  </a:cxn>
                  <a:cxn ang="0">
                    <a:pos x="24" y="0"/>
                  </a:cxn>
                  <a:cxn ang="0">
                    <a:pos x="27" y="0"/>
                  </a:cxn>
                  <a:cxn ang="0">
                    <a:pos x="27" y="0"/>
                  </a:cxn>
                  <a:cxn ang="0">
                    <a:pos x="31" y="1"/>
                  </a:cxn>
                  <a:cxn ang="0">
                    <a:pos x="36" y="3"/>
                  </a:cxn>
                  <a:cxn ang="0">
                    <a:pos x="40" y="6"/>
                  </a:cxn>
                  <a:cxn ang="0">
                    <a:pos x="45" y="7"/>
                  </a:cxn>
                  <a:cxn ang="0">
                    <a:pos x="45" y="7"/>
                  </a:cxn>
                  <a:cxn ang="0">
                    <a:pos x="47" y="13"/>
                  </a:cxn>
                  <a:cxn ang="0">
                    <a:pos x="51" y="16"/>
                  </a:cxn>
                  <a:cxn ang="0">
                    <a:pos x="55" y="17"/>
                  </a:cxn>
                  <a:cxn ang="0">
                    <a:pos x="61" y="17"/>
                  </a:cxn>
                  <a:cxn ang="0">
                    <a:pos x="74" y="16"/>
                  </a:cxn>
                  <a:cxn ang="0">
                    <a:pos x="85" y="14"/>
                  </a:cxn>
                  <a:cxn ang="0">
                    <a:pos x="85" y="14"/>
                  </a:cxn>
                  <a:cxn ang="0">
                    <a:pos x="89" y="30"/>
                  </a:cxn>
                  <a:cxn ang="0">
                    <a:pos x="89" y="44"/>
                  </a:cxn>
                  <a:cxn ang="0">
                    <a:pos x="88" y="50"/>
                  </a:cxn>
                  <a:cxn ang="0">
                    <a:pos x="87" y="54"/>
                  </a:cxn>
                  <a:cxn ang="0">
                    <a:pos x="84" y="60"/>
                  </a:cxn>
                  <a:cxn ang="0">
                    <a:pos x="82" y="63"/>
                  </a:cxn>
                  <a:cxn ang="0">
                    <a:pos x="78" y="68"/>
                  </a:cxn>
                  <a:cxn ang="0">
                    <a:pos x="75" y="71"/>
                  </a:cxn>
                  <a:cxn ang="0">
                    <a:pos x="70" y="74"/>
                  </a:cxn>
                  <a:cxn ang="0">
                    <a:pos x="66" y="76"/>
                  </a:cxn>
                  <a:cxn ang="0">
                    <a:pos x="54" y="79"/>
                  </a:cxn>
                  <a:cxn ang="0">
                    <a:pos x="42" y="81"/>
                  </a:cxn>
                  <a:cxn ang="0">
                    <a:pos x="42" y="81"/>
                  </a:cxn>
                  <a:cxn ang="0">
                    <a:pos x="42" y="81"/>
                  </a:cxn>
                </a:cxnLst>
                <a:rect l="0" t="0" r="r" b="b"/>
                <a:pathLst>
                  <a:path w="89" h="81">
                    <a:moveTo>
                      <a:pt x="42" y="81"/>
                    </a:moveTo>
                    <a:lnTo>
                      <a:pt x="42" y="81"/>
                    </a:lnTo>
                    <a:lnTo>
                      <a:pt x="34" y="79"/>
                    </a:lnTo>
                    <a:lnTo>
                      <a:pt x="26" y="78"/>
                    </a:lnTo>
                    <a:lnTo>
                      <a:pt x="19" y="76"/>
                    </a:lnTo>
                    <a:lnTo>
                      <a:pt x="13" y="73"/>
                    </a:lnTo>
                    <a:lnTo>
                      <a:pt x="8" y="68"/>
                    </a:lnTo>
                    <a:lnTo>
                      <a:pt x="4" y="63"/>
                    </a:lnTo>
                    <a:lnTo>
                      <a:pt x="1" y="58"/>
                    </a:lnTo>
                    <a:lnTo>
                      <a:pt x="0" y="51"/>
                    </a:lnTo>
                    <a:lnTo>
                      <a:pt x="0" y="51"/>
                    </a:lnTo>
                    <a:lnTo>
                      <a:pt x="1" y="46"/>
                    </a:lnTo>
                    <a:lnTo>
                      <a:pt x="4" y="38"/>
                    </a:lnTo>
                    <a:lnTo>
                      <a:pt x="9" y="21"/>
                    </a:lnTo>
                    <a:lnTo>
                      <a:pt x="14" y="13"/>
                    </a:lnTo>
                    <a:lnTo>
                      <a:pt x="17" y="6"/>
                    </a:lnTo>
                    <a:lnTo>
                      <a:pt x="22" y="1"/>
                    </a:lnTo>
                    <a:lnTo>
                      <a:pt x="24" y="0"/>
                    </a:lnTo>
                    <a:lnTo>
                      <a:pt x="27" y="0"/>
                    </a:lnTo>
                    <a:lnTo>
                      <a:pt x="27" y="0"/>
                    </a:lnTo>
                    <a:lnTo>
                      <a:pt x="31" y="1"/>
                    </a:lnTo>
                    <a:lnTo>
                      <a:pt x="36" y="3"/>
                    </a:lnTo>
                    <a:lnTo>
                      <a:pt x="40" y="6"/>
                    </a:lnTo>
                    <a:lnTo>
                      <a:pt x="45" y="7"/>
                    </a:lnTo>
                    <a:lnTo>
                      <a:pt x="45" y="7"/>
                    </a:lnTo>
                    <a:lnTo>
                      <a:pt x="47" y="13"/>
                    </a:lnTo>
                    <a:lnTo>
                      <a:pt x="51" y="16"/>
                    </a:lnTo>
                    <a:lnTo>
                      <a:pt x="55" y="17"/>
                    </a:lnTo>
                    <a:lnTo>
                      <a:pt x="61" y="17"/>
                    </a:lnTo>
                    <a:lnTo>
                      <a:pt x="74" y="16"/>
                    </a:lnTo>
                    <a:lnTo>
                      <a:pt x="85" y="14"/>
                    </a:lnTo>
                    <a:lnTo>
                      <a:pt x="85" y="14"/>
                    </a:lnTo>
                    <a:lnTo>
                      <a:pt x="89" y="30"/>
                    </a:lnTo>
                    <a:lnTo>
                      <a:pt x="89" y="44"/>
                    </a:lnTo>
                    <a:lnTo>
                      <a:pt x="88" y="50"/>
                    </a:lnTo>
                    <a:lnTo>
                      <a:pt x="87" y="54"/>
                    </a:lnTo>
                    <a:lnTo>
                      <a:pt x="84" y="60"/>
                    </a:lnTo>
                    <a:lnTo>
                      <a:pt x="82" y="63"/>
                    </a:lnTo>
                    <a:lnTo>
                      <a:pt x="78" y="68"/>
                    </a:lnTo>
                    <a:lnTo>
                      <a:pt x="75" y="71"/>
                    </a:lnTo>
                    <a:lnTo>
                      <a:pt x="70" y="74"/>
                    </a:lnTo>
                    <a:lnTo>
                      <a:pt x="66" y="76"/>
                    </a:lnTo>
                    <a:lnTo>
                      <a:pt x="54" y="79"/>
                    </a:lnTo>
                    <a:lnTo>
                      <a:pt x="42" y="81"/>
                    </a:lnTo>
                    <a:lnTo>
                      <a:pt x="42" y="81"/>
                    </a:lnTo>
                    <a:lnTo>
                      <a:pt x="42" y="8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4" name="Freeform 39"/>
              <p:cNvSpPr>
                <a:spLocks noChangeAspect="1"/>
              </p:cNvSpPr>
              <p:nvPr/>
            </p:nvSpPr>
            <p:spPr bwMode="auto">
              <a:xfrm>
                <a:off x="3652947" y="1915475"/>
                <a:ext cx="50723" cy="43139"/>
              </a:xfrm>
              <a:custGeom>
                <a:avLst/>
                <a:gdLst/>
                <a:ahLst/>
                <a:cxnLst>
                  <a:cxn ang="0">
                    <a:pos x="56" y="11"/>
                  </a:cxn>
                  <a:cxn ang="0">
                    <a:pos x="56" y="11"/>
                  </a:cxn>
                  <a:cxn ang="0">
                    <a:pos x="53" y="11"/>
                  </a:cxn>
                  <a:cxn ang="0">
                    <a:pos x="51" y="9"/>
                  </a:cxn>
                  <a:cxn ang="0">
                    <a:pos x="48" y="6"/>
                  </a:cxn>
                  <a:cxn ang="0">
                    <a:pos x="45" y="2"/>
                  </a:cxn>
                  <a:cxn ang="0">
                    <a:pos x="43" y="1"/>
                  </a:cxn>
                  <a:cxn ang="0">
                    <a:pos x="41" y="0"/>
                  </a:cxn>
                  <a:cxn ang="0">
                    <a:pos x="41" y="0"/>
                  </a:cxn>
                  <a:cxn ang="0">
                    <a:pos x="38" y="1"/>
                  </a:cxn>
                  <a:cxn ang="0">
                    <a:pos x="34" y="2"/>
                  </a:cxn>
                  <a:cxn ang="0">
                    <a:pos x="26" y="6"/>
                  </a:cxn>
                  <a:cxn ang="0">
                    <a:pos x="19" y="11"/>
                  </a:cxn>
                  <a:cxn ang="0">
                    <a:pos x="13" y="18"/>
                  </a:cxn>
                  <a:cxn ang="0">
                    <a:pos x="8" y="25"/>
                  </a:cxn>
                  <a:cxn ang="0">
                    <a:pos x="4" y="32"/>
                  </a:cxn>
                  <a:cxn ang="0">
                    <a:pos x="1" y="39"/>
                  </a:cxn>
                  <a:cxn ang="0">
                    <a:pos x="0" y="45"/>
                  </a:cxn>
                  <a:cxn ang="0">
                    <a:pos x="0" y="45"/>
                  </a:cxn>
                  <a:cxn ang="0">
                    <a:pos x="1" y="50"/>
                  </a:cxn>
                  <a:cxn ang="0">
                    <a:pos x="3" y="56"/>
                  </a:cxn>
                  <a:cxn ang="0">
                    <a:pos x="7" y="61"/>
                  </a:cxn>
                  <a:cxn ang="0">
                    <a:pos x="9" y="62"/>
                  </a:cxn>
                  <a:cxn ang="0">
                    <a:pos x="11" y="62"/>
                  </a:cxn>
                  <a:cxn ang="0">
                    <a:pos x="11" y="62"/>
                  </a:cxn>
                  <a:cxn ang="0">
                    <a:pos x="18" y="62"/>
                  </a:cxn>
                  <a:cxn ang="0">
                    <a:pos x="24" y="58"/>
                  </a:cxn>
                  <a:cxn ang="0">
                    <a:pos x="28" y="55"/>
                  </a:cxn>
                  <a:cxn ang="0">
                    <a:pos x="33" y="52"/>
                  </a:cxn>
                  <a:cxn ang="0">
                    <a:pos x="38" y="48"/>
                  </a:cxn>
                  <a:cxn ang="0">
                    <a:pos x="43" y="44"/>
                  </a:cxn>
                  <a:cxn ang="0">
                    <a:pos x="49" y="41"/>
                  </a:cxn>
                  <a:cxn ang="0">
                    <a:pos x="56" y="41"/>
                  </a:cxn>
                  <a:cxn ang="0">
                    <a:pos x="56" y="41"/>
                  </a:cxn>
                  <a:cxn ang="0">
                    <a:pos x="58" y="39"/>
                  </a:cxn>
                  <a:cxn ang="0">
                    <a:pos x="61" y="37"/>
                  </a:cxn>
                  <a:cxn ang="0">
                    <a:pos x="62" y="33"/>
                  </a:cxn>
                  <a:cxn ang="0">
                    <a:pos x="63" y="30"/>
                  </a:cxn>
                  <a:cxn ang="0">
                    <a:pos x="63" y="30"/>
                  </a:cxn>
                  <a:cxn ang="0">
                    <a:pos x="63" y="11"/>
                  </a:cxn>
                  <a:cxn ang="0">
                    <a:pos x="63" y="11"/>
                  </a:cxn>
                  <a:cxn ang="0">
                    <a:pos x="56" y="11"/>
                  </a:cxn>
                  <a:cxn ang="0">
                    <a:pos x="56" y="11"/>
                  </a:cxn>
                  <a:cxn ang="0">
                    <a:pos x="56" y="11"/>
                  </a:cxn>
                </a:cxnLst>
                <a:rect l="0" t="0" r="r" b="b"/>
                <a:pathLst>
                  <a:path w="63" h="62">
                    <a:moveTo>
                      <a:pt x="56" y="11"/>
                    </a:moveTo>
                    <a:lnTo>
                      <a:pt x="56" y="11"/>
                    </a:lnTo>
                    <a:lnTo>
                      <a:pt x="53" y="11"/>
                    </a:lnTo>
                    <a:lnTo>
                      <a:pt x="51" y="9"/>
                    </a:lnTo>
                    <a:lnTo>
                      <a:pt x="48" y="6"/>
                    </a:lnTo>
                    <a:lnTo>
                      <a:pt x="45" y="2"/>
                    </a:lnTo>
                    <a:lnTo>
                      <a:pt x="43" y="1"/>
                    </a:lnTo>
                    <a:lnTo>
                      <a:pt x="41" y="0"/>
                    </a:lnTo>
                    <a:lnTo>
                      <a:pt x="41" y="0"/>
                    </a:lnTo>
                    <a:lnTo>
                      <a:pt x="38" y="1"/>
                    </a:lnTo>
                    <a:lnTo>
                      <a:pt x="34" y="2"/>
                    </a:lnTo>
                    <a:lnTo>
                      <a:pt x="26" y="6"/>
                    </a:lnTo>
                    <a:lnTo>
                      <a:pt x="19" y="11"/>
                    </a:lnTo>
                    <a:lnTo>
                      <a:pt x="13" y="18"/>
                    </a:lnTo>
                    <a:lnTo>
                      <a:pt x="8" y="25"/>
                    </a:lnTo>
                    <a:lnTo>
                      <a:pt x="4" y="32"/>
                    </a:lnTo>
                    <a:lnTo>
                      <a:pt x="1" y="39"/>
                    </a:lnTo>
                    <a:lnTo>
                      <a:pt x="0" y="45"/>
                    </a:lnTo>
                    <a:lnTo>
                      <a:pt x="0" y="45"/>
                    </a:lnTo>
                    <a:lnTo>
                      <a:pt x="1" y="50"/>
                    </a:lnTo>
                    <a:lnTo>
                      <a:pt x="3" y="56"/>
                    </a:lnTo>
                    <a:lnTo>
                      <a:pt x="7" y="61"/>
                    </a:lnTo>
                    <a:lnTo>
                      <a:pt x="9" y="62"/>
                    </a:lnTo>
                    <a:lnTo>
                      <a:pt x="11" y="62"/>
                    </a:lnTo>
                    <a:lnTo>
                      <a:pt x="11" y="62"/>
                    </a:lnTo>
                    <a:lnTo>
                      <a:pt x="18" y="62"/>
                    </a:lnTo>
                    <a:lnTo>
                      <a:pt x="24" y="58"/>
                    </a:lnTo>
                    <a:lnTo>
                      <a:pt x="28" y="55"/>
                    </a:lnTo>
                    <a:lnTo>
                      <a:pt x="33" y="52"/>
                    </a:lnTo>
                    <a:lnTo>
                      <a:pt x="38" y="48"/>
                    </a:lnTo>
                    <a:lnTo>
                      <a:pt x="43" y="44"/>
                    </a:lnTo>
                    <a:lnTo>
                      <a:pt x="49" y="41"/>
                    </a:lnTo>
                    <a:lnTo>
                      <a:pt x="56" y="41"/>
                    </a:lnTo>
                    <a:lnTo>
                      <a:pt x="56" y="41"/>
                    </a:lnTo>
                    <a:lnTo>
                      <a:pt x="58" y="39"/>
                    </a:lnTo>
                    <a:lnTo>
                      <a:pt x="61" y="37"/>
                    </a:lnTo>
                    <a:lnTo>
                      <a:pt x="62" y="33"/>
                    </a:lnTo>
                    <a:lnTo>
                      <a:pt x="63" y="30"/>
                    </a:lnTo>
                    <a:lnTo>
                      <a:pt x="63" y="30"/>
                    </a:lnTo>
                    <a:lnTo>
                      <a:pt x="63" y="11"/>
                    </a:lnTo>
                    <a:lnTo>
                      <a:pt x="63" y="11"/>
                    </a:lnTo>
                    <a:lnTo>
                      <a:pt x="56" y="11"/>
                    </a:lnTo>
                    <a:lnTo>
                      <a:pt x="56" y="11"/>
                    </a:lnTo>
                    <a:lnTo>
                      <a:pt x="56" y="1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5" name="Freeform 40"/>
              <p:cNvSpPr>
                <a:spLocks noChangeAspect="1"/>
              </p:cNvSpPr>
              <p:nvPr/>
            </p:nvSpPr>
            <p:spPr bwMode="auto">
              <a:xfrm>
                <a:off x="3621245" y="1915475"/>
                <a:ext cx="41213" cy="34790"/>
              </a:xfrm>
              <a:custGeom>
                <a:avLst/>
                <a:gdLst/>
                <a:ahLst/>
                <a:cxnLst>
                  <a:cxn ang="0">
                    <a:pos x="0" y="33"/>
                  </a:cxn>
                  <a:cxn ang="0">
                    <a:pos x="0" y="33"/>
                  </a:cxn>
                  <a:cxn ang="0">
                    <a:pos x="2" y="39"/>
                  </a:cxn>
                  <a:cxn ang="0">
                    <a:pos x="5" y="44"/>
                  </a:cxn>
                  <a:cxn ang="0">
                    <a:pos x="8" y="47"/>
                  </a:cxn>
                  <a:cxn ang="0">
                    <a:pos x="12" y="48"/>
                  </a:cxn>
                  <a:cxn ang="0">
                    <a:pos x="12" y="48"/>
                  </a:cxn>
                  <a:cxn ang="0">
                    <a:pos x="15" y="46"/>
                  </a:cxn>
                  <a:cxn ang="0">
                    <a:pos x="22" y="40"/>
                  </a:cxn>
                  <a:cxn ang="0">
                    <a:pos x="30" y="33"/>
                  </a:cxn>
                  <a:cxn ang="0">
                    <a:pos x="40" y="24"/>
                  </a:cxn>
                  <a:cxn ang="0">
                    <a:pos x="46" y="15"/>
                  </a:cxn>
                  <a:cxn ang="0">
                    <a:pos x="51" y="8"/>
                  </a:cxn>
                  <a:cxn ang="0">
                    <a:pos x="52" y="4"/>
                  </a:cxn>
                  <a:cxn ang="0">
                    <a:pos x="51" y="2"/>
                  </a:cxn>
                  <a:cxn ang="0">
                    <a:pos x="49" y="1"/>
                  </a:cxn>
                  <a:cxn ang="0">
                    <a:pos x="45" y="0"/>
                  </a:cxn>
                  <a:cxn ang="0">
                    <a:pos x="45" y="0"/>
                  </a:cxn>
                  <a:cxn ang="0">
                    <a:pos x="38" y="0"/>
                  </a:cxn>
                  <a:cxn ang="0">
                    <a:pos x="31" y="2"/>
                  </a:cxn>
                  <a:cxn ang="0">
                    <a:pos x="25" y="6"/>
                  </a:cxn>
                  <a:cxn ang="0">
                    <a:pos x="18" y="10"/>
                  </a:cxn>
                  <a:cxn ang="0">
                    <a:pos x="11" y="15"/>
                  </a:cxn>
                  <a:cxn ang="0">
                    <a:pos x="5" y="22"/>
                  </a:cxn>
                  <a:cxn ang="0">
                    <a:pos x="2" y="27"/>
                  </a:cxn>
                  <a:cxn ang="0">
                    <a:pos x="0" y="33"/>
                  </a:cxn>
                  <a:cxn ang="0">
                    <a:pos x="0" y="33"/>
                  </a:cxn>
                  <a:cxn ang="0">
                    <a:pos x="0" y="33"/>
                  </a:cxn>
                </a:cxnLst>
                <a:rect l="0" t="0" r="r" b="b"/>
                <a:pathLst>
                  <a:path w="52" h="48">
                    <a:moveTo>
                      <a:pt x="0" y="33"/>
                    </a:moveTo>
                    <a:lnTo>
                      <a:pt x="0" y="33"/>
                    </a:lnTo>
                    <a:lnTo>
                      <a:pt x="2" y="39"/>
                    </a:lnTo>
                    <a:lnTo>
                      <a:pt x="5" y="44"/>
                    </a:lnTo>
                    <a:lnTo>
                      <a:pt x="8" y="47"/>
                    </a:lnTo>
                    <a:lnTo>
                      <a:pt x="12" y="48"/>
                    </a:lnTo>
                    <a:lnTo>
                      <a:pt x="12" y="48"/>
                    </a:lnTo>
                    <a:lnTo>
                      <a:pt x="15" y="46"/>
                    </a:lnTo>
                    <a:lnTo>
                      <a:pt x="22" y="40"/>
                    </a:lnTo>
                    <a:lnTo>
                      <a:pt x="30" y="33"/>
                    </a:lnTo>
                    <a:lnTo>
                      <a:pt x="40" y="24"/>
                    </a:lnTo>
                    <a:lnTo>
                      <a:pt x="46" y="15"/>
                    </a:lnTo>
                    <a:lnTo>
                      <a:pt x="51" y="8"/>
                    </a:lnTo>
                    <a:lnTo>
                      <a:pt x="52" y="4"/>
                    </a:lnTo>
                    <a:lnTo>
                      <a:pt x="51" y="2"/>
                    </a:lnTo>
                    <a:lnTo>
                      <a:pt x="49" y="1"/>
                    </a:lnTo>
                    <a:lnTo>
                      <a:pt x="45" y="0"/>
                    </a:lnTo>
                    <a:lnTo>
                      <a:pt x="45" y="0"/>
                    </a:lnTo>
                    <a:lnTo>
                      <a:pt x="38" y="0"/>
                    </a:lnTo>
                    <a:lnTo>
                      <a:pt x="31" y="2"/>
                    </a:lnTo>
                    <a:lnTo>
                      <a:pt x="25" y="6"/>
                    </a:lnTo>
                    <a:lnTo>
                      <a:pt x="18" y="10"/>
                    </a:lnTo>
                    <a:lnTo>
                      <a:pt x="11" y="15"/>
                    </a:lnTo>
                    <a:lnTo>
                      <a:pt x="5" y="22"/>
                    </a:lnTo>
                    <a:lnTo>
                      <a:pt x="2" y="27"/>
                    </a:lnTo>
                    <a:lnTo>
                      <a:pt x="0" y="33"/>
                    </a:lnTo>
                    <a:lnTo>
                      <a:pt x="0" y="33"/>
                    </a:lnTo>
                    <a:lnTo>
                      <a:pt x="0" y="3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6" name="Freeform 41"/>
              <p:cNvSpPr>
                <a:spLocks noChangeAspect="1"/>
              </p:cNvSpPr>
              <p:nvPr/>
            </p:nvSpPr>
            <p:spPr bwMode="auto">
              <a:xfrm>
                <a:off x="3683063" y="1975312"/>
                <a:ext cx="20607" cy="18091"/>
              </a:xfrm>
              <a:custGeom>
                <a:avLst/>
                <a:gdLst/>
                <a:ahLst/>
                <a:cxnLst>
                  <a:cxn ang="0">
                    <a:pos x="20" y="0"/>
                  </a:cxn>
                  <a:cxn ang="0">
                    <a:pos x="20" y="0"/>
                  </a:cxn>
                  <a:cxn ang="0">
                    <a:pos x="12" y="0"/>
                  </a:cxn>
                  <a:cxn ang="0">
                    <a:pos x="6" y="1"/>
                  </a:cxn>
                  <a:cxn ang="0">
                    <a:pos x="4" y="2"/>
                  </a:cxn>
                  <a:cxn ang="0">
                    <a:pos x="2" y="5"/>
                  </a:cxn>
                  <a:cxn ang="0">
                    <a:pos x="0" y="7"/>
                  </a:cxn>
                  <a:cxn ang="0">
                    <a:pos x="0" y="10"/>
                  </a:cxn>
                  <a:cxn ang="0">
                    <a:pos x="0" y="10"/>
                  </a:cxn>
                  <a:cxn ang="0">
                    <a:pos x="0" y="14"/>
                  </a:cxn>
                  <a:cxn ang="0">
                    <a:pos x="2" y="17"/>
                  </a:cxn>
                  <a:cxn ang="0">
                    <a:pos x="5" y="22"/>
                  </a:cxn>
                  <a:cxn ang="0">
                    <a:pos x="9" y="24"/>
                  </a:cxn>
                  <a:cxn ang="0">
                    <a:pos x="12" y="25"/>
                  </a:cxn>
                  <a:cxn ang="0">
                    <a:pos x="12" y="25"/>
                  </a:cxn>
                  <a:cxn ang="0">
                    <a:pos x="15" y="24"/>
                  </a:cxn>
                  <a:cxn ang="0">
                    <a:pos x="19" y="24"/>
                  </a:cxn>
                  <a:cxn ang="0">
                    <a:pos x="21" y="22"/>
                  </a:cxn>
                  <a:cxn ang="0">
                    <a:pos x="23" y="21"/>
                  </a:cxn>
                  <a:cxn ang="0">
                    <a:pos x="26" y="16"/>
                  </a:cxn>
                  <a:cxn ang="0">
                    <a:pos x="27" y="10"/>
                  </a:cxn>
                  <a:cxn ang="0">
                    <a:pos x="27" y="10"/>
                  </a:cxn>
                  <a:cxn ang="0">
                    <a:pos x="26" y="8"/>
                  </a:cxn>
                  <a:cxn ang="0">
                    <a:pos x="23" y="5"/>
                  </a:cxn>
                  <a:cxn ang="0">
                    <a:pos x="20" y="2"/>
                  </a:cxn>
                  <a:cxn ang="0">
                    <a:pos x="20" y="0"/>
                  </a:cxn>
                  <a:cxn ang="0">
                    <a:pos x="20" y="0"/>
                  </a:cxn>
                  <a:cxn ang="0">
                    <a:pos x="20" y="0"/>
                  </a:cxn>
                </a:cxnLst>
                <a:rect l="0" t="0" r="r" b="b"/>
                <a:pathLst>
                  <a:path w="27" h="25">
                    <a:moveTo>
                      <a:pt x="20" y="0"/>
                    </a:moveTo>
                    <a:lnTo>
                      <a:pt x="20" y="0"/>
                    </a:lnTo>
                    <a:lnTo>
                      <a:pt x="12" y="0"/>
                    </a:lnTo>
                    <a:lnTo>
                      <a:pt x="6" y="1"/>
                    </a:lnTo>
                    <a:lnTo>
                      <a:pt x="4" y="2"/>
                    </a:lnTo>
                    <a:lnTo>
                      <a:pt x="2" y="5"/>
                    </a:lnTo>
                    <a:lnTo>
                      <a:pt x="0" y="7"/>
                    </a:lnTo>
                    <a:lnTo>
                      <a:pt x="0" y="10"/>
                    </a:lnTo>
                    <a:lnTo>
                      <a:pt x="0" y="10"/>
                    </a:lnTo>
                    <a:lnTo>
                      <a:pt x="0" y="14"/>
                    </a:lnTo>
                    <a:lnTo>
                      <a:pt x="2" y="17"/>
                    </a:lnTo>
                    <a:lnTo>
                      <a:pt x="5" y="22"/>
                    </a:lnTo>
                    <a:lnTo>
                      <a:pt x="9" y="24"/>
                    </a:lnTo>
                    <a:lnTo>
                      <a:pt x="12" y="25"/>
                    </a:lnTo>
                    <a:lnTo>
                      <a:pt x="12" y="25"/>
                    </a:lnTo>
                    <a:lnTo>
                      <a:pt x="15" y="24"/>
                    </a:lnTo>
                    <a:lnTo>
                      <a:pt x="19" y="24"/>
                    </a:lnTo>
                    <a:lnTo>
                      <a:pt x="21" y="22"/>
                    </a:lnTo>
                    <a:lnTo>
                      <a:pt x="23" y="21"/>
                    </a:lnTo>
                    <a:lnTo>
                      <a:pt x="26" y="16"/>
                    </a:lnTo>
                    <a:lnTo>
                      <a:pt x="27" y="10"/>
                    </a:lnTo>
                    <a:lnTo>
                      <a:pt x="27" y="10"/>
                    </a:lnTo>
                    <a:lnTo>
                      <a:pt x="26" y="8"/>
                    </a:lnTo>
                    <a:lnTo>
                      <a:pt x="23" y="5"/>
                    </a:lnTo>
                    <a:lnTo>
                      <a:pt x="20" y="2"/>
                    </a:lnTo>
                    <a:lnTo>
                      <a:pt x="20" y="0"/>
                    </a:lnTo>
                    <a:lnTo>
                      <a:pt x="20" y="0"/>
                    </a:lnTo>
                    <a:lnTo>
                      <a:pt x="20"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7" name="Freeform 42"/>
              <p:cNvSpPr>
                <a:spLocks noChangeAspect="1"/>
              </p:cNvSpPr>
              <p:nvPr/>
            </p:nvSpPr>
            <p:spPr bwMode="auto">
              <a:xfrm>
                <a:off x="3652947" y="1822239"/>
                <a:ext cx="50723" cy="64013"/>
              </a:xfrm>
              <a:custGeom>
                <a:avLst/>
                <a:gdLst/>
                <a:ahLst/>
                <a:cxnLst>
                  <a:cxn ang="0">
                    <a:pos x="45" y="26"/>
                  </a:cxn>
                  <a:cxn ang="0">
                    <a:pos x="45" y="26"/>
                  </a:cxn>
                  <a:cxn ang="0">
                    <a:pos x="35" y="25"/>
                  </a:cxn>
                  <a:cxn ang="0">
                    <a:pos x="28" y="22"/>
                  </a:cxn>
                  <a:cxn ang="0">
                    <a:pos x="24" y="18"/>
                  </a:cxn>
                  <a:cxn ang="0">
                    <a:pos x="20" y="13"/>
                  </a:cxn>
                  <a:cxn ang="0">
                    <a:pos x="17" y="8"/>
                  </a:cxn>
                  <a:cxn ang="0">
                    <a:pos x="13" y="5"/>
                  </a:cxn>
                  <a:cxn ang="0">
                    <a:pos x="10" y="1"/>
                  </a:cxn>
                  <a:cxn ang="0">
                    <a:pos x="4" y="0"/>
                  </a:cxn>
                  <a:cxn ang="0">
                    <a:pos x="4" y="0"/>
                  </a:cxn>
                  <a:cxn ang="0">
                    <a:pos x="2" y="1"/>
                  </a:cxn>
                  <a:cxn ang="0">
                    <a:pos x="0" y="1"/>
                  </a:cxn>
                  <a:cxn ang="0">
                    <a:pos x="0" y="5"/>
                  </a:cxn>
                  <a:cxn ang="0">
                    <a:pos x="0" y="12"/>
                  </a:cxn>
                  <a:cxn ang="0">
                    <a:pos x="0" y="12"/>
                  </a:cxn>
                  <a:cxn ang="0">
                    <a:pos x="1" y="22"/>
                  </a:cxn>
                  <a:cxn ang="0">
                    <a:pos x="3" y="35"/>
                  </a:cxn>
                  <a:cxn ang="0">
                    <a:pos x="8" y="48"/>
                  </a:cxn>
                  <a:cxn ang="0">
                    <a:pos x="12" y="61"/>
                  </a:cxn>
                  <a:cxn ang="0">
                    <a:pos x="19" y="74"/>
                  </a:cxn>
                  <a:cxn ang="0">
                    <a:pos x="26" y="83"/>
                  </a:cxn>
                  <a:cxn ang="0">
                    <a:pos x="31" y="86"/>
                  </a:cxn>
                  <a:cxn ang="0">
                    <a:pos x="35" y="90"/>
                  </a:cxn>
                  <a:cxn ang="0">
                    <a:pos x="40" y="91"/>
                  </a:cxn>
                  <a:cxn ang="0">
                    <a:pos x="45" y="92"/>
                  </a:cxn>
                  <a:cxn ang="0">
                    <a:pos x="45" y="92"/>
                  </a:cxn>
                  <a:cxn ang="0">
                    <a:pos x="56" y="92"/>
                  </a:cxn>
                  <a:cxn ang="0">
                    <a:pos x="56" y="92"/>
                  </a:cxn>
                  <a:cxn ang="0">
                    <a:pos x="56" y="85"/>
                  </a:cxn>
                  <a:cxn ang="0">
                    <a:pos x="59" y="81"/>
                  </a:cxn>
                  <a:cxn ang="0">
                    <a:pos x="62" y="76"/>
                  </a:cxn>
                  <a:cxn ang="0">
                    <a:pos x="63" y="69"/>
                  </a:cxn>
                  <a:cxn ang="0">
                    <a:pos x="63" y="69"/>
                  </a:cxn>
                  <a:cxn ang="0">
                    <a:pos x="62" y="66"/>
                  </a:cxn>
                  <a:cxn ang="0">
                    <a:pos x="59" y="61"/>
                  </a:cxn>
                  <a:cxn ang="0">
                    <a:pos x="56" y="55"/>
                  </a:cxn>
                  <a:cxn ang="0">
                    <a:pos x="56" y="52"/>
                  </a:cxn>
                  <a:cxn ang="0">
                    <a:pos x="56" y="52"/>
                  </a:cxn>
                  <a:cxn ang="0">
                    <a:pos x="57" y="44"/>
                  </a:cxn>
                  <a:cxn ang="0">
                    <a:pos x="58" y="40"/>
                  </a:cxn>
                  <a:cxn ang="0">
                    <a:pos x="59" y="37"/>
                  </a:cxn>
                  <a:cxn ang="0">
                    <a:pos x="59" y="37"/>
                  </a:cxn>
                  <a:cxn ang="0">
                    <a:pos x="58" y="33"/>
                  </a:cxn>
                  <a:cxn ang="0">
                    <a:pos x="57" y="31"/>
                  </a:cxn>
                  <a:cxn ang="0">
                    <a:pos x="55" y="29"/>
                  </a:cxn>
                  <a:cxn ang="0">
                    <a:pos x="51" y="28"/>
                  </a:cxn>
                  <a:cxn ang="0">
                    <a:pos x="47" y="26"/>
                  </a:cxn>
                  <a:cxn ang="0">
                    <a:pos x="45" y="26"/>
                  </a:cxn>
                  <a:cxn ang="0">
                    <a:pos x="45" y="26"/>
                  </a:cxn>
                  <a:cxn ang="0">
                    <a:pos x="45" y="26"/>
                  </a:cxn>
                </a:cxnLst>
                <a:rect l="0" t="0" r="r" b="b"/>
                <a:pathLst>
                  <a:path w="63" h="92">
                    <a:moveTo>
                      <a:pt x="45" y="26"/>
                    </a:moveTo>
                    <a:lnTo>
                      <a:pt x="45" y="26"/>
                    </a:lnTo>
                    <a:lnTo>
                      <a:pt x="35" y="25"/>
                    </a:lnTo>
                    <a:lnTo>
                      <a:pt x="28" y="22"/>
                    </a:lnTo>
                    <a:lnTo>
                      <a:pt x="24" y="18"/>
                    </a:lnTo>
                    <a:lnTo>
                      <a:pt x="20" y="13"/>
                    </a:lnTo>
                    <a:lnTo>
                      <a:pt x="17" y="8"/>
                    </a:lnTo>
                    <a:lnTo>
                      <a:pt x="13" y="5"/>
                    </a:lnTo>
                    <a:lnTo>
                      <a:pt x="10" y="1"/>
                    </a:lnTo>
                    <a:lnTo>
                      <a:pt x="4" y="0"/>
                    </a:lnTo>
                    <a:lnTo>
                      <a:pt x="4" y="0"/>
                    </a:lnTo>
                    <a:lnTo>
                      <a:pt x="2" y="1"/>
                    </a:lnTo>
                    <a:lnTo>
                      <a:pt x="0" y="1"/>
                    </a:lnTo>
                    <a:lnTo>
                      <a:pt x="0" y="5"/>
                    </a:lnTo>
                    <a:lnTo>
                      <a:pt x="0" y="12"/>
                    </a:lnTo>
                    <a:lnTo>
                      <a:pt x="0" y="12"/>
                    </a:lnTo>
                    <a:lnTo>
                      <a:pt x="1" y="22"/>
                    </a:lnTo>
                    <a:lnTo>
                      <a:pt x="3" y="35"/>
                    </a:lnTo>
                    <a:lnTo>
                      <a:pt x="8" y="48"/>
                    </a:lnTo>
                    <a:lnTo>
                      <a:pt x="12" y="61"/>
                    </a:lnTo>
                    <a:lnTo>
                      <a:pt x="19" y="74"/>
                    </a:lnTo>
                    <a:lnTo>
                      <a:pt x="26" y="83"/>
                    </a:lnTo>
                    <a:lnTo>
                      <a:pt x="31" y="86"/>
                    </a:lnTo>
                    <a:lnTo>
                      <a:pt x="35" y="90"/>
                    </a:lnTo>
                    <a:lnTo>
                      <a:pt x="40" y="91"/>
                    </a:lnTo>
                    <a:lnTo>
                      <a:pt x="45" y="92"/>
                    </a:lnTo>
                    <a:lnTo>
                      <a:pt x="45" y="92"/>
                    </a:lnTo>
                    <a:lnTo>
                      <a:pt x="56" y="92"/>
                    </a:lnTo>
                    <a:lnTo>
                      <a:pt x="56" y="92"/>
                    </a:lnTo>
                    <a:lnTo>
                      <a:pt x="56" y="85"/>
                    </a:lnTo>
                    <a:lnTo>
                      <a:pt x="59" y="81"/>
                    </a:lnTo>
                    <a:lnTo>
                      <a:pt x="62" y="76"/>
                    </a:lnTo>
                    <a:lnTo>
                      <a:pt x="63" y="69"/>
                    </a:lnTo>
                    <a:lnTo>
                      <a:pt x="63" y="69"/>
                    </a:lnTo>
                    <a:lnTo>
                      <a:pt x="62" y="66"/>
                    </a:lnTo>
                    <a:lnTo>
                      <a:pt x="59" y="61"/>
                    </a:lnTo>
                    <a:lnTo>
                      <a:pt x="56" y="55"/>
                    </a:lnTo>
                    <a:lnTo>
                      <a:pt x="56" y="52"/>
                    </a:lnTo>
                    <a:lnTo>
                      <a:pt x="56" y="52"/>
                    </a:lnTo>
                    <a:lnTo>
                      <a:pt x="57" y="44"/>
                    </a:lnTo>
                    <a:lnTo>
                      <a:pt x="58" y="40"/>
                    </a:lnTo>
                    <a:lnTo>
                      <a:pt x="59" y="37"/>
                    </a:lnTo>
                    <a:lnTo>
                      <a:pt x="59" y="37"/>
                    </a:lnTo>
                    <a:lnTo>
                      <a:pt x="58" y="33"/>
                    </a:lnTo>
                    <a:lnTo>
                      <a:pt x="57" y="31"/>
                    </a:lnTo>
                    <a:lnTo>
                      <a:pt x="55" y="29"/>
                    </a:lnTo>
                    <a:lnTo>
                      <a:pt x="51" y="28"/>
                    </a:lnTo>
                    <a:lnTo>
                      <a:pt x="47" y="26"/>
                    </a:lnTo>
                    <a:lnTo>
                      <a:pt x="45" y="26"/>
                    </a:lnTo>
                    <a:lnTo>
                      <a:pt x="45" y="26"/>
                    </a:lnTo>
                    <a:lnTo>
                      <a:pt x="45" y="2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8" name="Freeform 43"/>
              <p:cNvSpPr>
                <a:spLocks noChangeAspect="1"/>
              </p:cNvSpPr>
              <p:nvPr/>
            </p:nvSpPr>
            <p:spPr bwMode="auto">
              <a:xfrm>
                <a:off x="3689404" y="1793016"/>
                <a:ext cx="60234" cy="36181"/>
              </a:xfrm>
              <a:custGeom>
                <a:avLst/>
                <a:gdLst/>
                <a:ahLst/>
                <a:cxnLst>
                  <a:cxn ang="0">
                    <a:pos x="35" y="15"/>
                  </a:cxn>
                  <a:cxn ang="0">
                    <a:pos x="0" y="15"/>
                  </a:cxn>
                  <a:cxn ang="0">
                    <a:pos x="0" y="15"/>
                  </a:cxn>
                  <a:cxn ang="0">
                    <a:pos x="0" y="22"/>
                  </a:cxn>
                  <a:cxn ang="0">
                    <a:pos x="0" y="22"/>
                  </a:cxn>
                  <a:cxn ang="0">
                    <a:pos x="0" y="27"/>
                  </a:cxn>
                  <a:cxn ang="0">
                    <a:pos x="2" y="33"/>
                  </a:cxn>
                  <a:cxn ang="0">
                    <a:pos x="4" y="38"/>
                  </a:cxn>
                  <a:cxn ang="0">
                    <a:pos x="6" y="42"/>
                  </a:cxn>
                  <a:cxn ang="0">
                    <a:pos x="11" y="46"/>
                  </a:cxn>
                  <a:cxn ang="0">
                    <a:pos x="14" y="49"/>
                  </a:cxn>
                  <a:cxn ang="0">
                    <a:pos x="20" y="50"/>
                  </a:cxn>
                  <a:cxn ang="0">
                    <a:pos x="25" y="52"/>
                  </a:cxn>
                  <a:cxn ang="0">
                    <a:pos x="25" y="52"/>
                  </a:cxn>
                  <a:cxn ang="0">
                    <a:pos x="29" y="50"/>
                  </a:cxn>
                  <a:cxn ang="0">
                    <a:pos x="33" y="48"/>
                  </a:cxn>
                  <a:cxn ang="0">
                    <a:pos x="35" y="46"/>
                  </a:cxn>
                  <a:cxn ang="0">
                    <a:pos x="38" y="42"/>
                  </a:cxn>
                  <a:cxn ang="0">
                    <a:pos x="40" y="35"/>
                  </a:cxn>
                  <a:cxn ang="0">
                    <a:pos x="41" y="33"/>
                  </a:cxn>
                  <a:cxn ang="0">
                    <a:pos x="43" y="33"/>
                  </a:cxn>
                  <a:cxn ang="0">
                    <a:pos x="43" y="33"/>
                  </a:cxn>
                  <a:cxn ang="0">
                    <a:pos x="65" y="33"/>
                  </a:cxn>
                  <a:cxn ang="0">
                    <a:pos x="65" y="33"/>
                  </a:cxn>
                  <a:cxn ang="0">
                    <a:pos x="69" y="32"/>
                  </a:cxn>
                  <a:cxn ang="0">
                    <a:pos x="72" y="31"/>
                  </a:cxn>
                  <a:cxn ang="0">
                    <a:pos x="74" y="28"/>
                  </a:cxn>
                  <a:cxn ang="0">
                    <a:pos x="75" y="26"/>
                  </a:cxn>
                  <a:cxn ang="0">
                    <a:pos x="75" y="23"/>
                  </a:cxn>
                  <a:cxn ang="0">
                    <a:pos x="77" y="18"/>
                  </a:cxn>
                  <a:cxn ang="0">
                    <a:pos x="77" y="18"/>
                  </a:cxn>
                  <a:cxn ang="0">
                    <a:pos x="75" y="10"/>
                  </a:cxn>
                  <a:cxn ang="0">
                    <a:pos x="72" y="4"/>
                  </a:cxn>
                  <a:cxn ang="0">
                    <a:pos x="67" y="1"/>
                  </a:cxn>
                  <a:cxn ang="0">
                    <a:pos x="64" y="0"/>
                  </a:cxn>
                  <a:cxn ang="0">
                    <a:pos x="62" y="0"/>
                  </a:cxn>
                  <a:cxn ang="0">
                    <a:pos x="62" y="0"/>
                  </a:cxn>
                  <a:cxn ang="0">
                    <a:pos x="59" y="0"/>
                  </a:cxn>
                  <a:cxn ang="0">
                    <a:pos x="57" y="2"/>
                  </a:cxn>
                  <a:cxn ang="0">
                    <a:pos x="54" y="7"/>
                  </a:cxn>
                  <a:cxn ang="0">
                    <a:pos x="51" y="14"/>
                  </a:cxn>
                  <a:cxn ang="0">
                    <a:pos x="50" y="22"/>
                  </a:cxn>
                  <a:cxn ang="0">
                    <a:pos x="50" y="22"/>
                  </a:cxn>
                  <a:cxn ang="0">
                    <a:pos x="47" y="22"/>
                  </a:cxn>
                  <a:cxn ang="0">
                    <a:pos x="43" y="19"/>
                  </a:cxn>
                  <a:cxn ang="0">
                    <a:pos x="35" y="15"/>
                  </a:cxn>
                  <a:cxn ang="0">
                    <a:pos x="35" y="15"/>
                  </a:cxn>
                  <a:cxn ang="0">
                    <a:pos x="35" y="15"/>
                  </a:cxn>
                </a:cxnLst>
                <a:rect l="0" t="0" r="r" b="b"/>
                <a:pathLst>
                  <a:path w="77" h="52">
                    <a:moveTo>
                      <a:pt x="35" y="15"/>
                    </a:moveTo>
                    <a:lnTo>
                      <a:pt x="0" y="15"/>
                    </a:lnTo>
                    <a:lnTo>
                      <a:pt x="0" y="15"/>
                    </a:lnTo>
                    <a:lnTo>
                      <a:pt x="0" y="22"/>
                    </a:lnTo>
                    <a:lnTo>
                      <a:pt x="0" y="22"/>
                    </a:lnTo>
                    <a:lnTo>
                      <a:pt x="0" y="27"/>
                    </a:lnTo>
                    <a:lnTo>
                      <a:pt x="2" y="33"/>
                    </a:lnTo>
                    <a:lnTo>
                      <a:pt x="4" y="38"/>
                    </a:lnTo>
                    <a:lnTo>
                      <a:pt x="6" y="42"/>
                    </a:lnTo>
                    <a:lnTo>
                      <a:pt x="11" y="46"/>
                    </a:lnTo>
                    <a:lnTo>
                      <a:pt x="14" y="49"/>
                    </a:lnTo>
                    <a:lnTo>
                      <a:pt x="20" y="50"/>
                    </a:lnTo>
                    <a:lnTo>
                      <a:pt x="25" y="52"/>
                    </a:lnTo>
                    <a:lnTo>
                      <a:pt x="25" y="52"/>
                    </a:lnTo>
                    <a:lnTo>
                      <a:pt x="29" y="50"/>
                    </a:lnTo>
                    <a:lnTo>
                      <a:pt x="33" y="48"/>
                    </a:lnTo>
                    <a:lnTo>
                      <a:pt x="35" y="46"/>
                    </a:lnTo>
                    <a:lnTo>
                      <a:pt x="38" y="42"/>
                    </a:lnTo>
                    <a:lnTo>
                      <a:pt x="40" y="35"/>
                    </a:lnTo>
                    <a:lnTo>
                      <a:pt x="41" y="33"/>
                    </a:lnTo>
                    <a:lnTo>
                      <a:pt x="43" y="33"/>
                    </a:lnTo>
                    <a:lnTo>
                      <a:pt x="43" y="33"/>
                    </a:lnTo>
                    <a:lnTo>
                      <a:pt x="65" y="33"/>
                    </a:lnTo>
                    <a:lnTo>
                      <a:pt x="65" y="33"/>
                    </a:lnTo>
                    <a:lnTo>
                      <a:pt x="69" y="32"/>
                    </a:lnTo>
                    <a:lnTo>
                      <a:pt x="72" y="31"/>
                    </a:lnTo>
                    <a:lnTo>
                      <a:pt x="74" y="28"/>
                    </a:lnTo>
                    <a:lnTo>
                      <a:pt x="75" y="26"/>
                    </a:lnTo>
                    <a:lnTo>
                      <a:pt x="75" y="23"/>
                    </a:lnTo>
                    <a:lnTo>
                      <a:pt x="77" y="18"/>
                    </a:lnTo>
                    <a:lnTo>
                      <a:pt x="77" y="18"/>
                    </a:lnTo>
                    <a:lnTo>
                      <a:pt x="75" y="10"/>
                    </a:lnTo>
                    <a:lnTo>
                      <a:pt x="72" y="4"/>
                    </a:lnTo>
                    <a:lnTo>
                      <a:pt x="67" y="1"/>
                    </a:lnTo>
                    <a:lnTo>
                      <a:pt x="64" y="0"/>
                    </a:lnTo>
                    <a:lnTo>
                      <a:pt x="62" y="0"/>
                    </a:lnTo>
                    <a:lnTo>
                      <a:pt x="62" y="0"/>
                    </a:lnTo>
                    <a:lnTo>
                      <a:pt x="59" y="0"/>
                    </a:lnTo>
                    <a:lnTo>
                      <a:pt x="57" y="2"/>
                    </a:lnTo>
                    <a:lnTo>
                      <a:pt x="54" y="7"/>
                    </a:lnTo>
                    <a:lnTo>
                      <a:pt x="51" y="14"/>
                    </a:lnTo>
                    <a:lnTo>
                      <a:pt x="50" y="22"/>
                    </a:lnTo>
                    <a:lnTo>
                      <a:pt x="50" y="22"/>
                    </a:lnTo>
                    <a:lnTo>
                      <a:pt x="47" y="22"/>
                    </a:lnTo>
                    <a:lnTo>
                      <a:pt x="43" y="19"/>
                    </a:lnTo>
                    <a:lnTo>
                      <a:pt x="35" y="15"/>
                    </a:lnTo>
                    <a:lnTo>
                      <a:pt x="35" y="15"/>
                    </a:lnTo>
                    <a:lnTo>
                      <a:pt x="35" y="1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59" name="Freeform 44"/>
              <p:cNvSpPr>
                <a:spLocks noChangeAspect="1"/>
              </p:cNvSpPr>
              <p:nvPr/>
            </p:nvSpPr>
            <p:spPr bwMode="auto">
              <a:xfrm>
                <a:off x="3762319" y="1872336"/>
                <a:ext cx="34873" cy="18091"/>
              </a:xfrm>
              <a:custGeom>
                <a:avLst/>
                <a:gdLst/>
                <a:ahLst/>
                <a:cxnLst>
                  <a:cxn ang="0">
                    <a:pos x="2" y="0"/>
                  </a:cxn>
                  <a:cxn ang="0">
                    <a:pos x="2" y="0"/>
                  </a:cxn>
                  <a:cxn ang="0">
                    <a:pos x="1" y="0"/>
                  </a:cxn>
                  <a:cxn ang="0">
                    <a:pos x="0" y="1"/>
                  </a:cxn>
                  <a:cxn ang="0">
                    <a:pos x="0" y="3"/>
                  </a:cxn>
                  <a:cxn ang="0">
                    <a:pos x="2" y="7"/>
                  </a:cxn>
                  <a:cxn ang="0">
                    <a:pos x="2" y="7"/>
                  </a:cxn>
                  <a:cxn ang="0">
                    <a:pos x="2" y="12"/>
                  </a:cxn>
                  <a:cxn ang="0">
                    <a:pos x="4" y="16"/>
                  </a:cxn>
                  <a:cxn ang="0">
                    <a:pos x="5" y="19"/>
                  </a:cxn>
                  <a:cxn ang="0">
                    <a:pos x="9" y="22"/>
                  </a:cxn>
                  <a:cxn ang="0">
                    <a:pos x="12" y="23"/>
                  </a:cxn>
                  <a:cxn ang="0">
                    <a:pos x="18" y="25"/>
                  </a:cxn>
                  <a:cxn ang="0">
                    <a:pos x="24" y="25"/>
                  </a:cxn>
                  <a:cxn ang="0">
                    <a:pos x="24" y="25"/>
                  </a:cxn>
                  <a:cxn ang="0">
                    <a:pos x="32" y="24"/>
                  </a:cxn>
                  <a:cxn ang="0">
                    <a:pos x="38" y="20"/>
                  </a:cxn>
                  <a:cxn ang="0">
                    <a:pos x="41" y="16"/>
                  </a:cxn>
                  <a:cxn ang="0">
                    <a:pos x="42" y="10"/>
                  </a:cxn>
                  <a:cxn ang="0">
                    <a:pos x="42" y="10"/>
                  </a:cxn>
                  <a:cxn ang="0">
                    <a:pos x="41" y="5"/>
                  </a:cxn>
                  <a:cxn ang="0">
                    <a:pos x="41" y="2"/>
                  </a:cxn>
                  <a:cxn ang="0">
                    <a:pos x="42" y="0"/>
                  </a:cxn>
                  <a:cxn ang="0">
                    <a:pos x="42" y="0"/>
                  </a:cxn>
                  <a:cxn ang="0">
                    <a:pos x="2" y="0"/>
                  </a:cxn>
                  <a:cxn ang="0">
                    <a:pos x="2" y="0"/>
                  </a:cxn>
                  <a:cxn ang="0">
                    <a:pos x="2" y="0"/>
                  </a:cxn>
                </a:cxnLst>
                <a:rect l="0" t="0" r="r" b="b"/>
                <a:pathLst>
                  <a:path w="42" h="25">
                    <a:moveTo>
                      <a:pt x="2" y="0"/>
                    </a:moveTo>
                    <a:lnTo>
                      <a:pt x="2" y="0"/>
                    </a:lnTo>
                    <a:lnTo>
                      <a:pt x="1" y="0"/>
                    </a:lnTo>
                    <a:lnTo>
                      <a:pt x="0" y="1"/>
                    </a:lnTo>
                    <a:lnTo>
                      <a:pt x="0" y="3"/>
                    </a:lnTo>
                    <a:lnTo>
                      <a:pt x="2" y="7"/>
                    </a:lnTo>
                    <a:lnTo>
                      <a:pt x="2" y="7"/>
                    </a:lnTo>
                    <a:lnTo>
                      <a:pt x="2" y="12"/>
                    </a:lnTo>
                    <a:lnTo>
                      <a:pt x="4" y="16"/>
                    </a:lnTo>
                    <a:lnTo>
                      <a:pt x="5" y="19"/>
                    </a:lnTo>
                    <a:lnTo>
                      <a:pt x="9" y="22"/>
                    </a:lnTo>
                    <a:lnTo>
                      <a:pt x="12" y="23"/>
                    </a:lnTo>
                    <a:lnTo>
                      <a:pt x="18" y="25"/>
                    </a:lnTo>
                    <a:lnTo>
                      <a:pt x="24" y="25"/>
                    </a:lnTo>
                    <a:lnTo>
                      <a:pt x="24" y="25"/>
                    </a:lnTo>
                    <a:lnTo>
                      <a:pt x="32" y="24"/>
                    </a:lnTo>
                    <a:lnTo>
                      <a:pt x="38" y="20"/>
                    </a:lnTo>
                    <a:lnTo>
                      <a:pt x="41" y="16"/>
                    </a:lnTo>
                    <a:lnTo>
                      <a:pt x="42" y="10"/>
                    </a:lnTo>
                    <a:lnTo>
                      <a:pt x="42" y="10"/>
                    </a:lnTo>
                    <a:lnTo>
                      <a:pt x="41" y="5"/>
                    </a:lnTo>
                    <a:lnTo>
                      <a:pt x="41" y="2"/>
                    </a:lnTo>
                    <a:lnTo>
                      <a:pt x="42" y="0"/>
                    </a:lnTo>
                    <a:lnTo>
                      <a:pt x="42" y="0"/>
                    </a:lnTo>
                    <a:lnTo>
                      <a:pt x="2" y="0"/>
                    </a:lnTo>
                    <a:lnTo>
                      <a:pt x="2" y="0"/>
                    </a:lnTo>
                    <a:lnTo>
                      <a:pt x="2"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0" name="Freeform 45"/>
              <p:cNvSpPr>
                <a:spLocks noChangeAspect="1"/>
              </p:cNvSpPr>
              <p:nvPr/>
            </p:nvSpPr>
            <p:spPr bwMode="auto">
              <a:xfrm>
                <a:off x="3846329" y="1811106"/>
                <a:ext cx="19021" cy="29223"/>
              </a:xfrm>
              <a:custGeom>
                <a:avLst/>
                <a:gdLst/>
                <a:ahLst/>
                <a:cxnLst>
                  <a:cxn ang="0">
                    <a:pos x="26" y="12"/>
                  </a:cxn>
                  <a:cxn ang="0">
                    <a:pos x="9" y="0"/>
                  </a:cxn>
                  <a:cxn ang="0">
                    <a:pos x="0" y="0"/>
                  </a:cxn>
                  <a:cxn ang="0">
                    <a:pos x="0" y="0"/>
                  </a:cxn>
                  <a:cxn ang="0">
                    <a:pos x="0" y="0"/>
                  </a:cxn>
                  <a:cxn ang="0">
                    <a:pos x="0" y="15"/>
                  </a:cxn>
                  <a:cxn ang="0">
                    <a:pos x="0" y="15"/>
                  </a:cxn>
                  <a:cxn ang="0">
                    <a:pos x="2" y="24"/>
                  </a:cxn>
                  <a:cxn ang="0">
                    <a:pos x="4" y="32"/>
                  </a:cxn>
                  <a:cxn ang="0">
                    <a:pos x="7" y="39"/>
                  </a:cxn>
                  <a:cxn ang="0">
                    <a:pos x="10" y="40"/>
                  </a:cxn>
                  <a:cxn ang="0">
                    <a:pos x="12" y="41"/>
                  </a:cxn>
                  <a:cxn ang="0">
                    <a:pos x="12" y="41"/>
                  </a:cxn>
                  <a:cxn ang="0">
                    <a:pos x="17" y="40"/>
                  </a:cxn>
                  <a:cxn ang="0">
                    <a:pos x="20" y="37"/>
                  </a:cxn>
                  <a:cxn ang="0">
                    <a:pos x="22" y="32"/>
                  </a:cxn>
                  <a:cxn ang="0">
                    <a:pos x="25" y="28"/>
                  </a:cxn>
                  <a:cxn ang="0">
                    <a:pos x="26" y="17"/>
                  </a:cxn>
                  <a:cxn ang="0">
                    <a:pos x="26" y="12"/>
                  </a:cxn>
                  <a:cxn ang="0">
                    <a:pos x="26" y="12"/>
                  </a:cxn>
                  <a:cxn ang="0">
                    <a:pos x="26" y="12"/>
                  </a:cxn>
                </a:cxnLst>
                <a:rect l="0" t="0" r="r" b="b"/>
                <a:pathLst>
                  <a:path w="26" h="41">
                    <a:moveTo>
                      <a:pt x="26" y="12"/>
                    </a:moveTo>
                    <a:lnTo>
                      <a:pt x="9" y="0"/>
                    </a:lnTo>
                    <a:lnTo>
                      <a:pt x="0" y="0"/>
                    </a:lnTo>
                    <a:lnTo>
                      <a:pt x="0" y="0"/>
                    </a:lnTo>
                    <a:lnTo>
                      <a:pt x="0" y="0"/>
                    </a:lnTo>
                    <a:lnTo>
                      <a:pt x="0" y="15"/>
                    </a:lnTo>
                    <a:lnTo>
                      <a:pt x="0" y="15"/>
                    </a:lnTo>
                    <a:lnTo>
                      <a:pt x="2" y="24"/>
                    </a:lnTo>
                    <a:lnTo>
                      <a:pt x="4" y="32"/>
                    </a:lnTo>
                    <a:lnTo>
                      <a:pt x="7" y="39"/>
                    </a:lnTo>
                    <a:lnTo>
                      <a:pt x="10" y="40"/>
                    </a:lnTo>
                    <a:lnTo>
                      <a:pt x="12" y="41"/>
                    </a:lnTo>
                    <a:lnTo>
                      <a:pt x="12" y="41"/>
                    </a:lnTo>
                    <a:lnTo>
                      <a:pt x="17" y="40"/>
                    </a:lnTo>
                    <a:lnTo>
                      <a:pt x="20" y="37"/>
                    </a:lnTo>
                    <a:lnTo>
                      <a:pt x="22" y="32"/>
                    </a:lnTo>
                    <a:lnTo>
                      <a:pt x="25" y="28"/>
                    </a:lnTo>
                    <a:lnTo>
                      <a:pt x="26" y="17"/>
                    </a:lnTo>
                    <a:lnTo>
                      <a:pt x="26" y="12"/>
                    </a:lnTo>
                    <a:lnTo>
                      <a:pt x="26" y="12"/>
                    </a:lnTo>
                    <a:lnTo>
                      <a:pt x="26" y="1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1" name="Freeform 46"/>
              <p:cNvSpPr>
                <a:spLocks noChangeAspect="1"/>
              </p:cNvSpPr>
              <p:nvPr/>
            </p:nvSpPr>
            <p:spPr bwMode="auto">
              <a:xfrm>
                <a:off x="3770245" y="1770750"/>
                <a:ext cx="26947" cy="18091"/>
              </a:xfrm>
              <a:custGeom>
                <a:avLst/>
                <a:gdLst/>
                <a:ahLst/>
                <a:cxnLst>
                  <a:cxn ang="0">
                    <a:pos x="26" y="4"/>
                  </a:cxn>
                  <a:cxn ang="0">
                    <a:pos x="26" y="4"/>
                  </a:cxn>
                  <a:cxn ang="0">
                    <a:pos x="23" y="4"/>
                  </a:cxn>
                  <a:cxn ang="0">
                    <a:pos x="21" y="3"/>
                  </a:cxn>
                  <a:cxn ang="0">
                    <a:pos x="17" y="2"/>
                  </a:cxn>
                  <a:cxn ang="0">
                    <a:pos x="15" y="0"/>
                  </a:cxn>
                  <a:cxn ang="0">
                    <a:pos x="15" y="0"/>
                  </a:cxn>
                  <a:cxn ang="0">
                    <a:pos x="8" y="2"/>
                  </a:cxn>
                  <a:cxn ang="0">
                    <a:pos x="6" y="3"/>
                  </a:cxn>
                  <a:cxn ang="0">
                    <a:pos x="3" y="4"/>
                  </a:cxn>
                  <a:cxn ang="0">
                    <a:pos x="2" y="6"/>
                  </a:cxn>
                  <a:cxn ang="0">
                    <a:pos x="1" y="8"/>
                  </a:cxn>
                  <a:cxn ang="0">
                    <a:pos x="0" y="15"/>
                  </a:cxn>
                  <a:cxn ang="0">
                    <a:pos x="0" y="15"/>
                  </a:cxn>
                  <a:cxn ang="0">
                    <a:pos x="1" y="16"/>
                  </a:cxn>
                  <a:cxn ang="0">
                    <a:pos x="2" y="19"/>
                  </a:cxn>
                  <a:cxn ang="0">
                    <a:pos x="8" y="22"/>
                  </a:cxn>
                  <a:cxn ang="0">
                    <a:pos x="14" y="26"/>
                  </a:cxn>
                  <a:cxn ang="0">
                    <a:pos x="18" y="27"/>
                  </a:cxn>
                  <a:cxn ang="0">
                    <a:pos x="18" y="27"/>
                  </a:cxn>
                  <a:cxn ang="0">
                    <a:pos x="24" y="26"/>
                  </a:cxn>
                  <a:cxn ang="0">
                    <a:pos x="29" y="23"/>
                  </a:cxn>
                  <a:cxn ang="0">
                    <a:pos x="32" y="20"/>
                  </a:cxn>
                  <a:cxn ang="0">
                    <a:pos x="33" y="15"/>
                  </a:cxn>
                  <a:cxn ang="0">
                    <a:pos x="33" y="15"/>
                  </a:cxn>
                  <a:cxn ang="0">
                    <a:pos x="32" y="12"/>
                  </a:cxn>
                  <a:cxn ang="0">
                    <a:pos x="31" y="8"/>
                  </a:cxn>
                  <a:cxn ang="0">
                    <a:pos x="29" y="5"/>
                  </a:cxn>
                  <a:cxn ang="0">
                    <a:pos x="26" y="4"/>
                  </a:cxn>
                  <a:cxn ang="0">
                    <a:pos x="26" y="4"/>
                  </a:cxn>
                  <a:cxn ang="0">
                    <a:pos x="26" y="4"/>
                  </a:cxn>
                </a:cxnLst>
                <a:rect l="0" t="0" r="r" b="b"/>
                <a:pathLst>
                  <a:path w="33" h="27">
                    <a:moveTo>
                      <a:pt x="26" y="4"/>
                    </a:moveTo>
                    <a:lnTo>
                      <a:pt x="26" y="4"/>
                    </a:lnTo>
                    <a:lnTo>
                      <a:pt x="23" y="4"/>
                    </a:lnTo>
                    <a:lnTo>
                      <a:pt x="21" y="3"/>
                    </a:lnTo>
                    <a:lnTo>
                      <a:pt x="17" y="2"/>
                    </a:lnTo>
                    <a:lnTo>
                      <a:pt x="15" y="0"/>
                    </a:lnTo>
                    <a:lnTo>
                      <a:pt x="15" y="0"/>
                    </a:lnTo>
                    <a:lnTo>
                      <a:pt x="8" y="2"/>
                    </a:lnTo>
                    <a:lnTo>
                      <a:pt x="6" y="3"/>
                    </a:lnTo>
                    <a:lnTo>
                      <a:pt x="3" y="4"/>
                    </a:lnTo>
                    <a:lnTo>
                      <a:pt x="2" y="6"/>
                    </a:lnTo>
                    <a:lnTo>
                      <a:pt x="1" y="8"/>
                    </a:lnTo>
                    <a:lnTo>
                      <a:pt x="0" y="15"/>
                    </a:lnTo>
                    <a:lnTo>
                      <a:pt x="0" y="15"/>
                    </a:lnTo>
                    <a:lnTo>
                      <a:pt x="1" y="16"/>
                    </a:lnTo>
                    <a:lnTo>
                      <a:pt x="2" y="19"/>
                    </a:lnTo>
                    <a:lnTo>
                      <a:pt x="8" y="22"/>
                    </a:lnTo>
                    <a:lnTo>
                      <a:pt x="14" y="26"/>
                    </a:lnTo>
                    <a:lnTo>
                      <a:pt x="18" y="27"/>
                    </a:lnTo>
                    <a:lnTo>
                      <a:pt x="18" y="27"/>
                    </a:lnTo>
                    <a:lnTo>
                      <a:pt x="24" y="26"/>
                    </a:lnTo>
                    <a:lnTo>
                      <a:pt x="29" y="23"/>
                    </a:lnTo>
                    <a:lnTo>
                      <a:pt x="32" y="20"/>
                    </a:lnTo>
                    <a:lnTo>
                      <a:pt x="33" y="15"/>
                    </a:lnTo>
                    <a:lnTo>
                      <a:pt x="33" y="15"/>
                    </a:lnTo>
                    <a:lnTo>
                      <a:pt x="32" y="12"/>
                    </a:lnTo>
                    <a:lnTo>
                      <a:pt x="31" y="8"/>
                    </a:lnTo>
                    <a:lnTo>
                      <a:pt x="29" y="5"/>
                    </a:lnTo>
                    <a:lnTo>
                      <a:pt x="26" y="4"/>
                    </a:lnTo>
                    <a:lnTo>
                      <a:pt x="26" y="4"/>
                    </a:lnTo>
                    <a:lnTo>
                      <a:pt x="26" y="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2" name="Freeform 47"/>
              <p:cNvSpPr>
                <a:spLocks noChangeAspect="1"/>
              </p:cNvSpPr>
              <p:nvPr/>
            </p:nvSpPr>
            <p:spPr bwMode="auto">
              <a:xfrm>
                <a:off x="7634739" y="3799675"/>
                <a:ext cx="60234" cy="37573"/>
              </a:xfrm>
              <a:custGeom>
                <a:avLst/>
                <a:gdLst/>
                <a:ahLst/>
                <a:cxnLst>
                  <a:cxn ang="0">
                    <a:pos x="33" y="0"/>
                  </a:cxn>
                  <a:cxn ang="0">
                    <a:pos x="33" y="0"/>
                  </a:cxn>
                  <a:cxn ang="0">
                    <a:pos x="15" y="7"/>
                  </a:cxn>
                  <a:cxn ang="0">
                    <a:pos x="10" y="11"/>
                  </a:cxn>
                  <a:cxn ang="0">
                    <a:pos x="5" y="14"/>
                  </a:cxn>
                  <a:cxn ang="0">
                    <a:pos x="3" y="19"/>
                  </a:cxn>
                  <a:cxn ang="0">
                    <a:pos x="2" y="26"/>
                  </a:cxn>
                  <a:cxn ang="0">
                    <a:pos x="0" y="34"/>
                  </a:cxn>
                  <a:cxn ang="0">
                    <a:pos x="0" y="45"/>
                  </a:cxn>
                  <a:cxn ang="0">
                    <a:pos x="0" y="45"/>
                  </a:cxn>
                  <a:cxn ang="0">
                    <a:pos x="27" y="50"/>
                  </a:cxn>
                  <a:cxn ang="0">
                    <a:pos x="37" y="52"/>
                  </a:cxn>
                  <a:cxn ang="0">
                    <a:pos x="45" y="53"/>
                  </a:cxn>
                  <a:cxn ang="0">
                    <a:pos x="53" y="53"/>
                  </a:cxn>
                  <a:cxn ang="0">
                    <a:pos x="60" y="50"/>
                  </a:cxn>
                  <a:cxn ang="0">
                    <a:pos x="68" y="45"/>
                  </a:cxn>
                  <a:cxn ang="0">
                    <a:pos x="78" y="37"/>
                  </a:cxn>
                  <a:cxn ang="0">
                    <a:pos x="78" y="37"/>
                  </a:cxn>
                  <a:cxn ang="0">
                    <a:pos x="72" y="33"/>
                  </a:cxn>
                  <a:cxn ang="0">
                    <a:pos x="66" y="28"/>
                  </a:cxn>
                  <a:cxn ang="0">
                    <a:pos x="53" y="20"/>
                  </a:cxn>
                  <a:cxn ang="0">
                    <a:pos x="43" y="12"/>
                  </a:cxn>
                  <a:cxn ang="0">
                    <a:pos x="37" y="7"/>
                  </a:cxn>
                  <a:cxn ang="0">
                    <a:pos x="33" y="0"/>
                  </a:cxn>
                  <a:cxn ang="0">
                    <a:pos x="33" y="0"/>
                  </a:cxn>
                  <a:cxn ang="0">
                    <a:pos x="33" y="0"/>
                  </a:cxn>
                </a:cxnLst>
                <a:rect l="0" t="0" r="r" b="b"/>
                <a:pathLst>
                  <a:path w="78" h="53">
                    <a:moveTo>
                      <a:pt x="33" y="0"/>
                    </a:moveTo>
                    <a:lnTo>
                      <a:pt x="33" y="0"/>
                    </a:lnTo>
                    <a:lnTo>
                      <a:pt x="15" y="7"/>
                    </a:lnTo>
                    <a:lnTo>
                      <a:pt x="10" y="11"/>
                    </a:lnTo>
                    <a:lnTo>
                      <a:pt x="5" y="14"/>
                    </a:lnTo>
                    <a:lnTo>
                      <a:pt x="3" y="19"/>
                    </a:lnTo>
                    <a:lnTo>
                      <a:pt x="2" y="26"/>
                    </a:lnTo>
                    <a:lnTo>
                      <a:pt x="0" y="34"/>
                    </a:lnTo>
                    <a:lnTo>
                      <a:pt x="0" y="45"/>
                    </a:lnTo>
                    <a:lnTo>
                      <a:pt x="0" y="45"/>
                    </a:lnTo>
                    <a:lnTo>
                      <a:pt x="27" y="50"/>
                    </a:lnTo>
                    <a:lnTo>
                      <a:pt x="37" y="52"/>
                    </a:lnTo>
                    <a:lnTo>
                      <a:pt x="45" y="53"/>
                    </a:lnTo>
                    <a:lnTo>
                      <a:pt x="53" y="53"/>
                    </a:lnTo>
                    <a:lnTo>
                      <a:pt x="60" y="50"/>
                    </a:lnTo>
                    <a:lnTo>
                      <a:pt x="68" y="45"/>
                    </a:lnTo>
                    <a:lnTo>
                      <a:pt x="78" y="37"/>
                    </a:lnTo>
                    <a:lnTo>
                      <a:pt x="78" y="37"/>
                    </a:lnTo>
                    <a:lnTo>
                      <a:pt x="72" y="33"/>
                    </a:lnTo>
                    <a:lnTo>
                      <a:pt x="66" y="28"/>
                    </a:lnTo>
                    <a:lnTo>
                      <a:pt x="53" y="20"/>
                    </a:lnTo>
                    <a:lnTo>
                      <a:pt x="43" y="12"/>
                    </a:lnTo>
                    <a:lnTo>
                      <a:pt x="37" y="7"/>
                    </a:lnTo>
                    <a:lnTo>
                      <a:pt x="33" y="0"/>
                    </a:lnTo>
                    <a:lnTo>
                      <a:pt x="33" y="0"/>
                    </a:lnTo>
                    <a:lnTo>
                      <a:pt x="33"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3" name="Freeform 48"/>
              <p:cNvSpPr>
                <a:spLocks noChangeAspect="1"/>
              </p:cNvSpPr>
              <p:nvPr/>
            </p:nvSpPr>
            <p:spPr bwMode="auto">
              <a:xfrm>
                <a:off x="8059548" y="2498547"/>
                <a:ext cx="41213" cy="90453"/>
              </a:xfrm>
              <a:custGeom>
                <a:avLst/>
                <a:gdLst/>
                <a:ahLst/>
                <a:cxnLst>
                  <a:cxn ang="0">
                    <a:pos x="10" y="73"/>
                  </a:cxn>
                  <a:cxn ang="0">
                    <a:pos x="3" y="28"/>
                  </a:cxn>
                  <a:cxn ang="0">
                    <a:pos x="3" y="28"/>
                  </a:cxn>
                  <a:cxn ang="0">
                    <a:pos x="3" y="28"/>
                  </a:cxn>
                  <a:cxn ang="0">
                    <a:pos x="1" y="27"/>
                  </a:cxn>
                  <a:cxn ang="0">
                    <a:pos x="0" y="25"/>
                  </a:cxn>
                  <a:cxn ang="0">
                    <a:pos x="0" y="14"/>
                  </a:cxn>
                  <a:cxn ang="0">
                    <a:pos x="0" y="14"/>
                  </a:cxn>
                  <a:cxn ang="0">
                    <a:pos x="1" y="9"/>
                  </a:cxn>
                  <a:cxn ang="0">
                    <a:pos x="3" y="4"/>
                  </a:cxn>
                  <a:cxn ang="0">
                    <a:pos x="7" y="1"/>
                  </a:cxn>
                  <a:cxn ang="0">
                    <a:pos x="10" y="0"/>
                  </a:cxn>
                  <a:cxn ang="0">
                    <a:pos x="10" y="0"/>
                  </a:cxn>
                  <a:cxn ang="0">
                    <a:pos x="40" y="14"/>
                  </a:cxn>
                  <a:cxn ang="0">
                    <a:pos x="40" y="14"/>
                  </a:cxn>
                  <a:cxn ang="0">
                    <a:pos x="40" y="14"/>
                  </a:cxn>
                  <a:cxn ang="0">
                    <a:pos x="40" y="51"/>
                  </a:cxn>
                  <a:cxn ang="0">
                    <a:pos x="40" y="51"/>
                  </a:cxn>
                  <a:cxn ang="0">
                    <a:pos x="41" y="60"/>
                  </a:cxn>
                  <a:cxn ang="0">
                    <a:pos x="42" y="70"/>
                  </a:cxn>
                  <a:cxn ang="0">
                    <a:pos x="47" y="93"/>
                  </a:cxn>
                  <a:cxn ang="0">
                    <a:pos x="50" y="113"/>
                  </a:cxn>
                  <a:cxn ang="0">
                    <a:pos x="51" y="121"/>
                  </a:cxn>
                  <a:cxn ang="0">
                    <a:pos x="50" y="128"/>
                  </a:cxn>
                  <a:cxn ang="0">
                    <a:pos x="50" y="128"/>
                  </a:cxn>
                  <a:cxn ang="0">
                    <a:pos x="48" y="127"/>
                  </a:cxn>
                  <a:cxn ang="0">
                    <a:pos x="46" y="124"/>
                  </a:cxn>
                  <a:cxn ang="0">
                    <a:pos x="40" y="113"/>
                  </a:cxn>
                  <a:cxn ang="0">
                    <a:pos x="40" y="113"/>
                  </a:cxn>
                  <a:cxn ang="0">
                    <a:pos x="38" y="107"/>
                  </a:cxn>
                  <a:cxn ang="0">
                    <a:pos x="33" y="102"/>
                  </a:cxn>
                  <a:cxn ang="0">
                    <a:pos x="24" y="92"/>
                  </a:cxn>
                  <a:cxn ang="0">
                    <a:pos x="19" y="87"/>
                  </a:cxn>
                  <a:cxn ang="0">
                    <a:pos x="15" y="82"/>
                  </a:cxn>
                  <a:cxn ang="0">
                    <a:pos x="11" y="78"/>
                  </a:cxn>
                  <a:cxn ang="0">
                    <a:pos x="10" y="73"/>
                  </a:cxn>
                  <a:cxn ang="0">
                    <a:pos x="10" y="73"/>
                  </a:cxn>
                  <a:cxn ang="0">
                    <a:pos x="10" y="73"/>
                  </a:cxn>
                </a:cxnLst>
                <a:rect l="0" t="0" r="r" b="b"/>
                <a:pathLst>
                  <a:path w="51" h="128">
                    <a:moveTo>
                      <a:pt x="10" y="73"/>
                    </a:moveTo>
                    <a:lnTo>
                      <a:pt x="3" y="28"/>
                    </a:lnTo>
                    <a:lnTo>
                      <a:pt x="3" y="28"/>
                    </a:lnTo>
                    <a:lnTo>
                      <a:pt x="3" y="28"/>
                    </a:lnTo>
                    <a:lnTo>
                      <a:pt x="1" y="27"/>
                    </a:lnTo>
                    <a:lnTo>
                      <a:pt x="0" y="25"/>
                    </a:lnTo>
                    <a:lnTo>
                      <a:pt x="0" y="14"/>
                    </a:lnTo>
                    <a:lnTo>
                      <a:pt x="0" y="14"/>
                    </a:lnTo>
                    <a:lnTo>
                      <a:pt x="1" y="9"/>
                    </a:lnTo>
                    <a:lnTo>
                      <a:pt x="3" y="4"/>
                    </a:lnTo>
                    <a:lnTo>
                      <a:pt x="7" y="1"/>
                    </a:lnTo>
                    <a:lnTo>
                      <a:pt x="10" y="0"/>
                    </a:lnTo>
                    <a:lnTo>
                      <a:pt x="10" y="0"/>
                    </a:lnTo>
                    <a:lnTo>
                      <a:pt x="40" y="14"/>
                    </a:lnTo>
                    <a:lnTo>
                      <a:pt x="40" y="14"/>
                    </a:lnTo>
                    <a:lnTo>
                      <a:pt x="40" y="14"/>
                    </a:lnTo>
                    <a:lnTo>
                      <a:pt x="40" y="51"/>
                    </a:lnTo>
                    <a:lnTo>
                      <a:pt x="40" y="51"/>
                    </a:lnTo>
                    <a:lnTo>
                      <a:pt x="41" y="60"/>
                    </a:lnTo>
                    <a:lnTo>
                      <a:pt x="42" y="70"/>
                    </a:lnTo>
                    <a:lnTo>
                      <a:pt x="47" y="93"/>
                    </a:lnTo>
                    <a:lnTo>
                      <a:pt x="50" y="113"/>
                    </a:lnTo>
                    <a:lnTo>
                      <a:pt x="51" y="121"/>
                    </a:lnTo>
                    <a:lnTo>
                      <a:pt x="50" y="128"/>
                    </a:lnTo>
                    <a:lnTo>
                      <a:pt x="50" y="128"/>
                    </a:lnTo>
                    <a:lnTo>
                      <a:pt x="48" y="127"/>
                    </a:lnTo>
                    <a:lnTo>
                      <a:pt x="46" y="124"/>
                    </a:lnTo>
                    <a:lnTo>
                      <a:pt x="40" y="113"/>
                    </a:lnTo>
                    <a:lnTo>
                      <a:pt x="40" y="113"/>
                    </a:lnTo>
                    <a:lnTo>
                      <a:pt x="38" y="107"/>
                    </a:lnTo>
                    <a:lnTo>
                      <a:pt x="33" y="102"/>
                    </a:lnTo>
                    <a:lnTo>
                      <a:pt x="24" y="92"/>
                    </a:lnTo>
                    <a:lnTo>
                      <a:pt x="19" y="87"/>
                    </a:lnTo>
                    <a:lnTo>
                      <a:pt x="15" y="82"/>
                    </a:lnTo>
                    <a:lnTo>
                      <a:pt x="11" y="78"/>
                    </a:lnTo>
                    <a:lnTo>
                      <a:pt x="10" y="73"/>
                    </a:lnTo>
                    <a:lnTo>
                      <a:pt x="10" y="73"/>
                    </a:lnTo>
                    <a:lnTo>
                      <a:pt x="10" y="7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4" name="Freeform 49"/>
              <p:cNvSpPr>
                <a:spLocks noChangeAspect="1"/>
              </p:cNvSpPr>
              <p:nvPr/>
            </p:nvSpPr>
            <p:spPr bwMode="auto">
              <a:xfrm>
                <a:off x="2359498" y="3817766"/>
                <a:ext cx="599171" cy="641519"/>
              </a:xfrm>
              <a:custGeom>
                <a:avLst/>
                <a:gdLst/>
                <a:ahLst/>
                <a:cxnLst>
                  <a:cxn ang="0">
                    <a:pos x="442" y="145"/>
                  </a:cxn>
                  <a:cxn ang="0">
                    <a:pos x="392" y="238"/>
                  </a:cxn>
                  <a:cxn ang="0">
                    <a:pos x="359" y="276"/>
                  </a:cxn>
                  <a:cxn ang="0">
                    <a:pos x="296" y="299"/>
                  </a:cxn>
                  <a:cxn ang="0">
                    <a:pos x="282" y="323"/>
                  </a:cxn>
                  <a:cxn ang="0">
                    <a:pos x="293" y="361"/>
                  </a:cxn>
                  <a:cxn ang="0">
                    <a:pos x="304" y="390"/>
                  </a:cxn>
                  <a:cxn ang="0">
                    <a:pos x="289" y="416"/>
                  </a:cxn>
                  <a:cxn ang="0">
                    <a:pos x="283" y="438"/>
                  </a:cxn>
                  <a:cxn ang="0">
                    <a:pos x="297" y="467"/>
                  </a:cxn>
                  <a:cxn ang="0">
                    <a:pos x="290" y="489"/>
                  </a:cxn>
                  <a:cxn ang="0">
                    <a:pos x="251" y="514"/>
                  </a:cxn>
                  <a:cxn ang="0">
                    <a:pos x="214" y="521"/>
                  </a:cxn>
                  <a:cxn ang="0">
                    <a:pos x="199" y="547"/>
                  </a:cxn>
                  <a:cxn ang="0">
                    <a:pos x="185" y="576"/>
                  </a:cxn>
                  <a:cxn ang="0">
                    <a:pos x="156" y="570"/>
                  </a:cxn>
                  <a:cxn ang="0">
                    <a:pos x="130" y="574"/>
                  </a:cxn>
                  <a:cxn ang="0">
                    <a:pos x="101" y="612"/>
                  </a:cxn>
                  <a:cxn ang="0">
                    <a:pos x="82" y="634"/>
                  </a:cxn>
                  <a:cxn ang="0">
                    <a:pos x="50" y="633"/>
                  </a:cxn>
                  <a:cxn ang="0">
                    <a:pos x="23" y="656"/>
                  </a:cxn>
                  <a:cxn ang="0">
                    <a:pos x="0" y="720"/>
                  </a:cxn>
                  <a:cxn ang="0">
                    <a:pos x="11" y="744"/>
                  </a:cxn>
                  <a:cxn ang="0">
                    <a:pos x="92" y="795"/>
                  </a:cxn>
                  <a:cxn ang="0">
                    <a:pos x="111" y="796"/>
                  </a:cxn>
                  <a:cxn ang="0">
                    <a:pos x="136" y="786"/>
                  </a:cxn>
                  <a:cxn ang="0">
                    <a:pos x="186" y="806"/>
                  </a:cxn>
                  <a:cxn ang="0">
                    <a:pos x="232" y="847"/>
                  </a:cxn>
                  <a:cxn ang="0">
                    <a:pos x="290" y="854"/>
                  </a:cxn>
                  <a:cxn ang="0">
                    <a:pos x="320" y="874"/>
                  </a:cxn>
                  <a:cxn ang="0">
                    <a:pos x="345" y="889"/>
                  </a:cxn>
                  <a:cxn ang="0">
                    <a:pos x="377" y="872"/>
                  </a:cxn>
                  <a:cxn ang="0">
                    <a:pos x="404" y="864"/>
                  </a:cxn>
                  <a:cxn ang="0">
                    <a:pos x="464" y="893"/>
                  </a:cxn>
                  <a:cxn ang="0">
                    <a:pos x="521" y="923"/>
                  </a:cxn>
                  <a:cxn ang="0">
                    <a:pos x="543" y="910"/>
                  </a:cxn>
                  <a:cxn ang="0">
                    <a:pos x="565" y="896"/>
                  </a:cxn>
                  <a:cxn ang="0">
                    <a:pos x="599" y="908"/>
                  </a:cxn>
                  <a:cxn ang="0">
                    <a:pos x="613" y="895"/>
                  </a:cxn>
                  <a:cxn ang="0">
                    <a:pos x="609" y="847"/>
                  </a:cxn>
                  <a:cxn ang="0">
                    <a:pos x="630" y="794"/>
                  </a:cxn>
                  <a:cxn ang="0">
                    <a:pos x="734" y="775"/>
                  </a:cxn>
                  <a:cxn ang="0">
                    <a:pos x="750" y="738"/>
                  </a:cxn>
                  <a:cxn ang="0">
                    <a:pos x="749" y="627"/>
                  </a:cxn>
                  <a:cxn ang="0">
                    <a:pos x="732" y="556"/>
                  </a:cxn>
                  <a:cxn ang="0">
                    <a:pos x="695" y="531"/>
                  </a:cxn>
                  <a:cxn ang="0">
                    <a:pos x="659" y="506"/>
                  </a:cxn>
                  <a:cxn ang="0">
                    <a:pos x="659" y="478"/>
                  </a:cxn>
                  <a:cxn ang="0">
                    <a:pos x="664" y="397"/>
                  </a:cxn>
                  <a:cxn ang="0">
                    <a:pos x="653" y="298"/>
                  </a:cxn>
                  <a:cxn ang="0">
                    <a:pos x="658" y="254"/>
                  </a:cxn>
                  <a:cxn ang="0">
                    <a:pos x="663" y="215"/>
                  </a:cxn>
                  <a:cxn ang="0">
                    <a:pos x="635" y="172"/>
                  </a:cxn>
                  <a:cxn ang="0">
                    <a:pos x="615" y="134"/>
                  </a:cxn>
                  <a:cxn ang="0">
                    <a:pos x="557" y="75"/>
                  </a:cxn>
                  <a:cxn ang="0">
                    <a:pos x="528" y="23"/>
                  </a:cxn>
                  <a:cxn ang="0">
                    <a:pos x="513" y="7"/>
                  </a:cxn>
                  <a:cxn ang="0">
                    <a:pos x="506" y="8"/>
                  </a:cxn>
                </a:cxnLst>
                <a:rect l="0" t="0" r="r" b="b"/>
                <a:pathLst>
                  <a:path w="756" h="923">
                    <a:moveTo>
                      <a:pt x="506" y="8"/>
                    </a:moveTo>
                    <a:lnTo>
                      <a:pt x="506" y="8"/>
                    </a:lnTo>
                    <a:lnTo>
                      <a:pt x="487" y="53"/>
                    </a:lnTo>
                    <a:lnTo>
                      <a:pt x="465" y="99"/>
                    </a:lnTo>
                    <a:lnTo>
                      <a:pt x="442" y="145"/>
                    </a:lnTo>
                    <a:lnTo>
                      <a:pt x="430" y="167"/>
                    </a:lnTo>
                    <a:lnTo>
                      <a:pt x="418" y="187"/>
                    </a:lnTo>
                    <a:lnTo>
                      <a:pt x="418" y="187"/>
                    </a:lnTo>
                    <a:lnTo>
                      <a:pt x="405" y="214"/>
                    </a:lnTo>
                    <a:lnTo>
                      <a:pt x="392" y="238"/>
                    </a:lnTo>
                    <a:lnTo>
                      <a:pt x="386" y="248"/>
                    </a:lnTo>
                    <a:lnTo>
                      <a:pt x="378" y="259"/>
                    </a:lnTo>
                    <a:lnTo>
                      <a:pt x="369" y="268"/>
                    </a:lnTo>
                    <a:lnTo>
                      <a:pt x="359" y="276"/>
                    </a:lnTo>
                    <a:lnTo>
                      <a:pt x="359" y="276"/>
                    </a:lnTo>
                    <a:lnTo>
                      <a:pt x="350" y="280"/>
                    </a:lnTo>
                    <a:lnTo>
                      <a:pt x="338" y="284"/>
                    </a:lnTo>
                    <a:lnTo>
                      <a:pt x="313" y="292"/>
                    </a:lnTo>
                    <a:lnTo>
                      <a:pt x="300" y="297"/>
                    </a:lnTo>
                    <a:lnTo>
                      <a:pt x="296" y="299"/>
                    </a:lnTo>
                    <a:lnTo>
                      <a:pt x="291" y="302"/>
                    </a:lnTo>
                    <a:lnTo>
                      <a:pt x="288" y="307"/>
                    </a:lnTo>
                    <a:lnTo>
                      <a:pt x="284" y="312"/>
                    </a:lnTo>
                    <a:lnTo>
                      <a:pt x="283" y="317"/>
                    </a:lnTo>
                    <a:lnTo>
                      <a:pt x="282" y="323"/>
                    </a:lnTo>
                    <a:lnTo>
                      <a:pt x="282" y="323"/>
                    </a:lnTo>
                    <a:lnTo>
                      <a:pt x="283" y="336"/>
                    </a:lnTo>
                    <a:lnTo>
                      <a:pt x="285" y="346"/>
                    </a:lnTo>
                    <a:lnTo>
                      <a:pt x="289" y="354"/>
                    </a:lnTo>
                    <a:lnTo>
                      <a:pt x="293" y="361"/>
                    </a:lnTo>
                    <a:lnTo>
                      <a:pt x="297" y="367"/>
                    </a:lnTo>
                    <a:lnTo>
                      <a:pt x="300" y="374"/>
                    </a:lnTo>
                    <a:lnTo>
                      <a:pt x="302" y="381"/>
                    </a:lnTo>
                    <a:lnTo>
                      <a:pt x="304" y="390"/>
                    </a:lnTo>
                    <a:lnTo>
                      <a:pt x="304" y="390"/>
                    </a:lnTo>
                    <a:lnTo>
                      <a:pt x="302" y="397"/>
                    </a:lnTo>
                    <a:lnTo>
                      <a:pt x="300" y="401"/>
                    </a:lnTo>
                    <a:lnTo>
                      <a:pt x="297" y="407"/>
                    </a:lnTo>
                    <a:lnTo>
                      <a:pt x="293" y="412"/>
                    </a:lnTo>
                    <a:lnTo>
                      <a:pt x="289" y="416"/>
                    </a:lnTo>
                    <a:lnTo>
                      <a:pt x="285" y="422"/>
                    </a:lnTo>
                    <a:lnTo>
                      <a:pt x="283" y="428"/>
                    </a:lnTo>
                    <a:lnTo>
                      <a:pt x="282" y="434"/>
                    </a:lnTo>
                    <a:lnTo>
                      <a:pt x="282" y="434"/>
                    </a:lnTo>
                    <a:lnTo>
                      <a:pt x="283" y="438"/>
                    </a:lnTo>
                    <a:lnTo>
                      <a:pt x="284" y="442"/>
                    </a:lnTo>
                    <a:lnTo>
                      <a:pt x="290" y="448"/>
                    </a:lnTo>
                    <a:lnTo>
                      <a:pt x="294" y="457"/>
                    </a:lnTo>
                    <a:lnTo>
                      <a:pt x="297" y="461"/>
                    </a:lnTo>
                    <a:lnTo>
                      <a:pt x="297" y="467"/>
                    </a:lnTo>
                    <a:lnTo>
                      <a:pt x="297" y="467"/>
                    </a:lnTo>
                    <a:lnTo>
                      <a:pt x="297" y="473"/>
                    </a:lnTo>
                    <a:lnTo>
                      <a:pt x="296" y="478"/>
                    </a:lnTo>
                    <a:lnTo>
                      <a:pt x="293" y="484"/>
                    </a:lnTo>
                    <a:lnTo>
                      <a:pt x="290" y="489"/>
                    </a:lnTo>
                    <a:lnTo>
                      <a:pt x="286" y="493"/>
                    </a:lnTo>
                    <a:lnTo>
                      <a:pt x="283" y="498"/>
                    </a:lnTo>
                    <a:lnTo>
                      <a:pt x="273" y="505"/>
                    </a:lnTo>
                    <a:lnTo>
                      <a:pt x="262" y="511"/>
                    </a:lnTo>
                    <a:lnTo>
                      <a:pt x="251" y="514"/>
                    </a:lnTo>
                    <a:lnTo>
                      <a:pt x="238" y="518"/>
                    </a:lnTo>
                    <a:lnTo>
                      <a:pt x="227" y="518"/>
                    </a:lnTo>
                    <a:lnTo>
                      <a:pt x="227" y="518"/>
                    </a:lnTo>
                    <a:lnTo>
                      <a:pt x="220" y="519"/>
                    </a:lnTo>
                    <a:lnTo>
                      <a:pt x="214" y="521"/>
                    </a:lnTo>
                    <a:lnTo>
                      <a:pt x="209" y="523"/>
                    </a:lnTo>
                    <a:lnTo>
                      <a:pt x="206" y="527"/>
                    </a:lnTo>
                    <a:lnTo>
                      <a:pt x="204" y="531"/>
                    </a:lnTo>
                    <a:lnTo>
                      <a:pt x="201" y="537"/>
                    </a:lnTo>
                    <a:lnTo>
                      <a:pt x="199" y="547"/>
                    </a:lnTo>
                    <a:lnTo>
                      <a:pt x="198" y="558"/>
                    </a:lnTo>
                    <a:lnTo>
                      <a:pt x="194" y="568"/>
                    </a:lnTo>
                    <a:lnTo>
                      <a:pt x="192" y="572"/>
                    </a:lnTo>
                    <a:lnTo>
                      <a:pt x="189" y="574"/>
                    </a:lnTo>
                    <a:lnTo>
                      <a:pt x="185" y="576"/>
                    </a:lnTo>
                    <a:lnTo>
                      <a:pt x="179" y="576"/>
                    </a:lnTo>
                    <a:lnTo>
                      <a:pt x="179" y="576"/>
                    </a:lnTo>
                    <a:lnTo>
                      <a:pt x="172" y="576"/>
                    </a:lnTo>
                    <a:lnTo>
                      <a:pt x="166" y="573"/>
                    </a:lnTo>
                    <a:lnTo>
                      <a:pt x="156" y="570"/>
                    </a:lnTo>
                    <a:lnTo>
                      <a:pt x="146" y="569"/>
                    </a:lnTo>
                    <a:lnTo>
                      <a:pt x="146" y="569"/>
                    </a:lnTo>
                    <a:lnTo>
                      <a:pt x="140" y="570"/>
                    </a:lnTo>
                    <a:lnTo>
                      <a:pt x="134" y="572"/>
                    </a:lnTo>
                    <a:lnTo>
                      <a:pt x="130" y="574"/>
                    </a:lnTo>
                    <a:lnTo>
                      <a:pt x="125" y="576"/>
                    </a:lnTo>
                    <a:lnTo>
                      <a:pt x="118" y="583"/>
                    </a:lnTo>
                    <a:lnTo>
                      <a:pt x="111" y="592"/>
                    </a:lnTo>
                    <a:lnTo>
                      <a:pt x="106" y="602"/>
                    </a:lnTo>
                    <a:lnTo>
                      <a:pt x="101" y="612"/>
                    </a:lnTo>
                    <a:lnTo>
                      <a:pt x="96" y="621"/>
                    </a:lnTo>
                    <a:lnTo>
                      <a:pt x="91" y="629"/>
                    </a:lnTo>
                    <a:lnTo>
                      <a:pt x="91" y="629"/>
                    </a:lnTo>
                    <a:lnTo>
                      <a:pt x="87" y="631"/>
                    </a:lnTo>
                    <a:lnTo>
                      <a:pt x="82" y="634"/>
                    </a:lnTo>
                    <a:lnTo>
                      <a:pt x="77" y="634"/>
                    </a:lnTo>
                    <a:lnTo>
                      <a:pt x="72" y="634"/>
                    </a:lnTo>
                    <a:lnTo>
                      <a:pt x="62" y="631"/>
                    </a:lnTo>
                    <a:lnTo>
                      <a:pt x="56" y="631"/>
                    </a:lnTo>
                    <a:lnTo>
                      <a:pt x="50" y="633"/>
                    </a:lnTo>
                    <a:lnTo>
                      <a:pt x="50" y="633"/>
                    </a:lnTo>
                    <a:lnTo>
                      <a:pt x="46" y="634"/>
                    </a:lnTo>
                    <a:lnTo>
                      <a:pt x="41" y="637"/>
                    </a:lnTo>
                    <a:lnTo>
                      <a:pt x="32" y="645"/>
                    </a:lnTo>
                    <a:lnTo>
                      <a:pt x="23" y="656"/>
                    </a:lnTo>
                    <a:lnTo>
                      <a:pt x="15" y="668"/>
                    </a:lnTo>
                    <a:lnTo>
                      <a:pt x="9" y="681"/>
                    </a:lnTo>
                    <a:lnTo>
                      <a:pt x="3" y="695"/>
                    </a:lnTo>
                    <a:lnTo>
                      <a:pt x="1" y="709"/>
                    </a:lnTo>
                    <a:lnTo>
                      <a:pt x="0" y="720"/>
                    </a:lnTo>
                    <a:lnTo>
                      <a:pt x="0" y="720"/>
                    </a:lnTo>
                    <a:lnTo>
                      <a:pt x="0" y="726"/>
                    </a:lnTo>
                    <a:lnTo>
                      <a:pt x="2" y="732"/>
                    </a:lnTo>
                    <a:lnTo>
                      <a:pt x="7" y="738"/>
                    </a:lnTo>
                    <a:lnTo>
                      <a:pt x="11" y="744"/>
                    </a:lnTo>
                    <a:lnTo>
                      <a:pt x="24" y="758"/>
                    </a:lnTo>
                    <a:lnTo>
                      <a:pt x="40" y="770"/>
                    </a:lnTo>
                    <a:lnTo>
                      <a:pt x="57" y="781"/>
                    </a:lnTo>
                    <a:lnTo>
                      <a:pt x="76" y="789"/>
                    </a:lnTo>
                    <a:lnTo>
                      <a:pt x="92" y="795"/>
                    </a:lnTo>
                    <a:lnTo>
                      <a:pt x="99" y="797"/>
                    </a:lnTo>
                    <a:lnTo>
                      <a:pt x="106" y="797"/>
                    </a:lnTo>
                    <a:lnTo>
                      <a:pt x="106" y="797"/>
                    </a:lnTo>
                    <a:lnTo>
                      <a:pt x="108" y="797"/>
                    </a:lnTo>
                    <a:lnTo>
                      <a:pt x="111" y="796"/>
                    </a:lnTo>
                    <a:lnTo>
                      <a:pt x="117" y="791"/>
                    </a:lnTo>
                    <a:lnTo>
                      <a:pt x="125" y="788"/>
                    </a:lnTo>
                    <a:lnTo>
                      <a:pt x="130" y="787"/>
                    </a:lnTo>
                    <a:lnTo>
                      <a:pt x="136" y="786"/>
                    </a:lnTo>
                    <a:lnTo>
                      <a:pt x="136" y="786"/>
                    </a:lnTo>
                    <a:lnTo>
                      <a:pt x="143" y="787"/>
                    </a:lnTo>
                    <a:lnTo>
                      <a:pt x="148" y="788"/>
                    </a:lnTo>
                    <a:lnTo>
                      <a:pt x="162" y="793"/>
                    </a:lnTo>
                    <a:lnTo>
                      <a:pt x="174" y="798"/>
                    </a:lnTo>
                    <a:lnTo>
                      <a:pt x="186" y="806"/>
                    </a:lnTo>
                    <a:lnTo>
                      <a:pt x="197" y="816"/>
                    </a:lnTo>
                    <a:lnTo>
                      <a:pt x="207" y="825"/>
                    </a:lnTo>
                    <a:lnTo>
                      <a:pt x="223" y="841"/>
                    </a:lnTo>
                    <a:lnTo>
                      <a:pt x="223" y="841"/>
                    </a:lnTo>
                    <a:lnTo>
                      <a:pt x="232" y="847"/>
                    </a:lnTo>
                    <a:lnTo>
                      <a:pt x="240" y="850"/>
                    </a:lnTo>
                    <a:lnTo>
                      <a:pt x="250" y="851"/>
                    </a:lnTo>
                    <a:lnTo>
                      <a:pt x="259" y="851"/>
                    </a:lnTo>
                    <a:lnTo>
                      <a:pt x="279" y="851"/>
                    </a:lnTo>
                    <a:lnTo>
                      <a:pt x="290" y="854"/>
                    </a:lnTo>
                    <a:lnTo>
                      <a:pt x="300" y="856"/>
                    </a:lnTo>
                    <a:lnTo>
                      <a:pt x="300" y="856"/>
                    </a:lnTo>
                    <a:lnTo>
                      <a:pt x="306" y="858"/>
                    </a:lnTo>
                    <a:lnTo>
                      <a:pt x="311" y="863"/>
                    </a:lnTo>
                    <a:lnTo>
                      <a:pt x="320" y="874"/>
                    </a:lnTo>
                    <a:lnTo>
                      <a:pt x="324" y="880"/>
                    </a:lnTo>
                    <a:lnTo>
                      <a:pt x="330" y="885"/>
                    </a:lnTo>
                    <a:lnTo>
                      <a:pt x="337" y="888"/>
                    </a:lnTo>
                    <a:lnTo>
                      <a:pt x="345" y="889"/>
                    </a:lnTo>
                    <a:lnTo>
                      <a:pt x="345" y="889"/>
                    </a:lnTo>
                    <a:lnTo>
                      <a:pt x="354" y="888"/>
                    </a:lnTo>
                    <a:lnTo>
                      <a:pt x="362" y="885"/>
                    </a:lnTo>
                    <a:lnTo>
                      <a:pt x="368" y="881"/>
                    </a:lnTo>
                    <a:lnTo>
                      <a:pt x="373" y="877"/>
                    </a:lnTo>
                    <a:lnTo>
                      <a:pt x="377" y="872"/>
                    </a:lnTo>
                    <a:lnTo>
                      <a:pt x="383" y="867"/>
                    </a:lnTo>
                    <a:lnTo>
                      <a:pt x="389" y="865"/>
                    </a:lnTo>
                    <a:lnTo>
                      <a:pt x="396" y="864"/>
                    </a:lnTo>
                    <a:lnTo>
                      <a:pt x="396" y="864"/>
                    </a:lnTo>
                    <a:lnTo>
                      <a:pt x="404" y="864"/>
                    </a:lnTo>
                    <a:lnTo>
                      <a:pt x="412" y="866"/>
                    </a:lnTo>
                    <a:lnTo>
                      <a:pt x="420" y="870"/>
                    </a:lnTo>
                    <a:lnTo>
                      <a:pt x="429" y="873"/>
                    </a:lnTo>
                    <a:lnTo>
                      <a:pt x="446" y="882"/>
                    </a:lnTo>
                    <a:lnTo>
                      <a:pt x="464" y="893"/>
                    </a:lnTo>
                    <a:lnTo>
                      <a:pt x="481" y="904"/>
                    </a:lnTo>
                    <a:lnTo>
                      <a:pt x="496" y="913"/>
                    </a:lnTo>
                    <a:lnTo>
                      <a:pt x="510" y="920"/>
                    </a:lnTo>
                    <a:lnTo>
                      <a:pt x="515" y="921"/>
                    </a:lnTo>
                    <a:lnTo>
                      <a:pt x="521" y="923"/>
                    </a:lnTo>
                    <a:lnTo>
                      <a:pt x="521" y="923"/>
                    </a:lnTo>
                    <a:lnTo>
                      <a:pt x="527" y="921"/>
                    </a:lnTo>
                    <a:lnTo>
                      <a:pt x="533" y="918"/>
                    </a:lnTo>
                    <a:lnTo>
                      <a:pt x="538" y="915"/>
                    </a:lnTo>
                    <a:lnTo>
                      <a:pt x="543" y="910"/>
                    </a:lnTo>
                    <a:lnTo>
                      <a:pt x="548" y="905"/>
                    </a:lnTo>
                    <a:lnTo>
                      <a:pt x="553" y="901"/>
                    </a:lnTo>
                    <a:lnTo>
                      <a:pt x="559" y="897"/>
                    </a:lnTo>
                    <a:lnTo>
                      <a:pt x="565" y="896"/>
                    </a:lnTo>
                    <a:lnTo>
                      <a:pt x="565" y="896"/>
                    </a:lnTo>
                    <a:lnTo>
                      <a:pt x="571" y="897"/>
                    </a:lnTo>
                    <a:lnTo>
                      <a:pt x="575" y="898"/>
                    </a:lnTo>
                    <a:lnTo>
                      <a:pt x="584" y="902"/>
                    </a:lnTo>
                    <a:lnTo>
                      <a:pt x="595" y="906"/>
                    </a:lnTo>
                    <a:lnTo>
                      <a:pt x="599" y="908"/>
                    </a:lnTo>
                    <a:lnTo>
                      <a:pt x="605" y="908"/>
                    </a:lnTo>
                    <a:lnTo>
                      <a:pt x="605" y="908"/>
                    </a:lnTo>
                    <a:lnTo>
                      <a:pt x="609" y="904"/>
                    </a:lnTo>
                    <a:lnTo>
                      <a:pt x="611" y="900"/>
                    </a:lnTo>
                    <a:lnTo>
                      <a:pt x="613" y="895"/>
                    </a:lnTo>
                    <a:lnTo>
                      <a:pt x="614" y="889"/>
                    </a:lnTo>
                    <a:lnTo>
                      <a:pt x="614" y="878"/>
                    </a:lnTo>
                    <a:lnTo>
                      <a:pt x="613" y="866"/>
                    </a:lnTo>
                    <a:lnTo>
                      <a:pt x="611" y="855"/>
                    </a:lnTo>
                    <a:lnTo>
                      <a:pt x="609" y="847"/>
                    </a:lnTo>
                    <a:lnTo>
                      <a:pt x="605" y="837"/>
                    </a:lnTo>
                    <a:lnTo>
                      <a:pt x="605" y="837"/>
                    </a:lnTo>
                    <a:lnTo>
                      <a:pt x="617" y="818"/>
                    </a:lnTo>
                    <a:lnTo>
                      <a:pt x="626" y="802"/>
                    </a:lnTo>
                    <a:lnTo>
                      <a:pt x="630" y="794"/>
                    </a:lnTo>
                    <a:lnTo>
                      <a:pt x="636" y="788"/>
                    </a:lnTo>
                    <a:lnTo>
                      <a:pt x="642" y="781"/>
                    </a:lnTo>
                    <a:lnTo>
                      <a:pt x="649" y="775"/>
                    </a:lnTo>
                    <a:lnTo>
                      <a:pt x="649" y="775"/>
                    </a:lnTo>
                    <a:lnTo>
                      <a:pt x="734" y="775"/>
                    </a:lnTo>
                    <a:lnTo>
                      <a:pt x="734" y="775"/>
                    </a:lnTo>
                    <a:lnTo>
                      <a:pt x="734" y="775"/>
                    </a:lnTo>
                    <a:lnTo>
                      <a:pt x="741" y="763"/>
                    </a:lnTo>
                    <a:lnTo>
                      <a:pt x="747" y="751"/>
                    </a:lnTo>
                    <a:lnTo>
                      <a:pt x="750" y="738"/>
                    </a:lnTo>
                    <a:lnTo>
                      <a:pt x="751" y="726"/>
                    </a:lnTo>
                    <a:lnTo>
                      <a:pt x="754" y="699"/>
                    </a:lnTo>
                    <a:lnTo>
                      <a:pt x="756" y="669"/>
                    </a:lnTo>
                    <a:lnTo>
                      <a:pt x="756" y="669"/>
                    </a:lnTo>
                    <a:lnTo>
                      <a:pt x="749" y="627"/>
                    </a:lnTo>
                    <a:lnTo>
                      <a:pt x="742" y="591"/>
                    </a:lnTo>
                    <a:lnTo>
                      <a:pt x="737" y="575"/>
                    </a:lnTo>
                    <a:lnTo>
                      <a:pt x="734" y="562"/>
                    </a:lnTo>
                    <a:lnTo>
                      <a:pt x="734" y="562"/>
                    </a:lnTo>
                    <a:lnTo>
                      <a:pt x="732" y="556"/>
                    </a:lnTo>
                    <a:lnTo>
                      <a:pt x="727" y="551"/>
                    </a:lnTo>
                    <a:lnTo>
                      <a:pt x="724" y="546"/>
                    </a:lnTo>
                    <a:lnTo>
                      <a:pt x="719" y="542"/>
                    </a:lnTo>
                    <a:lnTo>
                      <a:pt x="708" y="536"/>
                    </a:lnTo>
                    <a:lnTo>
                      <a:pt x="695" y="531"/>
                    </a:lnTo>
                    <a:lnTo>
                      <a:pt x="683" y="527"/>
                    </a:lnTo>
                    <a:lnTo>
                      <a:pt x="672" y="520"/>
                    </a:lnTo>
                    <a:lnTo>
                      <a:pt x="667" y="516"/>
                    </a:lnTo>
                    <a:lnTo>
                      <a:pt x="663" y="512"/>
                    </a:lnTo>
                    <a:lnTo>
                      <a:pt x="659" y="506"/>
                    </a:lnTo>
                    <a:lnTo>
                      <a:pt x="657" y="500"/>
                    </a:lnTo>
                    <a:lnTo>
                      <a:pt x="657" y="500"/>
                    </a:lnTo>
                    <a:lnTo>
                      <a:pt x="656" y="495"/>
                    </a:lnTo>
                    <a:lnTo>
                      <a:pt x="657" y="489"/>
                    </a:lnTo>
                    <a:lnTo>
                      <a:pt x="659" y="478"/>
                    </a:lnTo>
                    <a:lnTo>
                      <a:pt x="663" y="470"/>
                    </a:lnTo>
                    <a:lnTo>
                      <a:pt x="664" y="463"/>
                    </a:lnTo>
                    <a:lnTo>
                      <a:pt x="664" y="463"/>
                    </a:lnTo>
                    <a:lnTo>
                      <a:pt x="664" y="397"/>
                    </a:lnTo>
                    <a:lnTo>
                      <a:pt x="664" y="397"/>
                    </a:lnTo>
                    <a:lnTo>
                      <a:pt x="664" y="382"/>
                    </a:lnTo>
                    <a:lnTo>
                      <a:pt x="663" y="368"/>
                    </a:lnTo>
                    <a:lnTo>
                      <a:pt x="658" y="340"/>
                    </a:lnTo>
                    <a:lnTo>
                      <a:pt x="655" y="312"/>
                    </a:lnTo>
                    <a:lnTo>
                      <a:pt x="653" y="298"/>
                    </a:lnTo>
                    <a:lnTo>
                      <a:pt x="653" y="283"/>
                    </a:lnTo>
                    <a:lnTo>
                      <a:pt x="653" y="283"/>
                    </a:lnTo>
                    <a:lnTo>
                      <a:pt x="653" y="275"/>
                    </a:lnTo>
                    <a:lnTo>
                      <a:pt x="655" y="268"/>
                    </a:lnTo>
                    <a:lnTo>
                      <a:pt x="658" y="254"/>
                    </a:lnTo>
                    <a:lnTo>
                      <a:pt x="663" y="240"/>
                    </a:lnTo>
                    <a:lnTo>
                      <a:pt x="664" y="232"/>
                    </a:lnTo>
                    <a:lnTo>
                      <a:pt x="664" y="224"/>
                    </a:lnTo>
                    <a:lnTo>
                      <a:pt x="664" y="224"/>
                    </a:lnTo>
                    <a:lnTo>
                      <a:pt x="663" y="215"/>
                    </a:lnTo>
                    <a:lnTo>
                      <a:pt x="660" y="207"/>
                    </a:lnTo>
                    <a:lnTo>
                      <a:pt x="656" y="200"/>
                    </a:lnTo>
                    <a:lnTo>
                      <a:pt x="651" y="192"/>
                    </a:lnTo>
                    <a:lnTo>
                      <a:pt x="641" y="179"/>
                    </a:lnTo>
                    <a:lnTo>
                      <a:pt x="635" y="172"/>
                    </a:lnTo>
                    <a:lnTo>
                      <a:pt x="630" y="165"/>
                    </a:lnTo>
                    <a:lnTo>
                      <a:pt x="630" y="165"/>
                    </a:lnTo>
                    <a:lnTo>
                      <a:pt x="626" y="154"/>
                    </a:lnTo>
                    <a:lnTo>
                      <a:pt x="621" y="144"/>
                    </a:lnTo>
                    <a:lnTo>
                      <a:pt x="615" y="134"/>
                    </a:lnTo>
                    <a:lnTo>
                      <a:pt x="609" y="126"/>
                    </a:lnTo>
                    <a:lnTo>
                      <a:pt x="595" y="110"/>
                    </a:lnTo>
                    <a:lnTo>
                      <a:pt x="580" y="96"/>
                    </a:lnTo>
                    <a:lnTo>
                      <a:pt x="565" y="83"/>
                    </a:lnTo>
                    <a:lnTo>
                      <a:pt x="557" y="75"/>
                    </a:lnTo>
                    <a:lnTo>
                      <a:pt x="550" y="66"/>
                    </a:lnTo>
                    <a:lnTo>
                      <a:pt x="544" y="57"/>
                    </a:lnTo>
                    <a:lnTo>
                      <a:pt x="538" y="47"/>
                    </a:lnTo>
                    <a:lnTo>
                      <a:pt x="533" y="35"/>
                    </a:lnTo>
                    <a:lnTo>
                      <a:pt x="528" y="23"/>
                    </a:lnTo>
                    <a:lnTo>
                      <a:pt x="528" y="23"/>
                    </a:lnTo>
                    <a:lnTo>
                      <a:pt x="527" y="20"/>
                    </a:lnTo>
                    <a:lnTo>
                      <a:pt x="525" y="18"/>
                    </a:lnTo>
                    <a:lnTo>
                      <a:pt x="519" y="12"/>
                    </a:lnTo>
                    <a:lnTo>
                      <a:pt x="513" y="7"/>
                    </a:lnTo>
                    <a:lnTo>
                      <a:pt x="511" y="3"/>
                    </a:lnTo>
                    <a:lnTo>
                      <a:pt x="510" y="0"/>
                    </a:lnTo>
                    <a:lnTo>
                      <a:pt x="510" y="0"/>
                    </a:lnTo>
                    <a:lnTo>
                      <a:pt x="506" y="8"/>
                    </a:lnTo>
                    <a:lnTo>
                      <a:pt x="506" y="8"/>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5" name="Freeform 50"/>
              <p:cNvSpPr>
                <a:spLocks noChangeAspect="1"/>
              </p:cNvSpPr>
              <p:nvPr/>
            </p:nvSpPr>
            <p:spPr bwMode="auto">
              <a:xfrm>
                <a:off x="1849093" y="2388612"/>
                <a:ext cx="486629" cy="558024"/>
              </a:xfrm>
              <a:custGeom>
                <a:avLst/>
                <a:gdLst/>
                <a:ahLst/>
                <a:cxnLst>
                  <a:cxn ang="0">
                    <a:pos x="95" y="429"/>
                  </a:cxn>
                  <a:cxn ang="0">
                    <a:pos x="101" y="443"/>
                  </a:cxn>
                  <a:cxn ang="0">
                    <a:pos x="137" y="454"/>
                  </a:cxn>
                  <a:cxn ang="0">
                    <a:pos x="161" y="426"/>
                  </a:cxn>
                  <a:cxn ang="0">
                    <a:pos x="174" y="365"/>
                  </a:cxn>
                  <a:cxn ang="0">
                    <a:pos x="181" y="370"/>
                  </a:cxn>
                  <a:cxn ang="0">
                    <a:pos x="202" y="470"/>
                  </a:cxn>
                  <a:cxn ang="0">
                    <a:pos x="227" y="540"/>
                  </a:cxn>
                  <a:cxn ang="0">
                    <a:pos x="249" y="617"/>
                  </a:cxn>
                  <a:cxn ang="0">
                    <a:pos x="293" y="705"/>
                  </a:cxn>
                  <a:cxn ang="0">
                    <a:pos x="354" y="769"/>
                  </a:cxn>
                  <a:cxn ang="0">
                    <a:pos x="432" y="800"/>
                  </a:cxn>
                  <a:cxn ang="0">
                    <a:pos x="477" y="800"/>
                  </a:cxn>
                  <a:cxn ang="0">
                    <a:pos x="548" y="774"/>
                  </a:cxn>
                  <a:cxn ang="0">
                    <a:pos x="593" y="722"/>
                  </a:cxn>
                  <a:cxn ang="0">
                    <a:pos x="612" y="649"/>
                  </a:cxn>
                  <a:cxn ang="0">
                    <a:pos x="608" y="583"/>
                  </a:cxn>
                  <a:cxn ang="0">
                    <a:pos x="588" y="513"/>
                  </a:cxn>
                  <a:cxn ang="0">
                    <a:pos x="566" y="437"/>
                  </a:cxn>
                  <a:cxn ang="0">
                    <a:pos x="560" y="347"/>
                  </a:cxn>
                  <a:cxn ang="0">
                    <a:pos x="537" y="288"/>
                  </a:cxn>
                  <a:cxn ang="0">
                    <a:pos x="519" y="239"/>
                  </a:cxn>
                  <a:cxn ang="0">
                    <a:pos x="443" y="199"/>
                  </a:cxn>
                  <a:cxn ang="0">
                    <a:pos x="415" y="191"/>
                  </a:cxn>
                  <a:cxn ang="0">
                    <a:pos x="431" y="184"/>
                  </a:cxn>
                  <a:cxn ang="0">
                    <a:pos x="470" y="169"/>
                  </a:cxn>
                  <a:cxn ang="0">
                    <a:pos x="469" y="158"/>
                  </a:cxn>
                  <a:cxn ang="0">
                    <a:pos x="455" y="147"/>
                  </a:cxn>
                  <a:cxn ang="0">
                    <a:pos x="456" y="84"/>
                  </a:cxn>
                  <a:cxn ang="0">
                    <a:pos x="462" y="84"/>
                  </a:cxn>
                  <a:cxn ang="0">
                    <a:pos x="492" y="130"/>
                  </a:cxn>
                  <a:cxn ang="0">
                    <a:pos x="506" y="139"/>
                  </a:cxn>
                  <a:cxn ang="0">
                    <a:pos x="506" y="128"/>
                  </a:cxn>
                  <a:cxn ang="0">
                    <a:pos x="489" y="75"/>
                  </a:cxn>
                  <a:cxn ang="0">
                    <a:pos x="474" y="54"/>
                  </a:cxn>
                  <a:cxn ang="0">
                    <a:pos x="444" y="47"/>
                  </a:cxn>
                  <a:cxn ang="0">
                    <a:pos x="424" y="50"/>
                  </a:cxn>
                  <a:cxn ang="0">
                    <a:pos x="386" y="36"/>
                  </a:cxn>
                  <a:cxn ang="0">
                    <a:pos x="330" y="3"/>
                  </a:cxn>
                  <a:cxn ang="0">
                    <a:pos x="268" y="0"/>
                  </a:cxn>
                  <a:cxn ang="0">
                    <a:pos x="209" y="17"/>
                  </a:cxn>
                  <a:cxn ang="0">
                    <a:pos x="176" y="56"/>
                  </a:cxn>
                  <a:cxn ang="0">
                    <a:pos x="164" y="120"/>
                  </a:cxn>
                  <a:cxn ang="0">
                    <a:pos x="163" y="170"/>
                  </a:cxn>
                  <a:cxn ang="0">
                    <a:pos x="140" y="202"/>
                  </a:cxn>
                  <a:cxn ang="0">
                    <a:pos x="99" y="213"/>
                  </a:cxn>
                  <a:cxn ang="0">
                    <a:pos x="42" y="223"/>
                  </a:cxn>
                  <a:cxn ang="0">
                    <a:pos x="21" y="239"/>
                  </a:cxn>
                  <a:cxn ang="0">
                    <a:pos x="0" y="286"/>
                  </a:cxn>
                  <a:cxn ang="0">
                    <a:pos x="65" y="338"/>
                  </a:cxn>
                  <a:cxn ang="0">
                    <a:pos x="90" y="374"/>
                  </a:cxn>
                  <a:cxn ang="0">
                    <a:pos x="95" y="392"/>
                  </a:cxn>
                </a:cxnLst>
                <a:rect l="0" t="0" r="r" b="b"/>
                <a:pathLst>
                  <a:path w="613" h="801">
                    <a:moveTo>
                      <a:pt x="95" y="392"/>
                    </a:moveTo>
                    <a:lnTo>
                      <a:pt x="95" y="392"/>
                    </a:lnTo>
                    <a:lnTo>
                      <a:pt x="95" y="429"/>
                    </a:lnTo>
                    <a:lnTo>
                      <a:pt x="95" y="429"/>
                    </a:lnTo>
                    <a:lnTo>
                      <a:pt x="95" y="434"/>
                    </a:lnTo>
                    <a:lnTo>
                      <a:pt x="96" y="437"/>
                    </a:lnTo>
                    <a:lnTo>
                      <a:pt x="99" y="441"/>
                    </a:lnTo>
                    <a:lnTo>
                      <a:pt x="101" y="443"/>
                    </a:lnTo>
                    <a:lnTo>
                      <a:pt x="107" y="447"/>
                    </a:lnTo>
                    <a:lnTo>
                      <a:pt x="116" y="451"/>
                    </a:lnTo>
                    <a:lnTo>
                      <a:pt x="125" y="453"/>
                    </a:lnTo>
                    <a:lnTo>
                      <a:pt x="137" y="454"/>
                    </a:lnTo>
                    <a:lnTo>
                      <a:pt x="161" y="456"/>
                    </a:lnTo>
                    <a:lnTo>
                      <a:pt x="161" y="456"/>
                    </a:lnTo>
                    <a:lnTo>
                      <a:pt x="161" y="426"/>
                    </a:lnTo>
                    <a:lnTo>
                      <a:pt x="161" y="426"/>
                    </a:lnTo>
                    <a:lnTo>
                      <a:pt x="165" y="399"/>
                    </a:lnTo>
                    <a:lnTo>
                      <a:pt x="169" y="380"/>
                    </a:lnTo>
                    <a:lnTo>
                      <a:pt x="172" y="368"/>
                    </a:lnTo>
                    <a:lnTo>
                      <a:pt x="174" y="365"/>
                    </a:lnTo>
                    <a:lnTo>
                      <a:pt x="176" y="363"/>
                    </a:lnTo>
                    <a:lnTo>
                      <a:pt x="177" y="363"/>
                    </a:lnTo>
                    <a:lnTo>
                      <a:pt x="179" y="365"/>
                    </a:lnTo>
                    <a:lnTo>
                      <a:pt x="181" y="370"/>
                    </a:lnTo>
                    <a:lnTo>
                      <a:pt x="185" y="381"/>
                    </a:lnTo>
                    <a:lnTo>
                      <a:pt x="187" y="395"/>
                    </a:lnTo>
                    <a:lnTo>
                      <a:pt x="194" y="430"/>
                    </a:lnTo>
                    <a:lnTo>
                      <a:pt x="202" y="470"/>
                    </a:lnTo>
                    <a:lnTo>
                      <a:pt x="207" y="490"/>
                    </a:lnTo>
                    <a:lnTo>
                      <a:pt x="212" y="508"/>
                    </a:lnTo>
                    <a:lnTo>
                      <a:pt x="219" y="526"/>
                    </a:lnTo>
                    <a:lnTo>
                      <a:pt x="227" y="540"/>
                    </a:lnTo>
                    <a:lnTo>
                      <a:pt x="227" y="540"/>
                    </a:lnTo>
                    <a:lnTo>
                      <a:pt x="233" y="566"/>
                    </a:lnTo>
                    <a:lnTo>
                      <a:pt x="240" y="592"/>
                    </a:lnTo>
                    <a:lnTo>
                      <a:pt x="249" y="617"/>
                    </a:lnTo>
                    <a:lnTo>
                      <a:pt x="258" y="641"/>
                    </a:lnTo>
                    <a:lnTo>
                      <a:pt x="269" y="664"/>
                    </a:lnTo>
                    <a:lnTo>
                      <a:pt x="280" y="686"/>
                    </a:lnTo>
                    <a:lnTo>
                      <a:pt x="293" y="705"/>
                    </a:lnTo>
                    <a:lnTo>
                      <a:pt x="307" y="724"/>
                    </a:lnTo>
                    <a:lnTo>
                      <a:pt x="322" y="741"/>
                    </a:lnTo>
                    <a:lnTo>
                      <a:pt x="338" y="756"/>
                    </a:lnTo>
                    <a:lnTo>
                      <a:pt x="354" y="769"/>
                    </a:lnTo>
                    <a:lnTo>
                      <a:pt x="372" y="780"/>
                    </a:lnTo>
                    <a:lnTo>
                      <a:pt x="391" y="789"/>
                    </a:lnTo>
                    <a:lnTo>
                      <a:pt x="412" y="795"/>
                    </a:lnTo>
                    <a:lnTo>
                      <a:pt x="432" y="800"/>
                    </a:lnTo>
                    <a:lnTo>
                      <a:pt x="444" y="801"/>
                    </a:lnTo>
                    <a:lnTo>
                      <a:pt x="455" y="801"/>
                    </a:lnTo>
                    <a:lnTo>
                      <a:pt x="455" y="801"/>
                    </a:lnTo>
                    <a:lnTo>
                      <a:pt x="477" y="800"/>
                    </a:lnTo>
                    <a:lnTo>
                      <a:pt x="497" y="796"/>
                    </a:lnTo>
                    <a:lnTo>
                      <a:pt x="515" y="792"/>
                    </a:lnTo>
                    <a:lnTo>
                      <a:pt x="532" y="783"/>
                    </a:lnTo>
                    <a:lnTo>
                      <a:pt x="548" y="774"/>
                    </a:lnTo>
                    <a:lnTo>
                      <a:pt x="562" y="764"/>
                    </a:lnTo>
                    <a:lnTo>
                      <a:pt x="574" y="751"/>
                    </a:lnTo>
                    <a:lnTo>
                      <a:pt x="584" y="737"/>
                    </a:lnTo>
                    <a:lnTo>
                      <a:pt x="593" y="722"/>
                    </a:lnTo>
                    <a:lnTo>
                      <a:pt x="600" y="705"/>
                    </a:lnTo>
                    <a:lnTo>
                      <a:pt x="606" y="688"/>
                    </a:lnTo>
                    <a:lnTo>
                      <a:pt x="609" y="668"/>
                    </a:lnTo>
                    <a:lnTo>
                      <a:pt x="612" y="649"/>
                    </a:lnTo>
                    <a:lnTo>
                      <a:pt x="613" y="628"/>
                    </a:lnTo>
                    <a:lnTo>
                      <a:pt x="612" y="606"/>
                    </a:lnTo>
                    <a:lnTo>
                      <a:pt x="608" y="583"/>
                    </a:lnTo>
                    <a:lnTo>
                      <a:pt x="608" y="583"/>
                    </a:lnTo>
                    <a:lnTo>
                      <a:pt x="607" y="572"/>
                    </a:lnTo>
                    <a:lnTo>
                      <a:pt x="604" y="560"/>
                    </a:lnTo>
                    <a:lnTo>
                      <a:pt x="597" y="537"/>
                    </a:lnTo>
                    <a:lnTo>
                      <a:pt x="588" y="513"/>
                    </a:lnTo>
                    <a:lnTo>
                      <a:pt x="578" y="485"/>
                    </a:lnTo>
                    <a:lnTo>
                      <a:pt x="574" y="472"/>
                    </a:lnTo>
                    <a:lnTo>
                      <a:pt x="569" y="454"/>
                    </a:lnTo>
                    <a:lnTo>
                      <a:pt x="566" y="437"/>
                    </a:lnTo>
                    <a:lnTo>
                      <a:pt x="563" y="418"/>
                    </a:lnTo>
                    <a:lnTo>
                      <a:pt x="561" y="397"/>
                    </a:lnTo>
                    <a:lnTo>
                      <a:pt x="560" y="373"/>
                    </a:lnTo>
                    <a:lnTo>
                      <a:pt x="560" y="347"/>
                    </a:lnTo>
                    <a:lnTo>
                      <a:pt x="561" y="319"/>
                    </a:lnTo>
                    <a:lnTo>
                      <a:pt x="561" y="319"/>
                    </a:lnTo>
                    <a:lnTo>
                      <a:pt x="546" y="301"/>
                    </a:lnTo>
                    <a:lnTo>
                      <a:pt x="537" y="288"/>
                    </a:lnTo>
                    <a:lnTo>
                      <a:pt x="531" y="275"/>
                    </a:lnTo>
                    <a:lnTo>
                      <a:pt x="528" y="263"/>
                    </a:lnTo>
                    <a:lnTo>
                      <a:pt x="524" y="252"/>
                    </a:lnTo>
                    <a:lnTo>
                      <a:pt x="519" y="239"/>
                    </a:lnTo>
                    <a:lnTo>
                      <a:pt x="512" y="224"/>
                    </a:lnTo>
                    <a:lnTo>
                      <a:pt x="499" y="206"/>
                    </a:lnTo>
                    <a:lnTo>
                      <a:pt x="499" y="206"/>
                    </a:lnTo>
                    <a:lnTo>
                      <a:pt x="443" y="199"/>
                    </a:lnTo>
                    <a:lnTo>
                      <a:pt x="426" y="195"/>
                    </a:lnTo>
                    <a:lnTo>
                      <a:pt x="418" y="193"/>
                    </a:lnTo>
                    <a:lnTo>
                      <a:pt x="416" y="192"/>
                    </a:lnTo>
                    <a:lnTo>
                      <a:pt x="415" y="191"/>
                    </a:lnTo>
                    <a:lnTo>
                      <a:pt x="416" y="190"/>
                    </a:lnTo>
                    <a:lnTo>
                      <a:pt x="417" y="189"/>
                    </a:lnTo>
                    <a:lnTo>
                      <a:pt x="423" y="186"/>
                    </a:lnTo>
                    <a:lnTo>
                      <a:pt x="431" y="184"/>
                    </a:lnTo>
                    <a:lnTo>
                      <a:pt x="451" y="179"/>
                    </a:lnTo>
                    <a:lnTo>
                      <a:pt x="460" y="176"/>
                    </a:lnTo>
                    <a:lnTo>
                      <a:pt x="467" y="171"/>
                    </a:lnTo>
                    <a:lnTo>
                      <a:pt x="470" y="169"/>
                    </a:lnTo>
                    <a:lnTo>
                      <a:pt x="471" y="167"/>
                    </a:lnTo>
                    <a:lnTo>
                      <a:pt x="473" y="164"/>
                    </a:lnTo>
                    <a:lnTo>
                      <a:pt x="471" y="161"/>
                    </a:lnTo>
                    <a:lnTo>
                      <a:pt x="469" y="158"/>
                    </a:lnTo>
                    <a:lnTo>
                      <a:pt x="467" y="154"/>
                    </a:lnTo>
                    <a:lnTo>
                      <a:pt x="461" y="151"/>
                    </a:lnTo>
                    <a:lnTo>
                      <a:pt x="455" y="147"/>
                    </a:lnTo>
                    <a:lnTo>
                      <a:pt x="455" y="147"/>
                    </a:lnTo>
                    <a:lnTo>
                      <a:pt x="453" y="122"/>
                    </a:lnTo>
                    <a:lnTo>
                      <a:pt x="453" y="103"/>
                    </a:lnTo>
                    <a:lnTo>
                      <a:pt x="454" y="91"/>
                    </a:lnTo>
                    <a:lnTo>
                      <a:pt x="456" y="84"/>
                    </a:lnTo>
                    <a:lnTo>
                      <a:pt x="458" y="83"/>
                    </a:lnTo>
                    <a:lnTo>
                      <a:pt x="459" y="83"/>
                    </a:lnTo>
                    <a:lnTo>
                      <a:pt x="461" y="83"/>
                    </a:lnTo>
                    <a:lnTo>
                      <a:pt x="462" y="84"/>
                    </a:lnTo>
                    <a:lnTo>
                      <a:pt x="467" y="88"/>
                    </a:lnTo>
                    <a:lnTo>
                      <a:pt x="471" y="95"/>
                    </a:lnTo>
                    <a:lnTo>
                      <a:pt x="482" y="113"/>
                    </a:lnTo>
                    <a:lnTo>
                      <a:pt x="492" y="130"/>
                    </a:lnTo>
                    <a:lnTo>
                      <a:pt x="497" y="136"/>
                    </a:lnTo>
                    <a:lnTo>
                      <a:pt x="501" y="139"/>
                    </a:lnTo>
                    <a:lnTo>
                      <a:pt x="504" y="140"/>
                    </a:lnTo>
                    <a:lnTo>
                      <a:pt x="506" y="139"/>
                    </a:lnTo>
                    <a:lnTo>
                      <a:pt x="508" y="138"/>
                    </a:lnTo>
                    <a:lnTo>
                      <a:pt x="510" y="136"/>
                    </a:lnTo>
                    <a:lnTo>
                      <a:pt x="510" y="136"/>
                    </a:lnTo>
                    <a:lnTo>
                      <a:pt x="506" y="128"/>
                    </a:lnTo>
                    <a:lnTo>
                      <a:pt x="504" y="120"/>
                    </a:lnTo>
                    <a:lnTo>
                      <a:pt x="498" y="105"/>
                    </a:lnTo>
                    <a:lnTo>
                      <a:pt x="493" y="88"/>
                    </a:lnTo>
                    <a:lnTo>
                      <a:pt x="489" y="75"/>
                    </a:lnTo>
                    <a:lnTo>
                      <a:pt x="486" y="69"/>
                    </a:lnTo>
                    <a:lnTo>
                      <a:pt x="483" y="63"/>
                    </a:lnTo>
                    <a:lnTo>
                      <a:pt x="479" y="59"/>
                    </a:lnTo>
                    <a:lnTo>
                      <a:pt x="474" y="54"/>
                    </a:lnTo>
                    <a:lnTo>
                      <a:pt x="468" y="50"/>
                    </a:lnTo>
                    <a:lnTo>
                      <a:pt x="461" y="48"/>
                    </a:lnTo>
                    <a:lnTo>
                      <a:pt x="453" y="47"/>
                    </a:lnTo>
                    <a:lnTo>
                      <a:pt x="444" y="47"/>
                    </a:lnTo>
                    <a:lnTo>
                      <a:pt x="444" y="47"/>
                    </a:lnTo>
                    <a:lnTo>
                      <a:pt x="438" y="50"/>
                    </a:lnTo>
                    <a:lnTo>
                      <a:pt x="431" y="50"/>
                    </a:lnTo>
                    <a:lnTo>
                      <a:pt x="424" y="50"/>
                    </a:lnTo>
                    <a:lnTo>
                      <a:pt x="417" y="49"/>
                    </a:lnTo>
                    <a:lnTo>
                      <a:pt x="410" y="47"/>
                    </a:lnTo>
                    <a:lnTo>
                      <a:pt x="402" y="44"/>
                    </a:lnTo>
                    <a:lnTo>
                      <a:pt x="386" y="36"/>
                    </a:lnTo>
                    <a:lnTo>
                      <a:pt x="356" y="16"/>
                    </a:lnTo>
                    <a:lnTo>
                      <a:pt x="342" y="8"/>
                    </a:lnTo>
                    <a:lnTo>
                      <a:pt x="336" y="6"/>
                    </a:lnTo>
                    <a:lnTo>
                      <a:pt x="330" y="3"/>
                    </a:lnTo>
                    <a:lnTo>
                      <a:pt x="330" y="3"/>
                    </a:lnTo>
                    <a:lnTo>
                      <a:pt x="308" y="1"/>
                    </a:lnTo>
                    <a:lnTo>
                      <a:pt x="287" y="0"/>
                    </a:lnTo>
                    <a:lnTo>
                      <a:pt x="268" y="0"/>
                    </a:lnTo>
                    <a:lnTo>
                      <a:pt x="250" y="2"/>
                    </a:lnTo>
                    <a:lnTo>
                      <a:pt x="235" y="6"/>
                    </a:lnTo>
                    <a:lnTo>
                      <a:pt x="222" y="10"/>
                    </a:lnTo>
                    <a:lnTo>
                      <a:pt x="209" y="17"/>
                    </a:lnTo>
                    <a:lnTo>
                      <a:pt x="199" y="24"/>
                    </a:lnTo>
                    <a:lnTo>
                      <a:pt x="189" y="33"/>
                    </a:lnTo>
                    <a:lnTo>
                      <a:pt x="183" y="45"/>
                    </a:lnTo>
                    <a:lnTo>
                      <a:pt x="176" y="56"/>
                    </a:lnTo>
                    <a:lnTo>
                      <a:pt x="171" y="70"/>
                    </a:lnTo>
                    <a:lnTo>
                      <a:pt x="168" y="85"/>
                    </a:lnTo>
                    <a:lnTo>
                      <a:pt x="165" y="102"/>
                    </a:lnTo>
                    <a:lnTo>
                      <a:pt x="164" y="120"/>
                    </a:lnTo>
                    <a:lnTo>
                      <a:pt x="164" y="139"/>
                    </a:lnTo>
                    <a:lnTo>
                      <a:pt x="164" y="139"/>
                    </a:lnTo>
                    <a:lnTo>
                      <a:pt x="164" y="156"/>
                    </a:lnTo>
                    <a:lnTo>
                      <a:pt x="163" y="170"/>
                    </a:lnTo>
                    <a:lnTo>
                      <a:pt x="160" y="182"/>
                    </a:lnTo>
                    <a:lnTo>
                      <a:pt x="154" y="191"/>
                    </a:lnTo>
                    <a:lnTo>
                      <a:pt x="147" y="198"/>
                    </a:lnTo>
                    <a:lnTo>
                      <a:pt x="140" y="202"/>
                    </a:lnTo>
                    <a:lnTo>
                      <a:pt x="131" y="207"/>
                    </a:lnTo>
                    <a:lnTo>
                      <a:pt x="120" y="209"/>
                    </a:lnTo>
                    <a:lnTo>
                      <a:pt x="110" y="212"/>
                    </a:lnTo>
                    <a:lnTo>
                      <a:pt x="99" y="213"/>
                    </a:lnTo>
                    <a:lnTo>
                      <a:pt x="76" y="215"/>
                    </a:lnTo>
                    <a:lnTo>
                      <a:pt x="64" y="217"/>
                    </a:lnTo>
                    <a:lnTo>
                      <a:pt x="53" y="220"/>
                    </a:lnTo>
                    <a:lnTo>
                      <a:pt x="42" y="223"/>
                    </a:lnTo>
                    <a:lnTo>
                      <a:pt x="32" y="228"/>
                    </a:lnTo>
                    <a:lnTo>
                      <a:pt x="32" y="228"/>
                    </a:lnTo>
                    <a:lnTo>
                      <a:pt x="27" y="233"/>
                    </a:lnTo>
                    <a:lnTo>
                      <a:pt x="21" y="239"/>
                    </a:lnTo>
                    <a:lnTo>
                      <a:pt x="13" y="254"/>
                    </a:lnTo>
                    <a:lnTo>
                      <a:pt x="5" y="270"/>
                    </a:lnTo>
                    <a:lnTo>
                      <a:pt x="0" y="286"/>
                    </a:lnTo>
                    <a:lnTo>
                      <a:pt x="0" y="286"/>
                    </a:lnTo>
                    <a:lnTo>
                      <a:pt x="15" y="296"/>
                    </a:lnTo>
                    <a:lnTo>
                      <a:pt x="30" y="307"/>
                    </a:lnTo>
                    <a:lnTo>
                      <a:pt x="47" y="321"/>
                    </a:lnTo>
                    <a:lnTo>
                      <a:pt x="65" y="338"/>
                    </a:lnTo>
                    <a:lnTo>
                      <a:pt x="73" y="346"/>
                    </a:lnTo>
                    <a:lnTo>
                      <a:pt x="80" y="355"/>
                    </a:lnTo>
                    <a:lnTo>
                      <a:pt x="86" y="365"/>
                    </a:lnTo>
                    <a:lnTo>
                      <a:pt x="90" y="374"/>
                    </a:lnTo>
                    <a:lnTo>
                      <a:pt x="94" y="383"/>
                    </a:lnTo>
                    <a:lnTo>
                      <a:pt x="95" y="392"/>
                    </a:lnTo>
                    <a:lnTo>
                      <a:pt x="95" y="392"/>
                    </a:lnTo>
                    <a:lnTo>
                      <a:pt x="95" y="39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6" name="Freeform 51"/>
              <p:cNvSpPr>
                <a:spLocks noChangeAspect="1"/>
              </p:cNvSpPr>
              <p:nvPr/>
            </p:nvSpPr>
            <p:spPr bwMode="auto">
              <a:xfrm>
                <a:off x="2966595" y="2611267"/>
                <a:ext cx="250447" cy="317281"/>
              </a:xfrm>
              <a:custGeom>
                <a:avLst/>
                <a:gdLst/>
                <a:ahLst/>
                <a:cxnLst>
                  <a:cxn ang="0">
                    <a:pos x="218" y="8"/>
                  </a:cxn>
                  <a:cxn ang="0">
                    <a:pos x="199" y="0"/>
                  </a:cxn>
                  <a:cxn ang="0">
                    <a:pos x="185" y="40"/>
                  </a:cxn>
                  <a:cxn ang="0">
                    <a:pos x="176" y="50"/>
                  </a:cxn>
                  <a:cxn ang="0">
                    <a:pos x="154" y="39"/>
                  </a:cxn>
                  <a:cxn ang="0">
                    <a:pos x="144" y="38"/>
                  </a:cxn>
                  <a:cxn ang="0">
                    <a:pos x="119" y="55"/>
                  </a:cxn>
                  <a:cxn ang="0">
                    <a:pos x="130" y="73"/>
                  </a:cxn>
                  <a:cxn ang="0">
                    <a:pos x="144" y="88"/>
                  </a:cxn>
                  <a:cxn ang="0">
                    <a:pos x="114" y="94"/>
                  </a:cxn>
                  <a:cxn ang="0">
                    <a:pos x="100" y="103"/>
                  </a:cxn>
                  <a:cxn ang="0">
                    <a:pos x="95" y="115"/>
                  </a:cxn>
                  <a:cxn ang="0">
                    <a:pos x="86" y="137"/>
                  </a:cxn>
                  <a:cxn ang="0">
                    <a:pos x="74" y="140"/>
                  </a:cxn>
                  <a:cxn ang="0">
                    <a:pos x="61" y="133"/>
                  </a:cxn>
                  <a:cxn ang="0">
                    <a:pos x="49" y="118"/>
                  </a:cxn>
                  <a:cxn ang="0">
                    <a:pos x="39" y="118"/>
                  </a:cxn>
                  <a:cxn ang="0">
                    <a:pos x="26" y="124"/>
                  </a:cxn>
                  <a:cxn ang="0">
                    <a:pos x="7" y="150"/>
                  </a:cxn>
                  <a:cxn ang="0">
                    <a:pos x="0" y="184"/>
                  </a:cxn>
                  <a:cxn ang="0">
                    <a:pos x="2" y="199"/>
                  </a:cxn>
                  <a:cxn ang="0">
                    <a:pos x="13" y="217"/>
                  </a:cxn>
                  <a:cxn ang="0">
                    <a:pos x="40" y="238"/>
                  </a:cxn>
                  <a:cxn ang="0">
                    <a:pos x="70" y="250"/>
                  </a:cxn>
                  <a:cxn ang="0">
                    <a:pos x="68" y="270"/>
                  </a:cxn>
                  <a:cxn ang="0">
                    <a:pos x="70" y="285"/>
                  </a:cxn>
                  <a:cxn ang="0">
                    <a:pos x="70" y="298"/>
                  </a:cxn>
                  <a:cxn ang="0">
                    <a:pos x="61" y="313"/>
                  </a:cxn>
                  <a:cxn ang="0">
                    <a:pos x="46" y="325"/>
                  </a:cxn>
                  <a:cxn ang="0">
                    <a:pos x="42" y="338"/>
                  </a:cxn>
                  <a:cxn ang="0">
                    <a:pos x="45" y="360"/>
                  </a:cxn>
                  <a:cxn ang="0">
                    <a:pos x="62" y="387"/>
                  </a:cxn>
                  <a:cxn ang="0">
                    <a:pos x="90" y="410"/>
                  </a:cxn>
                  <a:cxn ang="0">
                    <a:pos x="153" y="446"/>
                  </a:cxn>
                  <a:cxn ang="0">
                    <a:pos x="191" y="455"/>
                  </a:cxn>
                  <a:cxn ang="0">
                    <a:pos x="185" y="423"/>
                  </a:cxn>
                  <a:cxn ang="0">
                    <a:pos x="175" y="362"/>
                  </a:cxn>
                  <a:cxn ang="0">
                    <a:pos x="174" y="323"/>
                  </a:cxn>
                  <a:cxn ang="0">
                    <a:pos x="179" y="261"/>
                  </a:cxn>
                  <a:cxn ang="0">
                    <a:pos x="194" y="216"/>
                  </a:cxn>
                  <a:cxn ang="0">
                    <a:pos x="217" y="183"/>
                  </a:cxn>
                  <a:cxn ang="0">
                    <a:pos x="265" y="138"/>
                  </a:cxn>
                  <a:cxn ang="0">
                    <a:pos x="282" y="115"/>
                  </a:cxn>
                  <a:cxn ang="0">
                    <a:pos x="276" y="107"/>
                  </a:cxn>
                  <a:cxn ang="0">
                    <a:pos x="310" y="95"/>
                  </a:cxn>
                  <a:cxn ang="0">
                    <a:pos x="310" y="84"/>
                  </a:cxn>
                  <a:cxn ang="0">
                    <a:pos x="284" y="55"/>
                  </a:cxn>
                  <a:cxn ang="0">
                    <a:pos x="273" y="26"/>
                  </a:cxn>
                  <a:cxn ang="0">
                    <a:pos x="258" y="24"/>
                  </a:cxn>
                  <a:cxn ang="0">
                    <a:pos x="227" y="13"/>
                  </a:cxn>
                  <a:cxn ang="0">
                    <a:pos x="226" y="11"/>
                  </a:cxn>
                </a:cxnLst>
                <a:rect l="0" t="0" r="r" b="b"/>
                <a:pathLst>
                  <a:path w="317" h="455">
                    <a:moveTo>
                      <a:pt x="226" y="11"/>
                    </a:moveTo>
                    <a:lnTo>
                      <a:pt x="226" y="11"/>
                    </a:lnTo>
                    <a:lnTo>
                      <a:pt x="218" y="8"/>
                    </a:lnTo>
                    <a:lnTo>
                      <a:pt x="212" y="4"/>
                    </a:lnTo>
                    <a:lnTo>
                      <a:pt x="199" y="0"/>
                    </a:lnTo>
                    <a:lnTo>
                      <a:pt x="199" y="0"/>
                    </a:lnTo>
                    <a:lnTo>
                      <a:pt x="195" y="15"/>
                    </a:lnTo>
                    <a:lnTo>
                      <a:pt x="190" y="27"/>
                    </a:lnTo>
                    <a:lnTo>
                      <a:pt x="185" y="40"/>
                    </a:lnTo>
                    <a:lnTo>
                      <a:pt x="181" y="51"/>
                    </a:lnTo>
                    <a:lnTo>
                      <a:pt x="181" y="51"/>
                    </a:lnTo>
                    <a:lnTo>
                      <a:pt x="176" y="50"/>
                    </a:lnTo>
                    <a:lnTo>
                      <a:pt x="172" y="48"/>
                    </a:lnTo>
                    <a:lnTo>
                      <a:pt x="162" y="43"/>
                    </a:lnTo>
                    <a:lnTo>
                      <a:pt x="154" y="39"/>
                    </a:lnTo>
                    <a:lnTo>
                      <a:pt x="150" y="38"/>
                    </a:lnTo>
                    <a:lnTo>
                      <a:pt x="144" y="38"/>
                    </a:lnTo>
                    <a:lnTo>
                      <a:pt x="144" y="38"/>
                    </a:lnTo>
                    <a:lnTo>
                      <a:pt x="119" y="38"/>
                    </a:lnTo>
                    <a:lnTo>
                      <a:pt x="119" y="55"/>
                    </a:lnTo>
                    <a:lnTo>
                      <a:pt x="119" y="55"/>
                    </a:lnTo>
                    <a:lnTo>
                      <a:pt x="119" y="55"/>
                    </a:lnTo>
                    <a:lnTo>
                      <a:pt x="124" y="65"/>
                    </a:lnTo>
                    <a:lnTo>
                      <a:pt x="130" y="73"/>
                    </a:lnTo>
                    <a:lnTo>
                      <a:pt x="136" y="80"/>
                    </a:lnTo>
                    <a:lnTo>
                      <a:pt x="144" y="88"/>
                    </a:lnTo>
                    <a:lnTo>
                      <a:pt x="144" y="88"/>
                    </a:lnTo>
                    <a:lnTo>
                      <a:pt x="135" y="89"/>
                    </a:lnTo>
                    <a:lnTo>
                      <a:pt x="121" y="92"/>
                    </a:lnTo>
                    <a:lnTo>
                      <a:pt x="114" y="94"/>
                    </a:lnTo>
                    <a:lnTo>
                      <a:pt x="107" y="96"/>
                    </a:lnTo>
                    <a:lnTo>
                      <a:pt x="103" y="100"/>
                    </a:lnTo>
                    <a:lnTo>
                      <a:pt x="100" y="103"/>
                    </a:lnTo>
                    <a:lnTo>
                      <a:pt x="100" y="103"/>
                    </a:lnTo>
                    <a:lnTo>
                      <a:pt x="97" y="109"/>
                    </a:lnTo>
                    <a:lnTo>
                      <a:pt x="95" y="115"/>
                    </a:lnTo>
                    <a:lnTo>
                      <a:pt x="91" y="127"/>
                    </a:lnTo>
                    <a:lnTo>
                      <a:pt x="89" y="132"/>
                    </a:lnTo>
                    <a:lnTo>
                      <a:pt x="86" y="137"/>
                    </a:lnTo>
                    <a:lnTo>
                      <a:pt x="81" y="139"/>
                    </a:lnTo>
                    <a:lnTo>
                      <a:pt x="74" y="140"/>
                    </a:lnTo>
                    <a:lnTo>
                      <a:pt x="74" y="140"/>
                    </a:lnTo>
                    <a:lnTo>
                      <a:pt x="69" y="139"/>
                    </a:lnTo>
                    <a:lnTo>
                      <a:pt x="65" y="137"/>
                    </a:lnTo>
                    <a:lnTo>
                      <a:pt x="61" y="133"/>
                    </a:lnTo>
                    <a:lnTo>
                      <a:pt x="58" y="128"/>
                    </a:lnTo>
                    <a:lnTo>
                      <a:pt x="52" y="122"/>
                    </a:lnTo>
                    <a:lnTo>
                      <a:pt x="49" y="118"/>
                    </a:lnTo>
                    <a:lnTo>
                      <a:pt x="45" y="118"/>
                    </a:lnTo>
                    <a:lnTo>
                      <a:pt x="45" y="118"/>
                    </a:lnTo>
                    <a:lnTo>
                      <a:pt x="39" y="118"/>
                    </a:lnTo>
                    <a:lnTo>
                      <a:pt x="35" y="119"/>
                    </a:lnTo>
                    <a:lnTo>
                      <a:pt x="30" y="122"/>
                    </a:lnTo>
                    <a:lnTo>
                      <a:pt x="26" y="124"/>
                    </a:lnTo>
                    <a:lnTo>
                      <a:pt x="17" y="131"/>
                    </a:lnTo>
                    <a:lnTo>
                      <a:pt x="12" y="140"/>
                    </a:lnTo>
                    <a:lnTo>
                      <a:pt x="7" y="150"/>
                    </a:lnTo>
                    <a:lnTo>
                      <a:pt x="4" y="162"/>
                    </a:lnTo>
                    <a:lnTo>
                      <a:pt x="1" y="173"/>
                    </a:lnTo>
                    <a:lnTo>
                      <a:pt x="0" y="184"/>
                    </a:lnTo>
                    <a:lnTo>
                      <a:pt x="0" y="184"/>
                    </a:lnTo>
                    <a:lnTo>
                      <a:pt x="1" y="192"/>
                    </a:lnTo>
                    <a:lnTo>
                      <a:pt x="2" y="199"/>
                    </a:lnTo>
                    <a:lnTo>
                      <a:pt x="6" y="204"/>
                    </a:lnTo>
                    <a:lnTo>
                      <a:pt x="9" y="211"/>
                    </a:lnTo>
                    <a:lnTo>
                      <a:pt x="13" y="217"/>
                    </a:lnTo>
                    <a:lnTo>
                      <a:pt x="17" y="222"/>
                    </a:lnTo>
                    <a:lnTo>
                      <a:pt x="29" y="231"/>
                    </a:lnTo>
                    <a:lnTo>
                      <a:pt x="40" y="238"/>
                    </a:lnTo>
                    <a:lnTo>
                      <a:pt x="52" y="244"/>
                    </a:lnTo>
                    <a:lnTo>
                      <a:pt x="62" y="248"/>
                    </a:lnTo>
                    <a:lnTo>
                      <a:pt x="70" y="250"/>
                    </a:lnTo>
                    <a:lnTo>
                      <a:pt x="70" y="250"/>
                    </a:lnTo>
                    <a:lnTo>
                      <a:pt x="68" y="267"/>
                    </a:lnTo>
                    <a:lnTo>
                      <a:pt x="68" y="270"/>
                    </a:lnTo>
                    <a:lnTo>
                      <a:pt x="68" y="273"/>
                    </a:lnTo>
                    <a:lnTo>
                      <a:pt x="69" y="279"/>
                    </a:lnTo>
                    <a:lnTo>
                      <a:pt x="70" y="285"/>
                    </a:lnTo>
                    <a:lnTo>
                      <a:pt x="70" y="294"/>
                    </a:lnTo>
                    <a:lnTo>
                      <a:pt x="70" y="294"/>
                    </a:lnTo>
                    <a:lnTo>
                      <a:pt x="70" y="298"/>
                    </a:lnTo>
                    <a:lnTo>
                      <a:pt x="69" y="301"/>
                    </a:lnTo>
                    <a:lnTo>
                      <a:pt x="66" y="307"/>
                    </a:lnTo>
                    <a:lnTo>
                      <a:pt x="61" y="313"/>
                    </a:lnTo>
                    <a:lnTo>
                      <a:pt x="55" y="316"/>
                    </a:lnTo>
                    <a:lnTo>
                      <a:pt x="51" y="321"/>
                    </a:lnTo>
                    <a:lnTo>
                      <a:pt x="46" y="325"/>
                    </a:lnTo>
                    <a:lnTo>
                      <a:pt x="43" y="331"/>
                    </a:lnTo>
                    <a:lnTo>
                      <a:pt x="42" y="334"/>
                    </a:lnTo>
                    <a:lnTo>
                      <a:pt x="42" y="338"/>
                    </a:lnTo>
                    <a:lnTo>
                      <a:pt x="42" y="338"/>
                    </a:lnTo>
                    <a:lnTo>
                      <a:pt x="43" y="349"/>
                    </a:lnTo>
                    <a:lnTo>
                      <a:pt x="45" y="360"/>
                    </a:lnTo>
                    <a:lnTo>
                      <a:pt x="50" y="370"/>
                    </a:lnTo>
                    <a:lnTo>
                      <a:pt x="55" y="379"/>
                    </a:lnTo>
                    <a:lnTo>
                      <a:pt x="62" y="387"/>
                    </a:lnTo>
                    <a:lnTo>
                      <a:pt x="72" y="395"/>
                    </a:lnTo>
                    <a:lnTo>
                      <a:pt x="81" y="403"/>
                    </a:lnTo>
                    <a:lnTo>
                      <a:pt x="90" y="410"/>
                    </a:lnTo>
                    <a:lnTo>
                      <a:pt x="112" y="423"/>
                    </a:lnTo>
                    <a:lnTo>
                      <a:pt x="133" y="436"/>
                    </a:lnTo>
                    <a:lnTo>
                      <a:pt x="153" y="446"/>
                    </a:lnTo>
                    <a:lnTo>
                      <a:pt x="170" y="455"/>
                    </a:lnTo>
                    <a:lnTo>
                      <a:pt x="170" y="455"/>
                    </a:lnTo>
                    <a:lnTo>
                      <a:pt x="191" y="455"/>
                    </a:lnTo>
                    <a:lnTo>
                      <a:pt x="191" y="455"/>
                    </a:lnTo>
                    <a:lnTo>
                      <a:pt x="191" y="455"/>
                    </a:lnTo>
                    <a:lnTo>
                      <a:pt x="185" y="423"/>
                    </a:lnTo>
                    <a:lnTo>
                      <a:pt x="180" y="394"/>
                    </a:lnTo>
                    <a:lnTo>
                      <a:pt x="177" y="378"/>
                    </a:lnTo>
                    <a:lnTo>
                      <a:pt x="175" y="362"/>
                    </a:lnTo>
                    <a:lnTo>
                      <a:pt x="174" y="344"/>
                    </a:lnTo>
                    <a:lnTo>
                      <a:pt x="174" y="323"/>
                    </a:lnTo>
                    <a:lnTo>
                      <a:pt x="174" y="323"/>
                    </a:lnTo>
                    <a:lnTo>
                      <a:pt x="174" y="300"/>
                    </a:lnTo>
                    <a:lnTo>
                      <a:pt x="176" y="279"/>
                    </a:lnTo>
                    <a:lnTo>
                      <a:pt x="179" y="261"/>
                    </a:lnTo>
                    <a:lnTo>
                      <a:pt x="183" y="244"/>
                    </a:lnTo>
                    <a:lnTo>
                      <a:pt x="188" y="229"/>
                    </a:lnTo>
                    <a:lnTo>
                      <a:pt x="194" y="216"/>
                    </a:lnTo>
                    <a:lnTo>
                      <a:pt x="200" y="203"/>
                    </a:lnTo>
                    <a:lnTo>
                      <a:pt x="208" y="193"/>
                    </a:lnTo>
                    <a:lnTo>
                      <a:pt x="217" y="183"/>
                    </a:lnTo>
                    <a:lnTo>
                      <a:pt x="226" y="173"/>
                    </a:lnTo>
                    <a:lnTo>
                      <a:pt x="244" y="156"/>
                    </a:lnTo>
                    <a:lnTo>
                      <a:pt x="265" y="138"/>
                    </a:lnTo>
                    <a:lnTo>
                      <a:pt x="287" y="118"/>
                    </a:lnTo>
                    <a:lnTo>
                      <a:pt x="287" y="118"/>
                    </a:lnTo>
                    <a:lnTo>
                      <a:pt x="282" y="115"/>
                    </a:lnTo>
                    <a:lnTo>
                      <a:pt x="279" y="112"/>
                    </a:lnTo>
                    <a:lnTo>
                      <a:pt x="278" y="110"/>
                    </a:lnTo>
                    <a:lnTo>
                      <a:pt x="276" y="107"/>
                    </a:lnTo>
                    <a:lnTo>
                      <a:pt x="276" y="107"/>
                    </a:lnTo>
                    <a:lnTo>
                      <a:pt x="301" y="100"/>
                    </a:lnTo>
                    <a:lnTo>
                      <a:pt x="310" y="95"/>
                    </a:lnTo>
                    <a:lnTo>
                      <a:pt x="317" y="93"/>
                    </a:lnTo>
                    <a:lnTo>
                      <a:pt x="317" y="93"/>
                    </a:lnTo>
                    <a:lnTo>
                      <a:pt x="310" y="84"/>
                    </a:lnTo>
                    <a:lnTo>
                      <a:pt x="303" y="76"/>
                    </a:lnTo>
                    <a:lnTo>
                      <a:pt x="290" y="62"/>
                    </a:lnTo>
                    <a:lnTo>
                      <a:pt x="284" y="55"/>
                    </a:lnTo>
                    <a:lnTo>
                      <a:pt x="280" y="47"/>
                    </a:lnTo>
                    <a:lnTo>
                      <a:pt x="276" y="38"/>
                    </a:lnTo>
                    <a:lnTo>
                      <a:pt x="273" y="26"/>
                    </a:lnTo>
                    <a:lnTo>
                      <a:pt x="273" y="26"/>
                    </a:lnTo>
                    <a:lnTo>
                      <a:pt x="266" y="25"/>
                    </a:lnTo>
                    <a:lnTo>
                      <a:pt x="258" y="24"/>
                    </a:lnTo>
                    <a:lnTo>
                      <a:pt x="242" y="20"/>
                    </a:lnTo>
                    <a:lnTo>
                      <a:pt x="230" y="15"/>
                    </a:lnTo>
                    <a:lnTo>
                      <a:pt x="227" y="13"/>
                    </a:lnTo>
                    <a:lnTo>
                      <a:pt x="226" y="11"/>
                    </a:lnTo>
                    <a:lnTo>
                      <a:pt x="226" y="11"/>
                    </a:lnTo>
                    <a:lnTo>
                      <a:pt x="226" y="1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7" name="Freeform 52"/>
              <p:cNvSpPr>
                <a:spLocks noChangeAspect="1"/>
              </p:cNvSpPr>
              <p:nvPr/>
            </p:nvSpPr>
            <p:spPr bwMode="auto">
              <a:xfrm>
                <a:off x="3171074" y="2390003"/>
                <a:ext cx="602341" cy="275533"/>
              </a:xfrm>
              <a:custGeom>
                <a:avLst/>
                <a:gdLst/>
                <a:ahLst/>
                <a:cxnLst>
                  <a:cxn ang="0">
                    <a:pos x="665" y="22"/>
                  </a:cxn>
                  <a:cxn ang="0">
                    <a:pos x="642" y="49"/>
                  </a:cxn>
                  <a:cxn ang="0">
                    <a:pos x="605" y="46"/>
                  </a:cxn>
                  <a:cxn ang="0">
                    <a:pos x="550" y="62"/>
                  </a:cxn>
                  <a:cxn ang="0">
                    <a:pos x="518" y="63"/>
                  </a:cxn>
                  <a:cxn ang="0">
                    <a:pos x="460" y="33"/>
                  </a:cxn>
                  <a:cxn ang="0">
                    <a:pos x="433" y="46"/>
                  </a:cxn>
                  <a:cxn ang="0">
                    <a:pos x="316" y="64"/>
                  </a:cxn>
                  <a:cxn ang="0">
                    <a:pos x="283" y="82"/>
                  </a:cxn>
                  <a:cxn ang="0">
                    <a:pos x="272" y="105"/>
                  </a:cxn>
                  <a:cxn ang="0">
                    <a:pos x="245" y="91"/>
                  </a:cxn>
                  <a:cxn ang="0">
                    <a:pos x="213" y="113"/>
                  </a:cxn>
                  <a:cxn ang="0">
                    <a:pos x="204" y="101"/>
                  </a:cxn>
                  <a:cxn ang="0">
                    <a:pos x="186" y="128"/>
                  </a:cxn>
                  <a:cxn ang="0">
                    <a:pos x="201" y="142"/>
                  </a:cxn>
                  <a:cxn ang="0">
                    <a:pos x="176" y="162"/>
                  </a:cxn>
                  <a:cxn ang="0">
                    <a:pos x="169" y="177"/>
                  </a:cxn>
                  <a:cxn ang="0">
                    <a:pos x="143" y="168"/>
                  </a:cxn>
                  <a:cxn ang="0">
                    <a:pos x="143" y="200"/>
                  </a:cxn>
                  <a:cxn ang="0">
                    <a:pos x="124" y="200"/>
                  </a:cxn>
                  <a:cxn ang="0">
                    <a:pos x="113" y="205"/>
                  </a:cxn>
                  <a:cxn ang="0">
                    <a:pos x="102" y="249"/>
                  </a:cxn>
                  <a:cxn ang="0">
                    <a:pos x="72" y="227"/>
                  </a:cxn>
                  <a:cxn ang="0">
                    <a:pos x="36" y="234"/>
                  </a:cxn>
                  <a:cxn ang="0">
                    <a:pos x="1" y="260"/>
                  </a:cxn>
                  <a:cxn ang="0">
                    <a:pos x="23" y="283"/>
                  </a:cxn>
                  <a:cxn ang="0">
                    <a:pos x="25" y="304"/>
                  </a:cxn>
                  <a:cxn ang="0">
                    <a:pos x="1" y="312"/>
                  </a:cxn>
                  <a:cxn ang="0">
                    <a:pos x="7" y="330"/>
                  </a:cxn>
                  <a:cxn ang="0">
                    <a:pos x="29" y="337"/>
                  </a:cxn>
                  <a:cxn ang="0">
                    <a:pos x="41" y="362"/>
                  </a:cxn>
                  <a:cxn ang="0">
                    <a:pos x="52" y="383"/>
                  </a:cxn>
                  <a:cxn ang="0">
                    <a:pos x="102" y="396"/>
                  </a:cxn>
                  <a:cxn ang="0">
                    <a:pos x="113" y="390"/>
                  </a:cxn>
                  <a:cxn ang="0">
                    <a:pos x="113" y="344"/>
                  </a:cxn>
                  <a:cxn ang="0">
                    <a:pos x="146" y="356"/>
                  </a:cxn>
                  <a:cxn ang="0">
                    <a:pos x="138" y="315"/>
                  </a:cxn>
                  <a:cxn ang="0">
                    <a:pos x="154" y="331"/>
                  </a:cxn>
                  <a:cxn ang="0">
                    <a:pos x="169" y="336"/>
                  </a:cxn>
                  <a:cxn ang="0">
                    <a:pos x="179" y="314"/>
                  </a:cxn>
                  <a:cxn ang="0">
                    <a:pos x="175" y="295"/>
                  </a:cxn>
                  <a:cxn ang="0">
                    <a:pos x="183" y="291"/>
                  </a:cxn>
                  <a:cxn ang="0">
                    <a:pos x="201" y="303"/>
                  </a:cxn>
                  <a:cxn ang="0">
                    <a:pos x="236" y="257"/>
                  </a:cxn>
                  <a:cxn ang="0">
                    <a:pos x="260" y="258"/>
                  </a:cxn>
                  <a:cxn ang="0">
                    <a:pos x="274" y="257"/>
                  </a:cxn>
                  <a:cxn ang="0">
                    <a:pos x="285" y="241"/>
                  </a:cxn>
                  <a:cxn ang="0">
                    <a:pos x="341" y="234"/>
                  </a:cxn>
                  <a:cxn ang="0">
                    <a:pos x="350" y="213"/>
                  </a:cxn>
                  <a:cxn ang="0">
                    <a:pos x="379" y="196"/>
                  </a:cxn>
                  <a:cxn ang="0">
                    <a:pos x="518" y="165"/>
                  </a:cxn>
                  <a:cxn ang="0">
                    <a:pos x="679" y="147"/>
                  </a:cxn>
                  <a:cxn ang="0">
                    <a:pos x="735" y="114"/>
                  </a:cxn>
                  <a:cxn ang="0">
                    <a:pos x="759" y="63"/>
                  </a:cxn>
                  <a:cxn ang="0">
                    <a:pos x="752" y="26"/>
                  </a:cxn>
                  <a:cxn ang="0">
                    <a:pos x="723" y="5"/>
                  </a:cxn>
                  <a:cxn ang="0">
                    <a:pos x="686" y="2"/>
                  </a:cxn>
                </a:cxnLst>
                <a:rect l="0" t="0" r="r" b="b"/>
                <a:pathLst>
                  <a:path w="759" h="396">
                    <a:moveTo>
                      <a:pt x="686" y="2"/>
                    </a:moveTo>
                    <a:lnTo>
                      <a:pt x="686" y="2"/>
                    </a:lnTo>
                    <a:lnTo>
                      <a:pt x="678" y="7"/>
                    </a:lnTo>
                    <a:lnTo>
                      <a:pt x="671" y="14"/>
                    </a:lnTo>
                    <a:lnTo>
                      <a:pt x="665" y="22"/>
                    </a:lnTo>
                    <a:lnTo>
                      <a:pt x="660" y="29"/>
                    </a:lnTo>
                    <a:lnTo>
                      <a:pt x="651" y="43"/>
                    </a:lnTo>
                    <a:lnTo>
                      <a:pt x="647" y="47"/>
                    </a:lnTo>
                    <a:lnTo>
                      <a:pt x="642" y="49"/>
                    </a:lnTo>
                    <a:lnTo>
                      <a:pt x="642" y="49"/>
                    </a:lnTo>
                    <a:lnTo>
                      <a:pt x="637" y="51"/>
                    </a:lnTo>
                    <a:lnTo>
                      <a:pt x="633" y="51"/>
                    </a:lnTo>
                    <a:lnTo>
                      <a:pt x="622" y="49"/>
                    </a:lnTo>
                    <a:lnTo>
                      <a:pt x="613" y="47"/>
                    </a:lnTo>
                    <a:lnTo>
                      <a:pt x="605" y="46"/>
                    </a:lnTo>
                    <a:lnTo>
                      <a:pt x="605" y="46"/>
                    </a:lnTo>
                    <a:lnTo>
                      <a:pt x="595" y="47"/>
                    </a:lnTo>
                    <a:lnTo>
                      <a:pt x="586" y="49"/>
                    </a:lnTo>
                    <a:lnTo>
                      <a:pt x="567" y="55"/>
                    </a:lnTo>
                    <a:lnTo>
                      <a:pt x="550" y="62"/>
                    </a:lnTo>
                    <a:lnTo>
                      <a:pt x="542" y="63"/>
                    </a:lnTo>
                    <a:lnTo>
                      <a:pt x="533" y="64"/>
                    </a:lnTo>
                    <a:lnTo>
                      <a:pt x="533" y="64"/>
                    </a:lnTo>
                    <a:lnTo>
                      <a:pt x="525" y="64"/>
                    </a:lnTo>
                    <a:lnTo>
                      <a:pt x="518" y="63"/>
                    </a:lnTo>
                    <a:lnTo>
                      <a:pt x="505" y="59"/>
                    </a:lnTo>
                    <a:lnTo>
                      <a:pt x="494" y="53"/>
                    </a:lnTo>
                    <a:lnTo>
                      <a:pt x="482" y="46"/>
                    </a:lnTo>
                    <a:lnTo>
                      <a:pt x="472" y="40"/>
                    </a:lnTo>
                    <a:lnTo>
                      <a:pt x="460" y="33"/>
                    </a:lnTo>
                    <a:lnTo>
                      <a:pt x="448" y="30"/>
                    </a:lnTo>
                    <a:lnTo>
                      <a:pt x="441" y="29"/>
                    </a:lnTo>
                    <a:lnTo>
                      <a:pt x="433" y="29"/>
                    </a:lnTo>
                    <a:lnTo>
                      <a:pt x="433" y="29"/>
                    </a:lnTo>
                    <a:lnTo>
                      <a:pt x="433" y="46"/>
                    </a:lnTo>
                    <a:lnTo>
                      <a:pt x="349" y="46"/>
                    </a:lnTo>
                    <a:lnTo>
                      <a:pt x="349" y="46"/>
                    </a:lnTo>
                    <a:lnTo>
                      <a:pt x="349" y="46"/>
                    </a:lnTo>
                    <a:lnTo>
                      <a:pt x="331" y="55"/>
                    </a:lnTo>
                    <a:lnTo>
                      <a:pt x="316" y="64"/>
                    </a:lnTo>
                    <a:lnTo>
                      <a:pt x="301" y="72"/>
                    </a:lnTo>
                    <a:lnTo>
                      <a:pt x="293" y="76"/>
                    </a:lnTo>
                    <a:lnTo>
                      <a:pt x="285" y="79"/>
                    </a:lnTo>
                    <a:lnTo>
                      <a:pt x="285" y="79"/>
                    </a:lnTo>
                    <a:lnTo>
                      <a:pt x="283" y="82"/>
                    </a:lnTo>
                    <a:lnTo>
                      <a:pt x="282" y="85"/>
                    </a:lnTo>
                    <a:lnTo>
                      <a:pt x="278" y="94"/>
                    </a:lnTo>
                    <a:lnTo>
                      <a:pt x="276" y="98"/>
                    </a:lnTo>
                    <a:lnTo>
                      <a:pt x="274" y="101"/>
                    </a:lnTo>
                    <a:lnTo>
                      <a:pt x="272" y="105"/>
                    </a:lnTo>
                    <a:lnTo>
                      <a:pt x="268" y="105"/>
                    </a:lnTo>
                    <a:lnTo>
                      <a:pt x="268" y="105"/>
                    </a:lnTo>
                    <a:lnTo>
                      <a:pt x="262" y="102"/>
                    </a:lnTo>
                    <a:lnTo>
                      <a:pt x="255" y="98"/>
                    </a:lnTo>
                    <a:lnTo>
                      <a:pt x="245" y="91"/>
                    </a:lnTo>
                    <a:lnTo>
                      <a:pt x="245" y="91"/>
                    </a:lnTo>
                    <a:lnTo>
                      <a:pt x="236" y="100"/>
                    </a:lnTo>
                    <a:lnTo>
                      <a:pt x="229" y="106"/>
                    </a:lnTo>
                    <a:lnTo>
                      <a:pt x="222" y="109"/>
                    </a:lnTo>
                    <a:lnTo>
                      <a:pt x="213" y="113"/>
                    </a:lnTo>
                    <a:lnTo>
                      <a:pt x="213" y="113"/>
                    </a:lnTo>
                    <a:lnTo>
                      <a:pt x="211" y="108"/>
                    </a:lnTo>
                    <a:lnTo>
                      <a:pt x="209" y="105"/>
                    </a:lnTo>
                    <a:lnTo>
                      <a:pt x="206" y="102"/>
                    </a:lnTo>
                    <a:lnTo>
                      <a:pt x="204" y="101"/>
                    </a:lnTo>
                    <a:lnTo>
                      <a:pt x="197" y="101"/>
                    </a:lnTo>
                    <a:lnTo>
                      <a:pt x="186" y="101"/>
                    </a:lnTo>
                    <a:lnTo>
                      <a:pt x="186" y="101"/>
                    </a:lnTo>
                    <a:lnTo>
                      <a:pt x="186" y="128"/>
                    </a:lnTo>
                    <a:lnTo>
                      <a:pt x="186" y="128"/>
                    </a:lnTo>
                    <a:lnTo>
                      <a:pt x="186" y="128"/>
                    </a:lnTo>
                    <a:lnTo>
                      <a:pt x="191" y="130"/>
                    </a:lnTo>
                    <a:lnTo>
                      <a:pt x="196" y="133"/>
                    </a:lnTo>
                    <a:lnTo>
                      <a:pt x="198" y="137"/>
                    </a:lnTo>
                    <a:lnTo>
                      <a:pt x="201" y="142"/>
                    </a:lnTo>
                    <a:lnTo>
                      <a:pt x="201" y="142"/>
                    </a:lnTo>
                    <a:lnTo>
                      <a:pt x="168" y="142"/>
                    </a:lnTo>
                    <a:lnTo>
                      <a:pt x="168" y="142"/>
                    </a:lnTo>
                    <a:lnTo>
                      <a:pt x="171" y="153"/>
                    </a:lnTo>
                    <a:lnTo>
                      <a:pt x="176" y="162"/>
                    </a:lnTo>
                    <a:lnTo>
                      <a:pt x="181" y="170"/>
                    </a:lnTo>
                    <a:lnTo>
                      <a:pt x="186" y="182"/>
                    </a:lnTo>
                    <a:lnTo>
                      <a:pt x="186" y="182"/>
                    </a:lnTo>
                    <a:lnTo>
                      <a:pt x="177" y="181"/>
                    </a:lnTo>
                    <a:lnTo>
                      <a:pt x="169" y="177"/>
                    </a:lnTo>
                    <a:lnTo>
                      <a:pt x="164" y="173"/>
                    </a:lnTo>
                    <a:lnTo>
                      <a:pt x="161" y="168"/>
                    </a:lnTo>
                    <a:lnTo>
                      <a:pt x="161" y="168"/>
                    </a:lnTo>
                    <a:lnTo>
                      <a:pt x="143" y="168"/>
                    </a:lnTo>
                    <a:lnTo>
                      <a:pt x="143" y="168"/>
                    </a:lnTo>
                    <a:lnTo>
                      <a:pt x="143" y="168"/>
                    </a:lnTo>
                    <a:lnTo>
                      <a:pt x="143" y="178"/>
                    </a:lnTo>
                    <a:lnTo>
                      <a:pt x="144" y="186"/>
                    </a:lnTo>
                    <a:lnTo>
                      <a:pt x="144" y="193"/>
                    </a:lnTo>
                    <a:lnTo>
                      <a:pt x="143" y="200"/>
                    </a:lnTo>
                    <a:lnTo>
                      <a:pt x="143" y="200"/>
                    </a:lnTo>
                    <a:lnTo>
                      <a:pt x="139" y="201"/>
                    </a:lnTo>
                    <a:lnTo>
                      <a:pt x="137" y="203"/>
                    </a:lnTo>
                    <a:lnTo>
                      <a:pt x="131" y="203"/>
                    </a:lnTo>
                    <a:lnTo>
                      <a:pt x="124" y="200"/>
                    </a:lnTo>
                    <a:lnTo>
                      <a:pt x="124" y="200"/>
                    </a:lnTo>
                    <a:lnTo>
                      <a:pt x="121" y="200"/>
                    </a:lnTo>
                    <a:lnTo>
                      <a:pt x="117" y="201"/>
                    </a:lnTo>
                    <a:lnTo>
                      <a:pt x="115" y="204"/>
                    </a:lnTo>
                    <a:lnTo>
                      <a:pt x="113" y="205"/>
                    </a:lnTo>
                    <a:lnTo>
                      <a:pt x="110" y="211"/>
                    </a:lnTo>
                    <a:lnTo>
                      <a:pt x="109" y="217"/>
                    </a:lnTo>
                    <a:lnTo>
                      <a:pt x="107" y="234"/>
                    </a:lnTo>
                    <a:lnTo>
                      <a:pt x="106" y="242"/>
                    </a:lnTo>
                    <a:lnTo>
                      <a:pt x="102" y="249"/>
                    </a:lnTo>
                    <a:lnTo>
                      <a:pt x="102" y="249"/>
                    </a:lnTo>
                    <a:lnTo>
                      <a:pt x="94" y="241"/>
                    </a:lnTo>
                    <a:lnTo>
                      <a:pt x="85" y="234"/>
                    </a:lnTo>
                    <a:lnTo>
                      <a:pt x="77" y="228"/>
                    </a:lnTo>
                    <a:lnTo>
                      <a:pt x="72" y="227"/>
                    </a:lnTo>
                    <a:lnTo>
                      <a:pt x="69" y="227"/>
                    </a:lnTo>
                    <a:lnTo>
                      <a:pt x="69" y="227"/>
                    </a:lnTo>
                    <a:lnTo>
                      <a:pt x="59" y="227"/>
                    </a:lnTo>
                    <a:lnTo>
                      <a:pt x="47" y="229"/>
                    </a:lnTo>
                    <a:lnTo>
                      <a:pt x="36" y="234"/>
                    </a:lnTo>
                    <a:lnTo>
                      <a:pt x="25" y="238"/>
                    </a:lnTo>
                    <a:lnTo>
                      <a:pt x="15" y="243"/>
                    </a:lnTo>
                    <a:lnTo>
                      <a:pt x="7" y="250"/>
                    </a:lnTo>
                    <a:lnTo>
                      <a:pt x="2" y="257"/>
                    </a:lnTo>
                    <a:lnTo>
                      <a:pt x="1" y="260"/>
                    </a:lnTo>
                    <a:lnTo>
                      <a:pt x="0" y="264"/>
                    </a:lnTo>
                    <a:lnTo>
                      <a:pt x="0" y="264"/>
                    </a:lnTo>
                    <a:lnTo>
                      <a:pt x="2" y="267"/>
                    </a:lnTo>
                    <a:lnTo>
                      <a:pt x="7" y="272"/>
                    </a:lnTo>
                    <a:lnTo>
                      <a:pt x="23" y="283"/>
                    </a:lnTo>
                    <a:lnTo>
                      <a:pt x="40" y="295"/>
                    </a:lnTo>
                    <a:lnTo>
                      <a:pt x="51" y="304"/>
                    </a:lnTo>
                    <a:lnTo>
                      <a:pt x="51" y="304"/>
                    </a:lnTo>
                    <a:lnTo>
                      <a:pt x="25" y="304"/>
                    </a:lnTo>
                    <a:lnTo>
                      <a:pt x="25" y="304"/>
                    </a:lnTo>
                    <a:lnTo>
                      <a:pt x="18" y="303"/>
                    </a:lnTo>
                    <a:lnTo>
                      <a:pt x="10" y="304"/>
                    </a:lnTo>
                    <a:lnTo>
                      <a:pt x="7" y="305"/>
                    </a:lnTo>
                    <a:lnTo>
                      <a:pt x="3" y="308"/>
                    </a:lnTo>
                    <a:lnTo>
                      <a:pt x="1" y="312"/>
                    </a:lnTo>
                    <a:lnTo>
                      <a:pt x="0" y="318"/>
                    </a:lnTo>
                    <a:lnTo>
                      <a:pt x="0" y="318"/>
                    </a:lnTo>
                    <a:lnTo>
                      <a:pt x="1" y="325"/>
                    </a:lnTo>
                    <a:lnTo>
                      <a:pt x="3" y="328"/>
                    </a:lnTo>
                    <a:lnTo>
                      <a:pt x="7" y="330"/>
                    </a:lnTo>
                    <a:lnTo>
                      <a:pt x="10" y="331"/>
                    </a:lnTo>
                    <a:lnTo>
                      <a:pt x="20" y="334"/>
                    </a:lnTo>
                    <a:lnTo>
                      <a:pt x="24" y="335"/>
                    </a:lnTo>
                    <a:lnTo>
                      <a:pt x="29" y="337"/>
                    </a:lnTo>
                    <a:lnTo>
                      <a:pt x="29" y="337"/>
                    </a:lnTo>
                    <a:lnTo>
                      <a:pt x="33" y="339"/>
                    </a:lnTo>
                    <a:lnTo>
                      <a:pt x="37" y="343"/>
                    </a:lnTo>
                    <a:lnTo>
                      <a:pt x="39" y="348"/>
                    </a:lnTo>
                    <a:lnTo>
                      <a:pt x="40" y="352"/>
                    </a:lnTo>
                    <a:lnTo>
                      <a:pt x="41" y="362"/>
                    </a:lnTo>
                    <a:lnTo>
                      <a:pt x="44" y="373"/>
                    </a:lnTo>
                    <a:lnTo>
                      <a:pt x="44" y="373"/>
                    </a:lnTo>
                    <a:lnTo>
                      <a:pt x="45" y="376"/>
                    </a:lnTo>
                    <a:lnTo>
                      <a:pt x="46" y="379"/>
                    </a:lnTo>
                    <a:lnTo>
                      <a:pt x="52" y="383"/>
                    </a:lnTo>
                    <a:lnTo>
                      <a:pt x="59" y="387"/>
                    </a:lnTo>
                    <a:lnTo>
                      <a:pt x="67" y="390"/>
                    </a:lnTo>
                    <a:lnTo>
                      <a:pt x="76" y="392"/>
                    </a:lnTo>
                    <a:lnTo>
                      <a:pt x="86" y="395"/>
                    </a:lnTo>
                    <a:lnTo>
                      <a:pt x="102" y="396"/>
                    </a:lnTo>
                    <a:lnTo>
                      <a:pt x="102" y="396"/>
                    </a:lnTo>
                    <a:lnTo>
                      <a:pt x="106" y="396"/>
                    </a:lnTo>
                    <a:lnTo>
                      <a:pt x="109" y="395"/>
                    </a:lnTo>
                    <a:lnTo>
                      <a:pt x="112" y="392"/>
                    </a:lnTo>
                    <a:lnTo>
                      <a:pt x="113" y="390"/>
                    </a:lnTo>
                    <a:lnTo>
                      <a:pt x="115" y="384"/>
                    </a:lnTo>
                    <a:lnTo>
                      <a:pt x="116" y="376"/>
                    </a:lnTo>
                    <a:lnTo>
                      <a:pt x="114" y="360"/>
                    </a:lnTo>
                    <a:lnTo>
                      <a:pt x="113" y="344"/>
                    </a:lnTo>
                    <a:lnTo>
                      <a:pt x="113" y="344"/>
                    </a:lnTo>
                    <a:lnTo>
                      <a:pt x="123" y="348"/>
                    </a:lnTo>
                    <a:lnTo>
                      <a:pt x="131" y="351"/>
                    </a:lnTo>
                    <a:lnTo>
                      <a:pt x="138" y="354"/>
                    </a:lnTo>
                    <a:lnTo>
                      <a:pt x="146" y="356"/>
                    </a:lnTo>
                    <a:lnTo>
                      <a:pt x="146" y="356"/>
                    </a:lnTo>
                    <a:lnTo>
                      <a:pt x="147" y="349"/>
                    </a:lnTo>
                    <a:lnTo>
                      <a:pt x="146" y="342"/>
                    </a:lnTo>
                    <a:lnTo>
                      <a:pt x="143" y="330"/>
                    </a:lnTo>
                    <a:lnTo>
                      <a:pt x="139" y="320"/>
                    </a:lnTo>
                    <a:lnTo>
                      <a:pt x="138" y="315"/>
                    </a:lnTo>
                    <a:lnTo>
                      <a:pt x="139" y="311"/>
                    </a:lnTo>
                    <a:lnTo>
                      <a:pt x="139" y="311"/>
                    </a:lnTo>
                    <a:lnTo>
                      <a:pt x="145" y="320"/>
                    </a:lnTo>
                    <a:lnTo>
                      <a:pt x="151" y="328"/>
                    </a:lnTo>
                    <a:lnTo>
                      <a:pt x="154" y="331"/>
                    </a:lnTo>
                    <a:lnTo>
                      <a:pt x="156" y="335"/>
                    </a:lnTo>
                    <a:lnTo>
                      <a:pt x="161" y="336"/>
                    </a:lnTo>
                    <a:lnTo>
                      <a:pt x="164" y="337"/>
                    </a:lnTo>
                    <a:lnTo>
                      <a:pt x="164" y="337"/>
                    </a:lnTo>
                    <a:lnTo>
                      <a:pt x="169" y="336"/>
                    </a:lnTo>
                    <a:lnTo>
                      <a:pt x="174" y="335"/>
                    </a:lnTo>
                    <a:lnTo>
                      <a:pt x="176" y="331"/>
                    </a:lnTo>
                    <a:lnTo>
                      <a:pt x="177" y="329"/>
                    </a:lnTo>
                    <a:lnTo>
                      <a:pt x="179" y="321"/>
                    </a:lnTo>
                    <a:lnTo>
                      <a:pt x="179" y="314"/>
                    </a:lnTo>
                    <a:lnTo>
                      <a:pt x="179" y="314"/>
                    </a:lnTo>
                    <a:lnTo>
                      <a:pt x="179" y="308"/>
                    </a:lnTo>
                    <a:lnTo>
                      <a:pt x="178" y="304"/>
                    </a:lnTo>
                    <a:lnTo>
                      <a:pt x="175" y="297"/>
                    </a:lnTo>
                    <a:lnTo>
                      <a:pt x="175" y="295"/>
                    </a:lnTo>
                    <a:lnTo>
                      <a:pt x="175" y="292"/>
                    </a:lnTo>
                    <a:lnTo>
                      <a:pt x="176" y="289"/>
                    </a:lnTo>
                    <a:lnTo>
                      <a:pt x="179" y="285"/>
                    </a:lnTo>
                    <a:lnTo>
                      <a:pt x="179" y="285"/>
                    </a:lnTo>
                    <a:lnTo>
                      <a:pt x="183" y="291"/>
                    </a:lnTo>
                    <a:lnTo>
                      <a:pt x="189" y="297"/>
                    </a:lnTo>
                    <a:lnTo>
                      <a:pt x="193" y="301"/>
                    </a:lnTo>
                    <a:lnTo>
                      <a:pt x="198" y="304"/>
                    </a:lnTo>
                    <a:lnTo>
                      <a:pt x="198" y="304"/>
                    </a:lnTo>
                    <a:lnTo>
                      <a:pt x="201" y="303"/>
                    </a:lnTo>
                    <a:lnTo>
                      <a:pt x="205" y="301"/>
                    </a:lnTo>
                    <a:lnTo>
                      <a:pt x="212" y="296"/>
                    </a:lnTo>
                    <a:lnTo>
                      <a:pt x="217" y="287"/>
                    </a:lnTo>
                    <a:lnTo>
                      <a:pt x="224" y="277"/>
                    </a:lnTo>
                    <a:lnTo>
                      <a:pt x="236" y="257"/>
                    </a:lnTo>
                    <a:lnTo>
                      <a:pt x="240" y="250"/>
                    </a:lnTo>
                    <a:lnTo>
                      <a:pt x="245" y="244"/>
                    </a:lnTo>
                    <a:lnTo>
                      <a:pt x="245" y="244"/>
                    </a:lnTo>
                    <a:lnTo>
                      <a:pt x="255" y="254"/>
                    </a:lnTo>
                    <a:lnTo>
                      <a:pt x="260" y="258"/>
                    </a:lnTo>
                    <a:lnTo>
                      <a:pt x="263" y="259"/>
                    </a:lnTo>
                    <a:lnTo>
                      <a:pt x="268" y="259"/>
                    </a:lnTo>
                    <a:lnTo>
                      <a:pt x="268" y="259"/>
                    </a:lnTo>
                    <a:lnTo>
                      <a:pt x="272" y="259"/>
                    </a:lnTo>
                    <a:lnTo>
                      <a:pt x="274" y="257"/>
                    </a:lnTo>
                    <a:lnTo>
                      <a:pt x="277" y="250"/>
                    </a:lnTo>
                    <a:lnTo>
                      <a:pt x="280" y="244"/>
                    </a:lnTo>
                    <a:lnTo>
                      <a:pt x="282" y="242"/>
                    </a:lnTo>
                    <a:lnTo>
                      <a:pt x="285" y="241"/>
                    </a:lnTo>
                    <a:lnTo>
                      <a:pt x="285" y="241"/>
                    </a:lnTo>
                    <a:lnTo>
                      <a:pt x="296" y="241"/>
                    </a:lnTo>
                    <a:lnTo>
                      <a:pt x="311" y="241"/>
                    </a:lnTo>
                    <a:lnTo>
                      <a:pt x="328" y="238"/>
                    </a:lnTo>
                    <a:lnTo>
                      <a:pt x="335" y="236"/>
                    </a:lnTo>
                    <a:lnTo>
                      <a:pt x="341" y="234"/>
                    </a:lnTo>
                    <a:lnTo>
                      <a:pt x="341" y="234"/>
                    </a:lnTo>
                    <a:lnTo>
                      <a:pt x="344" y="230"/>
                    </a:lnTo>
                    <a:lnTo>
                      <a:pt x="346" y="227"/>
                    </a:lnTo>
                    <a:lnTo>
                      <a:pt x="349" y="217"/>
                    </a:lnTo>
                    <a:lnTo>
                      <a:pt x="350" y="213"/>
                    </a:lnTo>
                    <a:lnTo>
                      <a:pt x="352" y="209"/>
                    </a:lnTo>
                    <a:lnTo>
                      <a:pt x="354" y="206"/>
                    </a:lnTo>
                    <a:lnTo>
                      <a:pt x="359" y="205"/>
                    </a:lnTo>
                    <a:lnTo>
                      <a:pt x="359" y="205"/>
                    </a:lnTo>
                    <a:lnTo>
                      <a:pt x="379" y="196"/>
                    </a:lnTo>
                    <a:lnTo>
                      <a:pt x="397" y="190"/>
                    </a:lnTo>
                    <a:lnTo>
                      <a:pt x="414" y="184"/>
                    </a:lnTo>
                    <a:lnTo>
                      <a:pt x="431" y="181"/>
                    </a:lnTo>
                    <a:lnTo>
                      <a:pt x="469" y="173"/>
                    </a:lnTo>
                    <a:lnTo>
                      <a:pt x="518" y="165"/>
                    </a:lnTo>
                    <a:lnTo>
                      <a:pt x="518" y="165"/>
                    </a:lnTo>
                    <a:lnTo>
                      <a:pt x="639" y="165"/>
                    </a:lnTo>
                    <a:lnTo>
                      <a:pt x="639" y="165"/>
                    </a:lnTo>
                    <a:lnTo>
                      <a:pt x="639" y="165"/>
                    </a:lnTo>
                    <a:lnTo>
                      <a:pt x="679" y="147"/>
                    </a:lnTo>
                    <a:lnTo>
                      <a:pt x="700" y="138"/>
                    </a:lnTo>
                    <a:lnTo>
                      <a:pt x="709" y="133"/>
                    </a:lnTo>
                    <a:lnTo>
                      <a:pt x="718" y="128"/>
                    </a:lnTo>
                    <a:lnTo>
                      <a:pt x="727" y="121"/>
                    </a:lnTo>
                    <a:lnTo>
                      <a:pt x="735" y="114"/>
                    </a:lnTo>
                    <a:lnTo>
                      <a:pt x="742" y="106"/>
                    </a:lnTo>
                    <a:lnTo>
                      <a:pt x="748" y="98"/>
                    </a:lnTo>
                    <a:lnTo>
                      <a:pt x="752" y="87"/>
                    </a:lnTo>
                    <a:lnTo>
                      <a:pt x="757" y="76"/>
                    </a:lnTo>
                    <a:lnTo>
                      <a:pt x="759" y="63"/>
                    </a:lnTo>
                    <a:lnTo>
                      <a:pt x="759" y="49"/>
                    </a:lnTo>
                    <a:lnTo>
                      <a:pt x="759" y="49"/>
                    </a:lnTo>
                    <a:lnTo>
                      <a:pt x="759" y="41"/>
                    </a:lnTo>
                    <a:lnTo>
                      <a:pt x="757" y="33"/>
                    </a:lnTo>
                    <a:lnTo>
                      <a:pt x="752" y="26"/>
                    </a:lnTo>
                    <a:lnTo>
                      <a:pt x="748" y="20"/>
                    </a:lnTo>
                    <a:lnTo>
                      <a:pt x="742" y="15"/>
                    </a:lnTo>
                    <a:lnTo>
                      <a:pt x="736" y="10"/>
                    </a:lnTo>
                    <a:lnTo>
                      <a:pt x="729" y="7"/>
                    </a:lnTo>
                    <a:lnTo>
                      <a:pt x="723" y="5"/>
                    </a:lnTo>
                    <a:lnTo>
                      <a:pt x="710" y="1"/>
                    </a:lnTo>
                    <a:lnTo>
                      <a:pt x="697" y="0"/>
                    </a:lnTo>
                    <a:lnTo>
                      <a:pt x="689" y="0"/>
                    </a:lnTo>
                    <a:lnTo>
                      <a:pt x="687" y="1"/>
                    </a:lnTo>
                    <a:lnTo>
                      <a:pt x="686" y="2"/>
                    </a:lnTo>
                    <a:lnTo>
                      <a:pt x="686" y="2"/>
                    </a:lnTo>
                    <a:lnTo>
                      <a:pt x="686" y="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8" name="Freeform 53"/>
              <p:cNvSpPr>
                <a:spLocks noChangeAspect="1"/>
              </p:cNvSpPr>
              <p:nvPr/>
            </p:nvSpPr>
            <p:spPr bwMode="auto">
              <a:xfrm>
                <a:off x="871082" y="3053788"/>
                <a:ext cx="271054" cy="378510"/>
              </a:xfrm>
              <a:custGeom>
                <a:avLst/>
                <a:gdLst/>
                <a:ahLst/>
                <a:cxnLst>
                  <a:cxn ang="0">
                    <a:pos x="253" y="0"/>
                  </a:cxn>
                  <a:cxn ang="0">
                    <a:pos x="222" y="37"/>
                  </a:cxn>
                  <a:cxn ang="0">
                    <a:pos x="191" y="67"/>
                  </a:cxn>
                  <a:cxn ang="0">
                    <a:pos x="174" y="102"/>
                  </a:cxn>
                  <a:cxn ang="0">
                    <a:pos x="160" y="116"/>
                  </a:cxn>
                  <a:cxn ang="0">
                    <a:pos x="123" y="116"/>
                  </a:cxn>
                  <a:cxn ang="0">
                    <a:pos x="107" y="123"/>
                  </a:cxn>
                  <a:cxn ang="0">
                    <a:pos x="103" y="140"/>
                  </a:cxn>
                  <a:cxn ang="0">
                    <a:pos x="110" y="179"/>
                  </a:cxn>
                  <a:cxn ang="0">
                    <a:pos x="86" y="191"/>
                  </a:cxn>
                  <a:cxn ang="0">
                    <a:pos x="57" y="208"/>
                  </a:cxn>
                  <a:cxn ang="0">
                    <a:pos x="34" y="270"/>
                  </a:cxn>
                  <a:cxn ang="0">
                    <a:pos x="23" y="298"/>
                  </a:cxn>
                  <a:cxn ang="0">
                    <a:pos x="3" y="318"/>
                  </a:cxn>
                  <a:cxn ang="0">
                    <a:pos x="0" y="337"/>
                  </a:cxn>
                  <a:cxn ang="0">
                    <a:pos x="16" y="367"/>
                  </a:cxn>
                  <a:cxn ang="0">
                    <a:pos x="32" y="392"/>
                  </a:cxn>
                  <a:cxn ang="0">
                    <a:pos x="29" y="408"/>
                  </a:cxn>
                  <a:cxn ang="0">
                    <a:pos x="11" y="426"/>
                  </a:cxn>
                  <a:cxn ang="0">
                    <a:pos x="8" y="438"/>
                  </a:cxn>
                  <a:cxn ang="0">
                    <a:pos x="46" y="460"/>
                  </a:cxn>
                  <a:cxn ang="0">
                    <a:pos x="65" y="477"/>
                  </a:cxn>
                  <a:cxn ang="0">
                    <a:pos x="71" y="515"/>
                  </a:cxn>
                  <a:cxn ang="0">
                    <a:pos x="82" y="534"/>
                  </a:cxn>
                  <a:cxn ang="0">
                    <a:pos x="91" y="535"/>
                  </a:cxn>
                  <a:cxn ang="0">
                    <a:pos x="103" y="526"/>
                  </a:cxn>
                  <a:cxn ang="0">
                    <a:pos x="112" y="528"/>
                  </a:cxn>
                  <a:cxn ang="0">
                    <a:pos x="129" y="543"/>
                  </a:cxn>
                  <a:cxn ang="0">
                    <a:pos x="147" y="537"/>
                  </a:cxn>
                  <a:cxn ang="0">
                    <a:pos x="190" y="502"/>
                  </a:cxn>
                  <a:cxn ang="0">
                    <a:pos x="198" y="484"/>
                  </a:cxn>
                  <a:cxn ang="0">
                    <a:pos x="202" y="434"/>
                  </a:cxn>
                  <a:cxn ang="0">
                    <a:pos x="215" y="404"/>
                  </a:cxn>
                  <a:cxn ang="0">
                    <a:pos x="231" y="404"/>
                  </a:cxn>
                  <a:cxn ang="0">
                    <a:pos x="235" y="366"/>
                  </a:cxn>
                  <a:cxn ang="0">
                    <a:pos x="271" y="327"/>
                  </a:cxn>
                  <a:cxn ang="0">
                    <a:pos x="308" y="285"/>
                  </a:cxn>
                  <a:cxn ang="0">
                    <a:pos x="312" y="267"/>
                  </a:cxn>
                  <a:cxn ang="0">
                    <a:pos x="298" y="238"/>
                  </a:cxn>
                  <a:cxn ang="0">
                    <a:pos x="299" y="211"/>
                  </a:cxn>
                  <a:cxn ang="0">
                    <a:pos x="317" y="190"/>
                  </a:cxn>
                  <a:cxn ang="0">
                    <a:pos x="331" y="181"/>
                  </a:cxn>
                  <a:cxn ang="0">
                    <a:pos x="331" y="146"/>
                  </a:cxn>
                  <a:cxn ang="0">
                    <a:pos x="341" y="107"/>
                  </a:cxn>
                  <a:cxn ang="0">
                    <a:pos x="337" y="77"/>
                  </a:cxn>
                  <a:cxn ang="0">
                    <a:pos x="320" y="49"/>
                  </a:cxn>
                  <a:cxn ang="0">
                    <a:pos x="316" y="9"/>
                  </a:cxn>
                  <a:cxn ang="0">
                    <a:pos x="315" y="0"/>
                  </a:cxn>
                </a:cxnLst>
                <a:rect l="0" t="0" r="r" b="b"/>
                <a:pathLst>
                  <a:path w="342" h="543">
                    <a:moveTo>
                      <a:pt x="315" y="0"/>
                    </a:moveTo>
                    <a:lnTo>
                      <a:pt x="253" y="0"/>
                    </a:lnTo>
                    <a:lnTo>
                      <a:pt x="253" y="0"/>
                    </a:lnTo>
                    <a:lnTo>
                      <a:pt x="253" y="0"/>
                    </a:lnTo>
                    <a:lnTo>
                      <a:pt x="246" y="13"/>
                    </a:lnTo>
                    <a:lnTo>
                      <a:pt x="238" y="22"/>
                    </a:lnTo>
                    <a:lnTo>
                      <a:pt x="230" y="30"/>
                    </a:lnTo>
                    <a:lnTo>
                      <a:pt x="222" y="37"/>
                    </a:lnTo>
                    <a:lnTo>
                      <a:pt x="206" y="51"/>
                    </a:lnTo>
                    <a:lnTo>
                      <a:pt x="198" y="57"/>
                    </a:lnTo>
                    <a:lnTo>
                      <a:pt x="191" y="67"/>
                    </a:lnTo>
                    <a:lnTo>
                      <a:pt x="191" y="67"/>
                    </a:lnTo>
                    <a:lnTo>
                      <a:pt x="187" y="71"/>
                    </a:lnTo>
                    <a:lnTo>
                      <a:pt x="184" y="78"/>
                    </a:lnTo>
                    <a:lnTo>
                      <a:pt x="179" y="90"/>
                    </a:lnTo>
                    <a:lnTo>
                      <a:pt x="174" y="102"/>
                    </a:lnTo>
                    <a:lnTo>
                      <a:pt x="170" y="108"/>
                    </a:lnTo>
                    <a:lnTo>
                      <a:pt x="166" y="114"/>
                    </a:lnTo>
                    <a:lnTo>
                      <a:pt x="166" y="114"/>
                    </a:lnTo>
                    <a:lnTo>
                      <a:pt x="160" y="116"/>
                    </a:lnTo>
                    <a:lnTo>
                      <a:pt x="154" y="116"/>
                    </a:lnTo>
                    <a:lnTo>
                      <a:pt x="139" y="116"/>
                    </a:lnTo>
                    <a:lnTo>
                      <a:pt x="131" y="116"/>
                    </a:lnTo>
                    <a:lnTo>
                      <a:pt x="123" y="116"/>
                    </a:lnTo>
                    <a:lnTo>
                      <a:pt x="116" y="117"/>
                    </a:lnTo>
                    <a:lnTo>
                      <a:pt x="110" y="121"/>
                    </a:lnTo>
                    <a:lnTo>
                      <a:pt x="110" y="121"/>
                    </a:lnTo>
                    <a:lnTo>
                      <a:pt x="107" y="123"/>
                    </a:lnTo>
                    <a:lnTo>
                      <a:pt x="105" y="127"/>
                    </a:lnTo>
                    <a:lnTo>
                      <a:pt x="103" y="130"/>
                    </a:lnTo>
                    <a:lnTo>
                      <a:pt x="102" y="133"/>
                    </a:lnTo>
                    <a:lnTo>
                      <a:pt x="103" y="140"/>
                    </a:lnTo>
                    <a:lnTo>
                      <a:pt x="105" y="147"/>
                    </a:lnTo>
                    <a:lnTo>
                      <a:pt x="109" y="163"/>
                    </a:lnTo>
                    <a:lnTo>
                      <a:pt x="110" y="171"/>
                    </a:lnTo>
                    <a:lnTo>
                      <a:pt x="110" y="179"/>
                    </a:lnTo>
                    <a:lnTo>
                      <a:pt x="110" y="179"/>
                    </a:lnTo>
                    <a:lnTo>
                      <a:pt x="107" y="182"/>
                    </a:lnTo>
                    <a:lnTo>
                      <a:pt x="101" y="184"/>
                    </a:lnTo>
                    <a:lnTo>
                      <a:pt x="86" y="191"/>
                    </a:lnTo>
                    <a:lnTo>
                      <a:pt x="65" y="198"/>
                    </a:lnTo>
                    <a:lnTo>
                      <a:pt x="65" y="198"/>
                    </a:lnTo>
                    <a:lnTo>
                      <a:pt x="61" y="202"/>
                    </a:lnTo>
                    <a:lnTo>
                      <a:pt x="57" y="208"/>
                    </a:lnTo>
                    <a:lnTo>
                      <a:pt x="51" y="219"/>
                    </a:lnTo>
                    <a:lnTo>
                      <a:pt x="46" y="231"/>
                    </a:lnTo>
                    <a:lnTo>
                      <a:pt x="41" y="244"/>
                    </a:lnTo>
                    <a:lnTo>
                      <a:pt x="34" y="270"/>
                    </a:lnTo>
                    <a:lnTo>
                      <a:pt x="31" y="283"/>
                    </a:lnTo>
                    <a:lnTo>
                      <a:pt x="26" y="293"/>
                    </a:lnTo>
                    <a:lnTo>
                      <a:pt x="26" y="293"/>
                    </a:lnTo>
                    <a:lnTo>
                      <a:pt x="23" y="298"/>
                    </a:lnTo>
                    <a:lnTo>
                      <a:pt x="18" y="303"/>
                    </a:lnTo>
                    <a:lnTo>
                      <a:pt x="10" y="309"/>
                    </a:lnTo>
                    <a:lnTo>
                      <a:pt x="6" y="313"/>
                    </a:lnTo>
                    <a:lnTo>
                      <a:pt x="3" y="318"/>
                    </a:lnTo>
                    <a:lnTo>
                      <a:pt x="1" y="323"/>
                    </a:lnTo>
                    <a:lnTo>
                      <a:pt x="0" y="330"/>
                    </a:lnTo>
                    <a:lnTo>
                      <a:pt x="0" y="330"/>
                    </a:lnTo>
                    <a:lnTo>
                      <a:pt x="0" y="337"/>
                    </a:lnTo>
                    <a:lnTo>
                      <a:pt x="1" y="343"/>
                    </a:lnTo>
                    <a:lnTo>
                      <a:pt x="6" y="353"/>
                    </a:lnTo>
                    <a:lnTo>
                      <a:pt x="10" y="361"/>
                    </a:lnTo>
                    <a:lnTo>
                      <a:pt x="16" y="367"/>
                    </a:lnTo>
                    <a:lnTo>
                      <a:pt x="23" y="374"/>
                    </a:lnTo>
                    <a:lnTo>
                      <a:pt x="28" y="381"/>
                    </a:lnTo>
                    <a:lnTo>
                      <a:pt x="31" y="388"/>
                    </a:lnTo>
                    <a:lnTo>
                      <a:pt x="32" y="392"/>
                    </a:lnTo>
                    <a:lnTo>
                      <a:pt x="33" y="397"/>
                    </a:lnTo>
                    <a:lnTo>
                      <a:pt x="33" y="397"/>
                    </a:lnTo>
                    <a:lnTo>
                      <a:pt x="32" y="403"/>
                    </a:lnTo>
                    <a:lnTo>
                      <a:pt x="29" y="408"/>
                    </a:lnTo>
                    <a:lnTo>
                      <a:pt x="25" y="413"/>
                    </a:lnTo>
                    <a:lnTo>
                      <a:pt x="19" y="416"/>
                    </a:lnTo>
                    <a:lnTo>
                      <a:pt x="15" y="421"/>
                    </a:lnTo>
                    <a:lnTo>
                      <a:pt x="11" y="426"/>
                    </a:lnTo>
                    <a:lnTo>
                      <a:pt x="8" y="431"/>
                    </a:lnTo>
                    <a:lnTo>
                      <a:pt x="7" y="437"/>
                    </a:lnTo>
                    <a:lnTo>
                      <a:pt x="7" y="437"/>
                    </a:lnTo>
                    <a:lnTo>
                      <a:pt x="8" y="438"/>
                    </a:lnTo>
                    <a:lnTo>
                      <a:pt x="9" y="441"/>
                    </a:lnTo>
                    <a:lnTo>
                      <a:pt x="16" y="444"/>
                    </a:lnTo>
                    <a:lnTo>
                      <a:pt x="36" y="454"/>
                    </a:lnTo>
                    <a:lnTo>
                      <a:pt x="46" y="460"/>
                    </a:lnTo>
                    <a:lnTo>
                      <a:pt x="55" y="466"/>
                    </a:lnTo>
                    <a:lnTo>
                      <a:pt x="62" y="472"/>
                    </a:lnTo>
                    <a:lnTo>
                      <a:pt x="64" y="475"/>
                    </a:lnTo>
                    <a:lnTo>
                      <a:pt x="65" y="477"/>
                    </a:lnTo>
                    <a:lnTo>
                      <a:pt x="65" y="477"/>
                    </a:lnTo>
                    <a:lnTo>
                      <a:pt x="68" y="487"/>
                    </a:lnTo>
                    <a:lnTo>
                      <a:pt x="69" y="496"/>
                    </a:lnTo>
                    <a:lnTo>
                      <a:pt x="71" y="515"/>
                    </a:lnTo>
                    <a:lnTo>
                      <a:pt x="74" y="524"/>
                    </a:lnTo>
                    <a:lnTo>
                      <a:pt x="76" y="529"/>
                    </a:lnTo>
                    <a:lnTo>
                      <a:pt x="78" y="533"/>
                    </a:lnTo>
                    <a:lnTo>
                      <a:pt x="82" y="534"/>
                    </a:lnTo>
                    <a:lnTo>
                      <a:pt x="84" y="535"/>
                    </a:lnTo>
                    <a:lnTo>
                      <a:pt x="88" y="536"/>
                    </a:lnTo>
                    <a:lnTo>
                      <a:pt x="88" y="536"/>
                    </a:lnTo>
                    <a:lnTo>
                      <a:pt x="91" y="535"/>
                    </a:lnTo>
                    <a:lnTo>
                      <a:pt x="93" y="534"/>
                    </a:lnTo>
                    <a:lnTo>
                      <a:pt x="98" y="530"/>
                    </a:lnTo>
                    <a:lnTo>
                      <a:pt x="101" y="527"/>
                    </a:lnTo>
                    <a:lnTo>
                      <a:pt x="103" y="526"/>
                    </a:lnTo>
                    <a:lnTo>
                      <a:pt x="107" y="526"/>
                    </a:lnTo>
                    <a:lnTo>
                      <a:pt x="107" y="526"/>
                    </a:lnTo>
                    <a:lnTo>
                      <a:pt x="109" y="526"/>
                    </a:lnTo>
                    <a:lnTo>
                      <a:pt x="112" y="528"/>
                    </a:lnTo>
                    <a:lnTo>
                      <a:pt x="116" y="534"/>
                    </a:lnTo>
                    <a:lnTo>
                      <a:pt x="122" y="541"/>
                    </a:lnTo>
                    <a:lnTo>
                      <a:pt x="125" y="543"/>
                    </a:lnTo>
                    <a:lnTo>
                      <a:pt x="129" y="543"/>
                    </a:lnTo>
                    <a:lnTo>
                      <a:pt x="129" y="543"/>
                    </a:lnTo>
                    <a:lnTo>
                      <a:pt x="132" y="543"/>
                    </a:lnTo>
                    <a:lnTo>
                      <a:pt x="137" y="542"/>
                    </a:lnTo>
                    <a:lnTo>
                      <a:pt x="147" y="537"/>
                    </a:lnTo>
                    <a:lnTo>
                      <a:pt x="159" y="529"/>
                    </a:lnTo>
                    <a:lnTo>
                      <a:pt x="170" y="521"/>
                    </a:lnTo>
                    <a:lnTo>
                      <a:pt x="181" y="511"/>
                    </a:lnTo>
                    <a:lnTo>
                      <a:pt x="190" y="502"/>
                    </a:lnTo>
                    <a:lnTo>
                      <a:pt x="196" y="492"/>
                    </a:lnTo>
                    <a:lnTo>
                      <a:pt x="198" y="488"/>
                    </a:lnTo>
                    <a:lnTo>
                      <a:pt x="198" y="484"/>
                    </a:lnTo>
                    <a:lnTo>
                      <a:pt x="198" y="484"/>
                    </a:lnTo>
                    <a:lnTo>
                      <a:pt x="198" y="459"/>
                    </a:lnTo>
                    <a:lnTo>
                      <a:pt x="198" y="459"/>
                    </a:lnTo>
                    <a:lnTo>
                      <a:pt x="199" y="448"/>
                    </a:lnTo>
                    <a:lnTo>
                      <a:pt x="202" y="434"/>
                    </a:lnTo>
                    <a:lnTo>
                      <a:pt x="206" y="420"/>
                    </a:lnTo>
                    <a:lnTo>
                      <a:pt x="209" y="404"/>
                    </a:lnTo>
                    <a:lnTo>
                      <a:pt x="209" y="404"/>
                    </a:lnTo>
                    <a:lnTo>
                      <a:pt x="215" y="404"/>
                    </a:lnTo>
                    <a:lnTo>
                      <a:pt x="221" y="403"/>
                    </a:lnTo>
                    <a:lnTo>
                      <a:pt x="225" y="403"/>
                    </a:lnTo>
                    <a:lnTo>
                      <a:pt x="231" y="404"/>
                    </a:lnTo>
                    <a:lnTo>
                      <a:pt x="231" y="404"/>
                    </a:lnTo>
                    <a:lnTo>
                      <a:pt x="231" y="379"/>
                    </a:lnTo>
                    <a:lnTo>
                      <a:pt x="231" y="379"/>
                    </a:lnTo>
                    <a:lnTo>
                      <a:pt x="232" y="372"/>
                    </a:lnTo>
                    <a:lnTo>
                      <a:pt x="235" y="366"/>
                    </a:lnTo>
                    <a:lnTo>
                      <a:pt x="239" y="359"/>
                    </a:lnTo>
                    <a:lnTo>
                      <a:pt x="244" y="353"/>
                    </a:lnTo>
                    <a:lnTo>
                      <a:pt x="258" y="339"/>
                    </a:lnTo>
                    <a:lnTo>
                      <a:pt x="271" y="327"/>
                    </a:lnTo>
                    <a:lnTo>
                      <a:pt x="286" y="313"/>
                    </a:lnTo>
                    <a:lnTo>
                      <a:pt x="299" y="299"/>
                    </a:lnTo>
                    <a:lnTo>
                      <a:pt x="305" y="292"/>
                    </a:lnTo>
                    <a:lnTo>
                      <a:pt x="308" y="285"/>
                    </a:lnTo>
                    <a:lnTo>
                      <a:pt x="312" y="278"/>
                    </a:lnTo>
                    <a:lnTo>
                      <a:pt x="312" y="272"/>
                    </a:lnTo>
                    <a:lnTo>
                      <a:pt x="312" y="272"/>
                    </a:lnTo>
                    <a:lnTo>
                      <a:pt x="312" y="267"/>
                    </a:lnTo>
                    <a:lnTo>
                      <a:pt x="309" y="262"/>
                    </a:lnTo>
                    <a:lnTo>
                      <a:pt x="305" y="253"/>
                    </a:lnTo>
                    <a:lnTo>
                      <a:pt x="300" y="243"/>
                    </a:lnTo>
                    <a:lnTo>
                      <a:pt x="298" y="238"/>
                    </a:lnTo>
                    <a:lnTo>
                      <a:pt x="298" y="231"/>
                    </a:lnTo>
                    <a:lnTo>
                      <a:pt x="298" y="231"/>
                    </a:lnTo>
                    <a:lnTo>
                      <a:pt x="298" y="220"/>
                    </a:lnTo>
                    <a:lnTo>
                      <a:pt x="299" y="211"/>
                    </a:lnTo>
                    <a:lnTo>
                      <a:pt x="303" y="202"/>
                    </a:lnTo>
                    <a:lnTo>
                      <a:pt x="306" y="197"/>
                    </a:lnTo>
                    <a:lnTo>
                      <a:pt x="312" y="192"/>
                    </a:lnTo>
                    <a:lnTo>
                      <a:pt x="317" y="190"/>
                    </a:lnTo>
                    <a:lnTo>
                      <a:pt x="326" y="188"/>
                    </a:lnTo>
                    <a:lnTo>
                      <a:pt x="334" y="188"/>
                    </a:lnTo>
                    <a:lnTo>
                      <a:pt x="334" y="188"/>
                    </a:lnTo>
                    <a:lnTo>
                      <a:pt x="331" y="181"/>
                    </a:lnTo>
                    <a:lnTo>
                      <a:pt x="331" y="171"/>
                    </a:lnTo>
                    <a:lnTo>
                      <a:pt x="330" y="154"/>
                    </a:lnTo>
                    <a:lnTo>
                      <a:pt x="330" y="154"/>
                    </a:lnTo>
                    <a:lnTo>
                      <a:pt x="331" y="146"/>
                    </a:lnTo>
                    <a:lnTo>
                      <a:pt x="332" y="139"/>
                    </a:lnTo>
                    <a:lnTo>
                      <a:pt x="336" y="127"/>
                    </a:lnTo>
                    <a:lnTo>
                      <a:pt x="339" y="114"/>
                    </a:lnTo>
                    <a:lnTo>
                      <a:pt x="341" y="107"/>
                    </a:lnTo>
                    <a:lnTo>
                      <a:pt x="342" y="99"/>
                    </a:lnTo>
                    <a:lnTo>
                      <a:pt x="342" y="99"/>
                    </a:lnTo>
                    <a:lnTo>
                      <a:pt x="341" y="87"/>
                    </a:lnTo>
                    <a:lnTo>
                      <a:pt x="337" y="77"/>
                    </a:lnTo>
                    <a:lnTo>
                      <a:pt x="334" y="70"/>
                    </a:lnTo>
                    <a:lnTo>
                      <a:pt x="329" y="63"/>
                    </a:lnTo>
                    <a:lnTo>
                      <a:pt x="324" y="56"/>
                    </a:lnTo>
                    <a:lnTo>
                      <a:pt x="320" y="49"/>
                    </a:lnTo>
                    <a:lnTo>
                      <a:pt x="316" y="39"/>
                    </a:lnTo>
                    <a:lnTo>
                      <a:pt x="315" y="25"/>
                    </a:lnTo>
                    <a:lnTo>
                      <a:pt x="315" y="25"/>
                    </a:lnTo>
                    <a:lnTo>
                      <a:pt x="316" y="9"/>
                    </a:lnTo>
                    <a:lnTo>
                      <a:pt x="317" y="3"/>
                    </a:lnTo>
                    <a:lnTo>
                      <a:pt x="319" y="0"/>
                    </a:lnTo>
                    <a:lnTo>
                      <a:pt x="319" y="0"/>
                    </a:lnTo>
                    <a:lnTo>
                      <a:pt x="315" y="0"/>
                    </a:lnTo>
                    <a:lnTo>
                      <a:pt x="315"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69" name="Freeform 54"/>
              <p:cNvSpPr>
                <a:spLocks noChangeAspect="1"/>
              </p:cNvSpPr>
              <p:nvPr/>
            </p:nvSpPr>
            <p:spPr bwMode="auto">
              <a:xfrm>
                <a:off x="1054954" y="3173464"/>
                <a:ext cx="374086" cy="258834"/>
              </a:xfrm>
              <a:custGeom>
                <a:avLst/>
                <a:gdLst/>
                <a:ahLst/>
                <a:cxnLst>
                  <a:cxn ang="0">
                    <a:pos x="469" y="354"/>
                  </a:cxn>
                  <a:cxn ang="0">
                    <a:pos x="471" y="306"/>
                  </a:cxn>
                  <a:cxn ang="0">
                    <a:pos x="465" y="295"/>
                  </a:cxn>
                  <a:cxn ang="0">
                    <a:pos x="436" y="286"/>
                  </a:cxn>
                  <a:cxn ang="0">
                    <a:pos x="431" y="279"/>
                  </a:cxn>
                  <a:cxn ang="0">
                    <a:pos x="441" y="247"/>
                  </a:cxn>
                  <a:cxn ang="0">
                    <a:pos x="446" y="220"/>
                  </a:cxn>
                  <a:cxn ang="0">
                    <a:pos x="419" y="199"/>
                  </a:cxn>
                  <a:cxn ang="0">
                    <a:pos x="404" y="169"/>
                  </a:cxn>
                  <a:cxn ang="0">
                    <a:pos x="391" y="113"/>
                  </a:cxn>
                  <a:cxn ang="0">
                    <a:pos x="379" y="100"/>
                  </a:cxn>
                  <a:cxn ang="0">
                    <a:pos x="368" y="95"/>
                  </a:cxn>
                  <a:cxn ang="0">
                    <a:pos x="357" y="99"/>
                  </a:cxn>
                  <a:cxn ang="0">
                    <a:pos x="341" y="93"/>
                  </a:cxn>
                  <a:cxn ang="0">
                    <a:pos x="332" y="64"/>
                  </a:cxn>
                  <a:cxn ang="0">
                    <a:pos x="319" y="35"/>
                  </a:cxn>
                  <a:cxn ang="0">
                    <a:pos x="298" y="29"/>
                  </a:cxn>
                  <a:cxn ang="0">
                    <a:pos x="280" y="39"/>
                  </a:cxn>
                  <a:cxn ang="0">
                    <a:pos x="266" y="40"/>
                  </a:cxn>
                  <a:cxn ang="0">
                    <a:pos x="243" y="26"/>
                  </a:cxn>
                  <a:cxn ang="0">
                    <a:pos x="227" y="19"/>
                  </a:cxn>
                  <a:cxn ang="0">
                    <a:pos x="177" y="20"/>
                  </a:cxn>
                  <a:cxn ang="0">
                    <a:pos x="165" y="13"/>
                  </a:cxn>
                  <a:cxn ang="0">
                    <a:pos x="153" y="1"/>
                  </a:cxn>
                  <a:cxn ang="0">
                    <a:pos x="141" y="3"/>
                  </a:cxn>
                  <a:cxn ang="0">
                    <a:pos x="122" y="20"/>
                  </a:cxn>
                  <a:cxn ang="0">
                    <a:pos x="111" y="19"/>
                  </a:cxn>
                  <a:cxn ang="0">
                    <a:pos x="86" y="17"/>
                  </a:cxn>
                  <a:cxn ang="0">
                    <a:pos x="68" y="38"/>
                  </a:cxn>
                  <a:cxn ang="0">
                    <a:pos x="67" y="65"/>
                  </a:cxn>
                  <a:cxn ang="0">
                    <a:pos x="81" y="94"/>
                  </a:cxn>
                  <a:cxn ang="0">
                    <a:pos x="77" y="112"/>
                  </a:cxn>
                  <a:cxn ang="0">
                    <a:pos x="40" y="154"/>
                  </a:cxn>
                  <a:cxn ang="0">
                    <a:pos x="4" y="193"/>
                  </a:cxn>
                  <a:cxn ang="0">
                    <a:pos x="0" y="227"/>
                  </a:cxn>
                  <a:cxn ang="0">
                    <a:pos x="13" y="234"/>
                  </a:cxn>
                  <a:cxn ang="0">
                    <a:pos x="29" y="262"/>
                  </a:cxn>
                  <a:cxn ang="0">
                    <a:pos x="70" y="272"/>
                  </a:cxn>
                  <a:cxn ang="0">
                    <a:pos x="124" y="277"/>
                  </a:cxn>
                  <a:cxn ang="0">
                    <a:pos x="160" y="290"/>
                  </a:cxn>
                  <a:cxn ang="0">
                    <a:pos x="179" y="309"/>
                  </a:cxn>
                  <a:cxn ang="0">
                    <a:pos x="195" y="311"/>
                  </a:cxn>
                  <a:cxn ang="0">
                    <a:pos x="241" y="293"/>
                  </a:cxn>
                  <a:cxn ang="0">
                    <a:pos x="279" y="276"/>
                  </a:cxn>
                  <a:cxn ang="0">
                    <a:pos x="297" y="278"/>
                  </a:cxn>
                  <a:cxn ang="0">
                    <a:pos x="313" y="293"/>
                  </a:cxn>
                  <a:cxn ang="0">
                    <a:pos x="326" y="325"/>
                  </a:cxn>
                  <a:cxn ang="0">
                    <a:pos x="335" y="330"/>
                  </a:cxn>
                  <a:cxn ang="0">
                    <a:pos x="355" y="321"/>
                  </a:cxn>
                  <a:cxn ang="0">
                    <a:pos x="364" y="329"/>
                  </a:cxn>
                  <a:cxn ang="0">
                    <a:pos x="379" y="344"/>
                  </a:cxn>
                  <a:cxn ang="0">
                    <a:pos x="387" y="342"/>
                  </a:cxn>
                  <a:cxn ang="0">
                    <a:pos x="401" y="333"/>
                  </a:cxn>
                  <a:cxn ang="0">
                    <a:pos x="428" y="348"/>
                  </a:cxn>
                  <a:cxn ang="0">
                    <a:pos x="464" y="363"/>
                  </a:cxn>
                </a:cxnLst>
                <a:rect l="0" t="0" r="r" b="b"/>
                <a:pathLst>
                  <a:path w="473" h="370">
                    <a:moveTo>
                      <a:pt x="467" y="370"/>
                    </a:moveTo>
                    <a:lnTo>
                      <a:pt x="467" y="370"/>
                    </a:lnTo>
                    <a:lnTo>
                      <a:pt x="467" y="363"/>
                    </a:lnTo>
                    <a:lnTo>
                      <a:pt x="469" y="354"/>
                    </a:lnTo>
                    <a:lnTo>
                      <a:pt x="472" y="336"/>
                    </a:lnTo>
                    <a:lnTo>
                      <a:pt x="473" y="325"/>
                    </a:lnTo>
                    <a:lnTo>
                      <a:pt x="473" y="315"/>
                    </a:lnTo>
                    <a:lnTo>
                      <a:pt x="471" y="306"/>
                    </a:lnTo>
                    <a:lnTo>
                      <a:pt x="470" y="301"/>
                    </a:lnTo>
                    <a:lnTo>
                      <a:pt x="467" y="298"/>
                    </a:lnTo>
                    <a:lnTo>
                      <a:pt x="467" y="298"/>
                    </a:lnTo>
                    <a:lnTo>
                      <a:pt x="465" y="295"/>
                    </a:lnTo>
                    <a:lnTo>
                      <a:pt x="462" y="294"/>
                    </a:lnTo>
                    <a:lnTo>
                      <a:pt x="449" y="291"/>
                    </a:lnTo>
                    <a:lnTo>
                      <a:pt x="442" y="288"/>
                    </a:lnTo>
                    <a:lnTo>
                      <a:pt x="436" y="286"/>
                    </a:lnTo>
                    <a:lnTo>
                      <a:pt x="432" y="283"/>
                    </a:lnTo>
                    <a:lnTo>
                      <a:pt x="431" y="280"/>
                    </a:lnTo>
                    <a:lnTo>
                      <a:pt x="431" y="279"/>
                    </a:lnTo>
                    <a:lnTo>
                      <a:pt x="431" y="279"/>
                    </a:lnTo>
                    <a:lnTo>
                      <a:pt x="431" y="272"/>
                    </a:lnTo>
                    <a:lnTo>
                      <a:pt x="433" y="267"/>
                    </a:lnTo>
                    <a:lnTo>
                      <a:pt x="437" y="254"/>
                    </a:lnTo>
                    <a:lnTo>
                      <a:pt x="441" y="247"/>
                    </a:lnTo>
                    <a:lnTo>
                      <a:pt x="443" y="239"/>
                    </a:lnTo>
                    <a:lnTo>
                      <a:pt x="444" y="230"/>
                    </a:lnTo>
                    <a:lnTo>
                      <a:pt x="446" y="220"/>
                    </a:lnTo>
                    <a:lnTo>
                      <a:pt x="446" y="220"/>
                    </a:lnTo>
                    <a:lnTo>
                      <a:pt x="437" y="216"/>
                    </a:lnTo>
                    <a:lnTo>
                      <a:pt x="431" y="210"/>
                    </a:lnTo>
                    <a:lnTo>
                      <a:pt x="425" y="204"/>
                    </a:lnTo>
                    <a:lnTo>
                      <a:pt x="419" y="199"/>
                    </a:lnTo>
                    <a:lnTo>
                      <a:pt x="414" y="192"/>
                    </a:lnTo>
                    <a:lnTo>
                      <a:pt x="411" y="184"/>
                    </a:lnTo>
                    <a:lnTo>
                      <a:pt x="404" y="169"/>
                    </a:lnTo>
                    <a:lnTo>
                      <a:pt x="404" y="169"/>
                    </a:lnTo>
                    <a:lnTo>
                      <a:pt x="401" y="157"/>
                    </a:lnTo>
                    <a:lnTo>
                      <a:pt x="398" y="145"/>
                    </a:lnTo>
                    <a:lnTo>
                      <a:pt x="394" y="123"/>
                    </a:lnTo>
                    <a:lnTo>
                      <a:pt x="391" y="113"/>
                    </a:lnTo>
                    <a:lnTo>
                      <a:pt x="387" y="105"/>
                    </a:lnTo>
                    <a:lnTo>
                      <a:pt x="385" y="103"/>
                    </a:lnTo>
                    <a:lnTo>
                      <a:pt x="382" y="101"/>
                    </a:lnTo>
                    <a:lnTo>
                      <a:pt x="379" y="100"/>
                    </a:lnTo>
                    <a:lnTo>
                      <a:pt x="375" y="99"/>
                    </a:lnTo>
                    <a:lnTo>
                      <a:pt x="375" y="99"/>
                    </a:lnTo>
                    <a:lnTo>
                      <a:pt x="370" y="96"/>
                    </a:lnTo>
                    <a:lnTo>
                      <a:pt x="368" y="95"/>
                    </a:lnTo>
                    <a:lnTo>
                      <a:pt x="367" y="96"/>
                    </a:lnTo>
                    <a:lnTo>
                      <a:pt x="365" y="97"/>
                    </a:lnTo>
                    <a:lnTo>
                      <a:pt x="362" y="99"/>
                    </a:lnTo>
                    <a:lnTo>
                      <a:pt x="357" y="99"/>
                    </a:lnTo>
                    <a:lnTo>
                      <a:pt x="357" y="99"/>
                    </a:lnTo>
                    <a:lnTo>
                      <a:pt x="350" y="99"/>
                    </a:lnTo>
                    <a:lnTo>
                      <a:pt x="345" y="96"/>
                    </a:lnTo>
                    <a:lnTo>
                      <a:pt x="341" y="93"/>
                    </a:lnTo>
                    <a:lnTo>
                      <a:pt x="337" y="88"/>
                    </a:lnTo>
                    <a:lnTo>
                      <a:pt x="336" y="82"/>
                    </a:lnTo>
                    <a:lnTo>
                      <a:pt x="334" y="77"/>
                    </a:lnTo>
                    <a:lnTo>
                      <a:pt x="332" y="64"/>
                    </a:lnTo>
                    <a:lnTo>
                      <a:pt x="328" y="51"/>
                    </a:lnTo>
                    <a:lnTo>
                      <a:pt x="326" y="46"/>
                    </a:lnTo>
                    <a:lnTo>
                      <a:pt x="324" y="40"/>
                    </a:lnTo>
                    <a:lnTo>
                      <a:pt x="319" y="35"/>
                    </a:lnTo>
                    <a:lnTo>
                      <a:pt x="313" y="32"/>
                    </a:lnTo>
                    <a:lnTo>
                      <a:pt x="306" y="29"/>
                    </a:lnTo>
                    <a:lnTo>
                      <a:pt x="298" y="29"/>
                    </a:lnTo>
                    <a:lnTo>
                      <a:pt x="298" y="29"/>
                    </a:lnTo>
                    <a:lnTo>
                      <a:pt x="295" y="29"/>
                    </a:lnTo>
                    <a:lnTo>
                      <a:pt x="292" y="31"/>
                    </a:lnTo>
                    <a:lnTo>
                      <a:pt x="287" y="34"/>
                    </a:lnTo>
                    <a:lnTo>
                      <a:pt x="280" y="39"/>
                    </a:lnTo>
                    <a:lnTo>
                      <a:pt x="276" y="40"/>
                    </a:lnTo>
                    <a:lnTo>
                      <a:pt x="272" y="40"/>
                    </a:lnTo>
                    <a:lnTo>
                      <a:pt x="272" y="40"/>
                    </a:lnTo>
                    <a:lnTo>
                      <a:pt x="266" y="40"/>
                    </a:lnTo>
                    <a:lnTo>
                      <a:pt x="260" y="38"/>
                    </a:lnTo>
                    <a:lnTo>
                      <a:pt x="256" y="35"/>
                    </a:lnTo>
                    <a:lnTo>
                      <a:pt x="251" y="32"/>
                    </a:lnTo>
                    <a:lnTo>
                      <a:pt x="243" y="26"/>
                    </a:lnTo>
                    <a:lnTo>
                      <a:pt x="240" y="24"/>
                    </a:lnTo>
                    <a:lnTo>
                      <a:pt x="235" y="21"/>
                    </a:lnTo>
                    <a:lnTo>
                      <a:pt x="235" y="21"/>
                    </a:lnTo>
                    <a:lnTo>
                      <a:pt x="227" y="19"/>
                    </a:lnTo>
                    <a:lnTo>
                      <a:pt x="219" y="19"/>
                    </a:lnTo>
                    <a:lnTo>
                      <a:pt x="203" y="20"/>
                    </a:lnTo>
                    <a:lnTo>
                      <a:pt x="185" y="20"/>
                    </a:lnTo>
                    <a:lnTo>
                      <a:pt x="177" y="20"/>
                    </a:lnTo>
                    <a:lnTo>
                      <a:pt x="169" y="18"/>
                    </a:lnTo>
                    <a:lnTo>
                      <a:pt x="169" y="18"/>
                    </a:lnTo>
                    <a:lnTo>
                      <a:pt x="167" y="16"/>
                    </a:lnTo>
                    <a:lnTo>
                      <a:pt x="165" y="13"/>
                    </a:lnTo>
                    <a:lnTo>
                      <a:pt x="162" y="8"/>
                    </a:lnTo>
                    <a:lnTo>
                      <a:pt x="160" y="4"/>
                    </a:lnTo>
                    <a:lnTo>
                      <a:pt x="158" y="2"/>
                    </a:lnTo>
                    <a:lnTo>
                      <a:pt x="153" y="1"/>
                    </a:lnTo>
                    <a:lnTo>
                      <a:pt x="147" y="0"/>
                    </a:lnTo>
                    <a:lnTo>
                      <a:pt x="147" y="0"/>
                    </a:lnTo>
                    <a:lnTo>
                      <a:pt x="143" y="1"/>
                    </a:lnTo>
                    <a:lnTo>
                      <a:pt x="141" y="3"/>
                    </a:lnTo>
                    <a:lnTo>
                      <a:pt x="134" y="10"/>
                    </a:lnTo>
                    <a:lnTo>
                      <a:pt x="130" y="15"/>
                    </a:lnTo>
                    <a:lnTo>
                      <a:pt x="127" y="18"/>
                    </a:lnTo>
                    <a:lnTo>
                      <a:pt x="122" y="20"/>
                    </a:lnTo>
                    <a:lnTo>
                      <a:pt x="118" y="21"/>
                    </a:lnTo>
                    <a:lnTo>
                      <a:pt x="118" y="21"/>
                    </a:lnTo>
                    <a:lnTo>
                      <a:pt x="114" y="20"/>
                    </a:lnTo>
                    <a:lnTo>
                      <a:pt x="111" y="19"/>
                    </a:lnTo>
                    <a:lnTo>
                      <a:pt x="103" y="15"/>
                    </a:lnTo>
                    <a:lnTo>
                      <a:pt x="103" y="15"/>
                    </a:lnTo>
                    <a:lnTo>
                      <a:pt x="95" y="15"/>
                    </a:lnTo>
                    <a:lnTo>
                      <a:pt x="86" y="17"/>
                    </a:lnTo>
                    <a:lnTo>
                      <a:pt x="81" y="19"/>
                    </a:lnTo>
                    <a:lnTo>
                      <a:pt x="75" y="24"/>
                    </a:lnTo>
                    <a:lnTo>
                      <a:pt x="72" y="29"/>
                    </a:lnTo>
                    <a:lnTo>
                      <a:pt x="68" y="38"/>
                    </a:lnTo>
                    <a:lnTo>
                      <a:pt x="67" y="47"/>
                    </a:lnTo>
                    <a:lnTo>
                      <a:pt x="67" y="58"/>
                    </a:lnTo>
                    <a:lnTo>
                      <a:pt x="67" y="58"/>
                    </a:lnTo>
                    <a:lnTo>
                      <a:pt x="67" y="65"/>
                    </a:lnTo>
                    <a:lnTo>
                      <a:pt x="69" y="70"/>
                    </a:lnTo>
                    <a:lnTo>
                      <a:pt x="74" y="80"/>
                    </a:lnTo>
                    <a:lnTo>
                      <a:pt x="78" y="89"/>
                    </a:lnTo>
                    <a:lnTo>
                      <a:pt x="81" y="94"/>
                    </a:lnTo>
                    <a:lnTo>
                      <a:pt x="81" y="99"/>
                    </a:lnTo>
                    <a:lnTo>
                      <a:pt x="81" y="99"/>
                    </a:lnTo>
                    <a:lnTo>
                      <a:pt x="81" y="105"/>
                    </a:lnTo>
                    <a:lnTo>
                      <a:pt x="77" y="112"/>
                    </a:lnTo>
                    <a:lnTo>
                      <a:pt x="74" y="119"/>
                    </a:lnTo>
                    <a:lnTo>
                      <a:pt x="68" y="126"/>
                    </a:lnTo>
                    <a:lnTo>
                      <a:pt x="55" y="140"/>
                    </a:lnTo>
                    <a:lnTo>
                      <a:pt x="40" y="154"/>
                    </a:lnTo>
                    <a:lnTo>
                      <a:pt x="27" y="166"/>
                    </a:lnTo>
                    <a:lnTo>
                      <a:pt x="13" y="180"/>
                    </a:lnTo>
                    <a:lnTo>
                      <a:pt x="8" y="186"/>
                    </a:lnTo>
                    <a:lnTo>
                      <a:pt x="4" y="193"/>
                    </a:lnTo>
                    <a:lnTo>
                      <a:pt x="1" y="199"/>
                    </a:lnTo>
                    <a:lnTo>
                      <a:pt x="0" y="206"/>
                    </a:lnTo>
                    <a:lnTo>
                      <a:pt x="0" y="206"/>
                    </a:lnTo>
                    <a:lnTo>
                      <a:pt x="0" y="227"/>
                    </a:lnTo>
                    <a:lnTo>
                      <a:pt x="0" y="227"/>
                    </a:lnTo>
                    <a:lnTo>
                      <a:pt x="5" y="229"/>
                    </a:lnTo>
                    <a:lnTo>
                      <a:pt x="8" y="230"/>
                    </a:lnTo>
                    <a:lnTo>
                      <a:pt x="13" y="234"/>
                    </a:lnTo>
                    <a:lnTo>
                      <a:pt x="16" y="240"/>
                    </a:lnTo>
                    <a:lnTo>
                      <a:pt x="20" y="246"/>
                    </a:lnTo>
                    <a:lnTo>
                      <a:pt x="26" y="257"/>
                    </a:lnTo>
                    <a:lnTo>
                      <a:pt x="29" y="262"/>
                    </a:lnTo>
                    <a:lnTo>
                      <a:pt x="34" y="264"/>
                    </a:lnTo>
                    <a:lnTo>
                      <a:pt x="34" y="264"/>
                    </a:lnTo>
                    <a:lnTo>
                      <a:pt x="53" y="270"/>
                    </a:lnTo>
                    <a:lnTo>
                      <a:pt x="70" y="272"/>
                    </a:lnTo>
                    <a:lnTo>
                      <a:pt x="85" y="275"/>
                    </a:lnTo>
                    <a:lnTo>
                      <a:pt x="98" y="275"/>
                    </a:lnTo>
                    <a:lnTo>
                      <a:pt x="111" y="276"/>
                    </a:lnTo>
                    <a:lnTo>
                      <a:pt x="124" y="277"/>
                    </a:lnTo>
                    <a:lnTo>
                      <a:pt x="138" y="280"/>
                    </a:lnTo>
                    <a:lnTo>
                      <a:pt x="154" y="286"/>
                    </a:lnTo>
                    <a:lnTo>
                      <a:pt x="154" y="286"/>
                    </a:lnTo>
                    <a:lnTo>
                      <a:pt x="160" y="290"/>
                    </a:lnTo>
                    <a:lnTo>
                      <a:pt x="164" y="293"/>
                    </a:lnTo>
                    <a:lnTo>
                      <a:pt x="172" y="302"/>
                    </a:lnTo>
                    <a:lnTo>
                      <a:pt x="175" y="306"/>
                    </a:lnTo>
                    <a:lnTo>
                      <a:pt x="179" y="309"/>
                    </a:lnTo>
                    <a:lnTo>
                      <a:pt x="182" y="311"/>
                    </a:lnTo>
                    <a:lnTo>
                      <a:pt x="188" y="311"/>
                    </a:lnTo>
                    <a:lnTo>
                      <a:pt x="188" y="311"/>
                    </a:lnTo>
                    <a:lnTo>
                      <a:pt x="195" y="311"/>
                    </a:lnTo>
                    <a:lnTo>
                      <a:pt x="203" y="310"/>
                    </a:lnTo>
                    <a:lnTo>
                      <a:pt x="217" y="306"/>
                    </a:lnTo>
                    <a:lnTo>
                      <a:pt x="229" y="300"/>
                    </a:lnTo>
                    <a:lnTo>
                      <a:pt x="241" y="293"/>
                    </a:lnTo>
                    <a:lnTo>
                      <a:pt x="252" y="287"/>
                    </a:lnTo>
                    <a:lnTo>
                      <a:pt x="264" y="281"/>
                    </a:lnTo>
                    <a:lnTo>
                      <a:pt x="274" y="277"/>
                    </a:lnTo>
                    <a:lnTo>
                      <a:pt x="279" y="276"/>
                    </a:lnTo>
                    <a:lnTo>
                      <a:pt x="283" y="276"/>
                    </a:lnTo>
                    <a:lnTo>
                      <a:pt x="283" y="276"/>
                    </a:lnTo>
                    <a:lnTo>
                      <a:pt x="291" y="276"/>
                    </a:lnTo>
                    <a:lnTo>
                      <a:pt x="297" y="278"/>
                    </a:lnTo>
                    <a:lnTo>
                      <a:pt x="303" y="280"/>
                    </a:lnTo>
                    <a:lnTo>
                      <a:pt x="307" y="284"/>
                    </a:lnTo>
                    <a:lnTo>
                      <a:pt x="311" y="288"/>
                    </a:lnTo>
                    <a:lnTo>
                      <a:pt x="313" y="293"/>
                    </a:lnTo>
                    <a:lnTo>
                      <a:pt x="318" y="302"/>
                    </a:lnTo>
                    <a:lnTo>
                      <a:pt x="320" y="313"/>
                    </a:lnTo>
                    <a:lnTo>
                      <a:pt x="324" y="322"/>
                    </a:lnTo>
                    <a:lnTo>
                      <a:pt x="326" y="325"/>
                    </a:lnTo>
                    <a:lnTo>
                      <a:pt x="328" y="327"/>
                    </a:lnTo>
                    <a:lnTo>
                      <a:pt x="330" y="330"/>
                    </a:lnTo>
                    <a:lnTo>
                      <a:pt x="335" y="330"/>
                    </a:lnTo>
                    <a:lnTo>
                      <a:pt x="335" y="330"/>
                    </a:lnTo>
                    <a:lnTo>
                      <a:pt x="337" y="330"/>
                    </a:lnTo>
                    <a:lnTo>
                      <a:pt x="341" y="329"/>
                    </a:lnTo>
                    <a:lnTo>
                      <a:pt x="348" y="324"/>
                    </a:lnTo>
                    <a:lnTo>
                      <a:pt x="355" y="321"/>
                    </a:lnTo>
                    <a:lnTo>
                      <a:pt x="357" y="319"/>
                    </a:lnTo>
                    <a:lnTo>
                      <a:pt x="360" y="318"/>
                    </a:lnTo>
                    <a:lnTo>
                      <a:pt x="360" y="318"/>
                    </a:lnTo>
                    <a:lnTo>
                      <a:pt x="364" y="329"/>
                    </a:lnTo>
                    <a:lnTo>
                      <a:pt x="368" y="337"/>
                    </a:lnTo>
                    <a:lnTo>
                      <a:pt x="372" y="340"/>
                    </a:lnTo>
                    <a:lnTo>
                      <a:pt x="375" y="342"/>
                    </a:lnTo>
                    <a:lnTo>
                      <a:pt x="379" y="344"/>
                    </a:lnTo>
                    <a:lnTo>
                      <a:pt x="382" y="345"/>
                    </a:lnTo>
                    <a:lnTo>
                      <a:pt x="382" y="345"/>
                    </a:lnTo>
                    <a:lnTo>
                      <a:pt x="385" y="344"/>
                    </a:lnTo>
                    <a:lnTo>
                      <a:pt x="387" y="342"/>
                    </a:lnTo>
                    <a:lnTo>
                      <a:pt x="391" y="339"/>
                    </a:lnTo>
                    <a:lnTo>
                      <a:pt x="396" y="336"/>
                    </a:lnTo>
                    <a:lnTo>
                      <a:pt x="398" y="334"/>
                    </a:lnTo>
                    <a:lnTo>
                      <a:pt x="401" y="333"/>
                    </a:lnTo>
                    <a:lnTo>
                      <a:pt x="401" y="333"/>
                    </a:lnTo>
                    <a:lnTo>
                      <a:pt x="408" y="334"/>
                    </a:lnTo>
                    <a:lnTo>
                      <a:pt x="414" y="338"/>
                    </a:lnTo>
                    <a:lnTo>
                      <a:pt x="428" y="348"/>
                    </a:lnTo>
                    <a:lnTo>
                      <a:pt x="435" y="354"/>
                    </a:lnTo>
                    <a:lnTo>
                      <a:pt x="444" y="359"/>
                    </a:lnTo>
                    <a:lnTo>
                      <a:pt x="454" y="362"/>
                    </a:lnTo>
                    <a:lnTo>
                      <a:pt x="464" y="363"/>
                    </a:lnTo>
                    <a:lnTo>
                      <a:pt x="464" y="363"/>
                    </a:lnTo>
                    <a:lnTo>
                      <a:pt x="467" y="370"/>
                    </a:lnTo>
                    <a:lnTo>
                      <a:pt x="467" y="37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0" name="Freeform 55"/>
              <p:cNvSpPr>
                <a:spLocks noChangeAspect="1"/>
              </p:cNvSpPr>
              <p:nvPr/>
            </p:nvSpPr>
            <p:spPr bwMode="auto">
              <a:xfrm>
                <a:off x="5718342" y="4211583"/>
                <a:ext cx="822671" cy="1111873"/>
              </a:xfrm>
              <a:custGeom>
                <a:avLst/>
                <a:gdLst/>
                <a:ahLst/>
                <a:cxnLst>
                  <a:cxn ang="0">
                    <a:pos x="568" y="72"/>
                  </a:cxn>
                  <a:cxn ang="0">
                    <a:pos x="672" y="166"/>
                  </a:cxn>
                  <a:cxn ang="0">
                    <a:pos x="675" y="213"/>
                  </a:cxn>
                  <a:cxn ang="0">
                    <a:pos x="719" y="231"/>
                  </a:cxn>
                  <a:cxn ang="0">
                    <a:pos x="734" y="266"/>
                  </a:cxn>
                  <a:cxn ang="0">
                    <a:pos x="748" y="298"/>
                  </a:cxn>
                  <a:cxn ang="0">
                    <a:pos x="802" y="265"/>
                  </a:cxn>
                  <a:cxn ang="0">
                    <a:pos x="848" y="296"/>
                  </a:cxn>
                  <a:cxn ang="0">
                    <a:pos x="888" y="291"/>
                  </a:cxn>
                  <a:cxn ang="0">
                    <a:pos x="934" y="352"/>
                  </a:cxn>
                  <a:cxn ang="0">
                    <a:pos x="936" y="396"/>
                  </a:cxn>
                  <a:cxn ang="0">
                    <a:pos x="980" y="442"/>
                  </a:cxn>
                  <a:cxn ang="0">
                    <a:pos x="957" y="473"/>
                  </a:cxn>
                  <a:cxn ang="0">
                    <a:pos x="1007" y="526"/>
                  </a:cxn>
                  <a:cxn ang="0">
                    <a:pos x="996" y="597"/>
                  </a:cxn>
                  <a:cxn ang="0">
                    <a:pos x="926" y="720"/>
                  </a:cxn>
                  <a:cxn ang="0">
                    <a:pos x="939" y="763"/>
                  </a:cxn>
                  <a:cxn ang="0">
                    <a:pos x="1015" y="759"/>
                  </a:cxn>
                  <a:cxn ang="0">
                    <a:pos x="1017" y="846"/>
                  </a:cxn>
                  <a:cxn ang="0">
                    <a:pos x="999" y="1057"/>
                  </a:cxn>
                  <a:cxn ang="0">
                    <a:pos x="1039" y="1138"/>
                  </a:cxn>
                  <a:cxn ang="0">
                    <a:pos x="984" y="1213"/>
                  </a:cxn>
                  <a:cxn ang="0">
                    <a:pos x="878" y="1278"/>
                  </a:cxn>
                  <a:cxn ang="0">
                    <a:pos x="772" y="1252"/>
                  </a:cxn>
                  <a:cxn ang="0">
                    <a:pos x="703" y="1291"/>
                  </a:cxn>
                  <a:cxn ang="0">
                    <a:pos x="595" y="1277"/>
                  </a:cxn>
                  <a:cxn ang="0">
                    <a:pos x="538" y="1329"/>
                  </a:cxn>
                  <a:cxn ang="0">
                    <a:pos x="354" y="1529"/>
                  </a:cxn>
                  <a:cxn ang="0">
                    <a:pos x="190" y="1594"/>
                  </a:cxn>
                  <a:cxn ang="0">
                    <a:pos x="44" y="1575"/>
                  </a:cxn>
                  <a:cxn ang="0">
                    <a:pos x="2" y="1516"/>
                  </a:cxn>
                  <a:cxn ang="0">
                    <a:pos x="59" y="1439"/>
                  </a:cxn>
                  <a:cxn ang="0">
                    <a:pos x="11" y="1407"/>
                  </a:cxn>
                  <a:cxn ang="0">
                    <a:pos x="27" y="1350"/>
                  </a:cxn>
                  <a:cxn ang="0">
                    <a:pos x="15" y="1304"/>
                  </a:cxn>
                  <a:cxn ang="0">
                    <a:pos x="84" y="1278"/>
                  </a:cxn>
                  <a:cxn ang="0">
                    <a:pos x="129" y="1240"/>
                  </a:cxn>
                  <a:cxn ang="0">
                    <a:pos x="200" y="1230"/>
                  </a:cxn>
                  <a:cxn ang="0">
                    <a:pos x="220" y="1193"/>
                  </a:cxn>
                  <a:cxn ang="0">
                    <a:pos x="292" y="1093"/>
                  </a:cxn>
                  <a:cxn ang="0">
                    <a:pos x="366" y="1039"/>
                  </a:cxn>
                  <a:cxn ang="0">
                    <a:pos x="444" y="947"/>
                  </a:cxn>
                  <a:cxn ang="0">
                    <a:pos x="412" y="882"/>
                  </a:cxn>
                  <a:cxn ang="0">
                    <a:pos x="378" y="833"/>
                  </a:cxn>
                  <a:cxn ang="0">
                    <a:pos x="422" y="794"/>
                  </a:cxn>
                  <a:cxn ang="0">
                    <a:pos x="503" y="644"/>
                  </a:cxn>
                  <a:cxn ang="0">
                    <a:pos x="559" y="598"/>
                  </a:cxn>
                  <a:cxn ang="0">
                    <a:pos x="542" y="541"/>
                  </a:cxn>
                  <a:cxn ang="0">
                    <a:pos x="456" y="511"/>
                  </a:cxn>
                  <a:cxn ang="0">
                    <a:pos x="372" y="363"/>
                  </a:cxn>
                  <a:cxn ang="0">
                    <a:pos x="352" y="322"/>
                  </a:cxn>
                  <a:cxn ang="0">
                    <a:pos x="388" y="305"/>
                  </a:cxn>
                  <a:cxn ang="0">
                    <a:pos x="436" y="305"/>
                  </a:cxn>
                  <a:cxn ang="0">
                    <a:pos x="482" y="233"/>
                  </a:cxn>
                  <a:cxn ang="0">
                    <a:pos x="489" y="191"/>
                  </a:cxn>
                  <a:cxn ang="0">
                    <a:pos x="415" y="156"/>
                  </a:cxn>
                  <a:cxn ang="0">
                    <a:pos x="435" y="37"/>
                  </a:cxn>
                  <a:cxn ang="0">
                    <a:pos x="525" y="18"/>
                  </a:cxn>
                </a:cxnLst>
                <a:rect l="0" t="0" r="r" b="b"/>
                <a:pathLst>
                  <a:path w="1039" h="1597">
                    <a:moveTo>
                      <a:pt x="521" y="0"/>
                    </a:moveTo>
                    <a:lnTo>
                      <a:pt x="521" y="0"/>
                    </a:lnTo>
                    <a:lnTo>
                      <a:pt x="521" y="0"/>
                    </a:lnTo>
                    <a:lnTo>
                      <a:pt x="521" y="0"/>
                    </a:lnTo>
                    <a:lnTo>
                      <a:pt x="531" y="10"/>
                    </a:lnTo>
                    <a:lnTo>
                      <a:pt x="540" y="22"/>
                    </a:lnTo>
                    <a:lnTo>
                      <a:pt x="548" y="33"/>
                    </a:lnTo>
                    <a:lnTo>
                      <a:pt x="554" y="46"/>
                    </a:lnTo>
                    <a:lnTo>
                      <a:pt x="568" y="72"/>
                    </a:lnTo>
                    <a:lnTo>
                      <a:pt x="582" y="98"/>
                    </a:lnTo>
                    <a:lnTo>
                      <a:pt x="589" y="110"/>
                    </a:lnTo>
                    <a:lnTo>
                      <a:pt x="597" y="122"/>
                    </a:lnTo>
                    <a:lnTo>
                      <a:pt x="606" y="132"/>
                    </a:lnTo>
                    <a:lnTo>
                      <a:pt x="617" y="143"/>
                    </a:lnTo>
                    <a:lnTo>
                      <a:pt x="627" y="151"/>
                    </a:lnTo>
                    <a:lnTo>
                      <a:pt x="641" y="158"/>
                    </a:lnTo>
                    <a:lnTo>
                      <a:pt x="656" y="162"/>
                    </a:lnTo>
                    <a:lnTo>
                      <a:pt x="672" y="166"/>
                    </a:lnTo>
                    <a:lnTo>
                      <a:pt x="672" y="166"/>
                    </a:lnTo>
                    <a:lnTo>
                      <a:pt x="670" y="171"/>
                    </a:lnTo>
                    <a:lnTo>
                      <a:pt x="667" y="177"/>
                    </a:lnTo>
                    <a:lnTo>
                      <a:pt x="665" y="184"/>
                    </a:lnTo>
                    <a:lnTo>
                      <a:pt x="664" y="192"/>
                    </a:lnTo>
                    <a:lnTo>
                      <a:pt x="666" y="201"/>
                    </a:lnTo>
                    <a:lnTo>
                      <a:pt x="668" y="205"/>
                    </a:lnTo>
                    <a:lnTo>
                      <a:pt x="671" y="209"/>
                    </a:lnTo>
                    <a:lnTo>
                      <a:pt x="675" y="213"/>
                    </a:lnTo>
                    <a:lnTo>
                      <a:pt x="680" y="216"/>
                    </a:lnTo>
                    <a:lnTo>
                      <a:pt x="680" y="216"/>
                    </a:lnTo>
                    <a:lnTo>
                      <a:pt x="690" y="221"/>
                    </a:lnTo>
                    <a:lnTo>
                      <a:pt x="697" y="223"/>
                    </a:lnTo>
                    <a:lnTo>
                      <a:pt x="704" y="224"/>
                    </a:lnTo>
                    <a:lnTo>
                      <a:pt x="706" y="224"/>
                    </a:lnTo>
                    <a:lnTo>
                      <a:pt x="709" y="225"/>
                    </a:lnTo>
                    <a:lnTo>
                      <a:pt x="719" y="231"/>
                    </a:lnTo>
                    <a:lnTo>
                      <a:pt x="719" y="231"/>
                    </a:lnTo>
                    <a:lnTo>
                      <a:pt x="728" y="236"/>
                    </a:lnTo>
                    <a:lnTo>
                      <a:pt x="735" y="238"/>
                    </a:lnTo>
                    <a:lnTo>
                      <a:pt x="745" y="242"/>
                    </a:lnTo>
                    <a:lnTo>
                      <a:pt x="748" y="244"/>
                    </a:lnTo>
                    <a:lnTo>
                      <a:pt x="748" y="247"/>
                    </a:lnTo>
                    <a:lnTo>
                      <a:pt x="744" y="253"/>
                    </a:lnTo>
                    <a:lnTo>
                      <a:pt x="737" y="261"/>
                    </a:lnTo>
                    <a:lnTo>
                      <a:pt x="737" y="261"/>
                    </a:lnTo>
                    <a:lnTo>
                      <a:pt x="734" y="266"/>
                    </a:lnTo>
                    <a:lnTo>
                      <a:pt x="732" y="271"/>
                    </a:lnTo>
                    <a:lnTo>
                      <a:pt x="731" y="276"/>
                    </a:lnTo>
                    <a:lnTo>
                      <a:pt x="731" y="282"/>
                    </a:lnTo>
                    <a:lnTo>
                      <a:pt x="732" y="285"/>
                    </a:lnTo>
                    <a:lnTo>
                      <a:pt x="734" y="290"/>
                    </a:lnTo>
                    <a:lnTo>
                      <a:pt x="736" y="292"/>
                    </a:lnTo>
                    <a:lnTo>
                      <a:pt x="740" y="296"/>
                    </a:lnTo>
                    <a:lnTo>
                      <a:pt x="743" y="297"/>
                    </a:lnTo>
                    <a:lnTo>
                      <a:pt x="748" y="298"/>
                    </a:lnTo>
                    <a:lnTo>
                      <a:pt x="752" y="298"/>
                    </a:lnTo>
                    <a:lnTo>
                      <a:pt x="758" y="298"/>
                    </a:lnTo>
                    <a:lnTo>
                      <a:pt x="764" y="296"/>
                    </a:lnTo>
                    <a:lnTo>
                      <a:pt x="770" y="293"/>
                    </a:lnTo>
                    <a:lnTo>
                      <a:pt x="775" y="289"/>
                    </a:lnTo>
                    <a:lnTo>
                      <a:pt x="782" y="283"/>
                    </a:lnTo>
                    <a:lnTo>
                      <a:pt x="782" y="283"/>
                    </a:lnTo>
                    <a:lnTo>
                      <a:pt x="793" y="273"/>
                    </a:lnTo>
                    <a:lnTo>
                      <a:pt x="802" y="265"/>
                    </a:lnTo>
                    <a:lnTo>
                      <a:pt x="809" y="260"/>
                    </a:lnTo>
                    <a:lnTo>
                      <a:pt x="817" y="259"/>
                    </a:lnTo>
                    <a:lnTo>
                      <a:pt x="819" y="259"/>
                    </a:lnTo>
                    <a:lnTo>
                      <a:pt x="823" y="260"/>
                    </a:lnTo>
                    <a:lnTo>
                      <a:pt x="828" y="265"/>
                    </a:lnTo>
                    <a:lnTo>
                      <a:pt x="833" y="270"/>
                    </a:lnTo>
                    <a:lnTo>
                      <a:pt x="838" y="278"/>
                    </a:lnTo>
                    <a:lnTo>
                      <a:pt x="838" y="278"/>
                    </a:lnTo>
                    <a:lnTo>
                      <a:pt x="848" y="296"/>
                    </a:lnTo>
                    <a:lnTo>
                      <a:pt x="852" y="301"/>
                    </a:lnTo>
                    <a:lnTo>
                      <a:pt x="857" y="305"/>
                    </a:lnTo>
                    <a:lnTo>
                      <a:pt x="863" y="307"/>
                    </a:lnTo>
                    <a:lnTo>
                      <a:pt x="867" y="306"/>
                    </a:lnTo>
                    <a:lnTo>
                      <a:pt x="872" y="304"/>
                    </a:lnTo>
                    <a:lnTo>
                      <a:pt x="878" y="298"/>
                    </a:lnTo>
                    <a:lnTo>
                      <a:pt x="878" y="298"/>
                    </a:lnTo>
                    <a:lnTo>
                      <a:pt x="884" y="293"/>
                    </a:lnTo>
                    <a:lnTo>
                      <a:pt x="888" y="291"/>
                    </a:lnTo>
                    <a:lnTo>
                      <a:pt x="893" y="291"/>
                    </a:lnTo>
                    <a:lnTo>
                      <a:pt x="899" y="292"/>
                    </a:lnTo>
                    <a:lnTo>
                      <a:pt x="903" y="297"/>
                    </a:lnTo>
                    <a:lnTo>
                      <a:pt x="908" y="304"/>
                    </a:lnTo>
                    <a:lnTo>
                      <a:pt x="913" y="312"/>
                    </a:lnTo>
                    <a:lnTo>
                      <a:pt x="918" y="323"/>
                    </a:lnTo>
                    <a:lnTo>
                      <a:pt x="918" y="323"/>
                    </a:lnTo>
                    <a:lnTo>
                      <a:pt x="930" y="343"/>
                    </a:lnTo>
                    <a:lnTo>
                      <a:pt x="934" y="352"/>
                    </a:lnTo>
                    <a:lnTo>
                      <a:pt x="936" y="360"/>
                    </a:lnTo>
                    <a:lnTo>
                      <a:pt x="939" y="367"/>
                    </a:lnTo>
                    <a:lnTo>
                      <a:pt x="939" y="374"/>
                    </a:lnTo>
                    <a:lnTo>
                      <a:pt x="939" y="381"/>
                    </a:lnTo>
                    <a:lnTo>
                      <a:pt x="936" y="386"/>
                    </a:lnTo>
                    <a:lnTo>
                      <a:pt x="936" y="386"/>
                    </a:lnTo>
                    <a:lnTo>
                      <a:pt x="934" y="390"/>
                    </a:lnTo>
                    <a:lnTo>
                      <a:pt x="934" y="393"/>
                    </a:lnTo>
                    <a:lnTo>
                      <a:pt x="936" y="396"/>
                    </a:lnTo>
                    <a:lnTo>
                      <a:pt x="940" y="399"/>
                    </a:lnTo>
                    <a:lnTo>
                      <a:pt x="949" y="406"/>
                    </a:lnTo>
                    <a:lnTo>
                      <a:pt x="963" y="415"/>
                    </a:lnTo>
                    <a:lnTo>
                      <a:pt x="963" y="415"/>
                    </a:lnTo>
                    <a:lnTo>
                      <a:pt x="974" y="426"/>
                    </a:lnTo>
                    <a:lnTo>
                      <a:pt x="979" y="430"/>
                    </a:lnTo>
                    <a:lnTo>
                      <a:pt x="981" y="435"/>
                    </a:lnTo>
                    <a:lnTo>
                      <a:pt x="981" y="438"/>
                    </a:lnTo>
                    <a:lnTo>
                      <a:pt x="980" y="442"/>
                    </a:lnTo>
                    <a:lnTo>
                      <a:pt x="977" y="445"/>
                    </a:lnTo>
                    <a:lnTo>
                      <a:pt x="970" y="449"/>
                    </a:lnTo>
                    <a:lnTo>
                      <a:pt x="970" y="449"/>
                    </a:lnTo>
                    <a:lnTo>
                      <a:pt x="962" y="451"/>
                    </a:lnTo>
                    <a:lnTo>
                      <a:pt x="957" y="454"/>
                    </a:lnTo>
                    <a:lnTo>
                      <a:pt x="954" y="458"/>
                    </a:lnTo>
                    <a:lnTo>
                      <a:pt x="954" y="462"/>
                    </a:lnTo>
                    <a:lnTo>
                      <a:pt x="954" y="467"/>
                    </a:lnTo>
                    <a:lnTo>
                      <a:pt x="957" y="473"/>
                    </a:lnTo>
                    <a:lnTo>
                      <a:pt x="962" y="479"/>
                    </a:lnTo>
                    <a:lnTo>
                      <a:pt x="970" y="484"/>
                    </a:lnTo>
                    <a:lnTo>
                      <a:pt x="970" y="484"/>
                    </a:lnTo>
                    <a:lnTo>
                      <a:pt x="980" y="497"/>
                    </a:lnTo>
                    <a:lnTo>
                      <a:pt x="988" y="507"/>
                    </a:lnTo>
                    <a:lnTo>
                      <a:pt x="995" y="517"/>
                    </a:lnTo>
                    <a:lnTo>
                      <a:pt x="1000" y="521"/>
                    </a:lnTo>
                    <a:lnTo>
                      <a:pt x="1007" y="526"/>
                    </a:lnTo>
                    <a:lnTo>
                      <a:pt x="1007" y="526"/>
                    </a:lnTo>
                    <a:lnTo>
                      <a:pt x="1014" y="530"/>
                    </a:lnTo>
                    <a:lnTo>
                      <a:pt x="1019" y="536"/>
                    </a:lnTo>
                    <a:lnTo>
                      <a:pt x="1024" y="542"/>
                    </a:lnTo>
                    <a:lnTo>
                      <a:pt x="1029" y="548"/>
                    </a:lnTo>
                    <a:lnTo>
                      <a:pt x="1034" y="558"/>
                    </a:lnTo>
                    <a:lnTo>
                      <a:pt x="1035" y="563"/>
                    </a:lnTo>
                    <a:lnTo>
                      <a:pt x="1035" y="563"/>
                    </a:lnTo>
                    <a:lnTo>
                      <a:pt x="1016" y="579"/>
                    </a:lnTo>
                    <a:lnTo>
                      <a:pt x="996" y="597"/>
                    </a:lnTo>
                    <a:lnTo>
                      <a:pt x="978" y="618"/>
                    </a:lnTo>
                    <a:lnTo>
                      <a:pt x="969" y="629"/>
                    </a:lnTo>
                    <a:lnTo>
                      <a:pt x="961" y="641"/>
                    </a:lnTo>
                    <a:lnTo>
                      <a:pt x="954" y="652"/>
                    </a:lnTo>
                    <a:lnTo>
                      <a:pt x="947" y="665"/>
                    </a:lnTo>
                    <a:lnTo>
                      <a:pt x="940" y="679"/>
                    </a:lnTo>
                    <a:lnTo>
                      <a:pt x="935" y="691"/>
                    </a:lnTo>
                    <a:lnTo>
                      <a:pt x="931" y="705"/>
                    </a:lnTo>
                    <a:lnTo>
                      <a:pt x="926" y="720"/>
                    </a:lnTo>
                    <a:lnTo>
                      <a:pt x="924" y="734"/>
                    </a:lnTo>
                    <a:lnTo>
                      <a:pt x="922" y="749"/>
                    </a:lnTo>
                    <a:lnTo>
                      <a:pt x="922" y="749"/>
                    </a:lnTo>
                    <a:lnTo>
                      <a:pt x="923" y="754"/>
                    </a:lnTo>
                    <a:lnTo>
                      <a:pt x="925" y="757"/>
                    </a:lnTo>
                    <a:lnTo>
                      <a:pt x="927" y="759"/>
                    </a:lnTo>
                    <a:lnTo>
                      <a:pt x="931" y="762"/>
                    </a:lnTo>
                    <a:lnTo>
                      <a:pt x="934" y="763"/>
                    </a:lnTo>
                    <a:lnTo>
                      <a:pt x="939" y="763"/>
                    </a:lnTo>
                    <a:lnTo>
                      <a:pt x="947" y="763"/>
                    </a:lnTo>
                    <a:lnTo>
                      <a:pt x="957" y="762"/>
                    </a:lnTo>
                    <a:lnTo>
                      <a:pt x="968" y="758"/>
                    </a:lnTo>
                    <a:lnTo>
                      <a:pt x="978" y="756"/>
                    </a:lnTo>
                    <a:lnTo>
                      <a:pt x="989" y="755"/>
                    </a:lnTo>
                    <a:lnTo>
                      <a:pt x="999" y="754"/>
                    </a:lnTo>
                    <a:lnTo>
                      <a:pt x="1008" y="756"/>
                    </a:lnTo>
                    <a:lnTo>
                      <a:pt x="1011" y="757"/>
                    </a:lnTo>
                    <a:lnTo>
                      <a:pt x="1015" y="759"/>
                    </a:lnTo>
                    <a:lnTo>
                      <a:pt x="1018" y="763"/>
                    </a:lnTo>
                    <a:lnTo>
                      <a:pt x="1020" y="767"/>
                    </a:lnTo>
                    <a:lnTo>
                      <a:pt x="1023" y="773"/>
                    </a:lnTo>
                    <a:lnTo>
                      <a:pt x="1024" y="779"/>
                    </a:lnTo>
                    <a:lnTo>
                      <a:pt x="1025" y="787"/>
                    </a:lnTo>
                    <a:lnTo>
                      <a:pt x="1025" y="795"/>
                    </a:lnTo>
                    <a:lnTo>
                      <a:pt x="1023" y="817"/>
                    </a:lnTo>
                    <a:lnTo>
                      <a:pt x="1017" y="846"/>
                    </a:lnTo>
                    <a:lnTo>
                      <a:pt x="1017" y="846"/>
                    </a:lnTo>
                    <a:lnTo>
                      <a:pt x="1004" y="900"/>
                    </a:lnTo>
                    <a:lnTo>
                      <a:pt x="1001" y="920"/>
                    </a:lnTo>
                    <a:lnTo>
                      <a:pt x="999" y="940"/>
                    </a:lnTo>
                    <a:lnTo>
                      <a:pt x="996" y="960"/>
                    </a:lnTo>
                    <a:lnTo>
                      <a:pt x="995" y="980"/>
                    </a:lnTo>
                    <a:lnTo>
                      <a:pt x="995" y="1032"/>
                    </a:lnTo>
                    <a:lnTo>
                      <a:pt x="995" y="1032"/>
                    </a:lnTo>
                    <a:lnTo>
                      <a:pt x="996" y="1045"/>
                    </a:lnTo>
                    <a:lnTo>
                      <a:pt x="999" y="1057"/>
                    </a:lnTo>
                    <a:lnTo>
                      <a:pt x="1001" y="1069"/>
                    </a:lnTo>
                    <a:lnTo>
                      <a:pt x="1006" y="1078"/>
                    </a:lnTo>
                    <a:lnTo>
                      <a:pt x="1010" y="1087"/>
                    </a:lnTo>
                    <a:lnTo>
                      <a:pt x="1015" y="1096"/>
                    </a:lnTo>
                    <a:lnTo>
                      <a:pt x="1025" y="1111"/>
                    </a:lnTo>
                    <a:lnTo>
                      <a:pt x="1033" y="1123"/>
                    </a:lnTo>
                    <a:lnTo>
                      <a:pt x="1037" y="1129"/>
                    </a:lnTo>
                    <a:lnTo>
                      <a:pt x="1039" y="1133"/>
                    </a:lnTo>
                    <a:lnTo>
                      <a:pt x="1039" y="1138"/>
                    </a:lnTo>
                    <a:lnTo>
                      <a:pt x="1039" y="1141"/>
                    </a:lnTo>
                    <a:lnTo>
                      <a:pt x="1037" y="1146"/>
                    </a:lnTo>
                    <a:lnTo>
                      <a:pt x="1032" y="1149"/>
                    </a:lnTo>
                    <a:lnTo>
                      <a:pt x="1032" y="1149"/>
                    </a:lnTo>
                    <a:lnTo>
                      <a:pt x="1022" y="1157"/>
                    </a:lnTo>
                    <a:lnTo>
                      <a:pt x="1012" y="1167"/>
                    </a:lnTo>
                    <a:lnTo>
                      <a:pt x="1004" y="1177"/>
                    </a:lnTo>
                    <a:lnTo>
                      <a:pt x="996" y="1189"/>
                    </a:lnTo>
                    <a:lnTo>
                      <a:pt x="984" y="1213"/>
                    </a:lnTo>
                    <a:lnTo>
                      <a:pt x="970" y="1236"/>
                    </a:lnTo>
                    <a:lnTo>
                      <a:pt x="963" y="1246"/>
                    </a:lnTo>
                    <a:lnTo>
                      <a:pt x="955" y="1255"/>
                    </a:lnTo>
                    <a:lnTo>
                      <a:pt x="946" y="1264"/>
                    </a:lnTo>
                    <a:lnTo>
                      <a:pt x="935" y="1271"/>
                    </a:lnTo>
                    <a:lnTo>
                      <a:pt x="924" y="1276"/>
                    </a:lnTo>
                    <a:lnTo>
                      <a:pt x="910" y="1279"/>
                    </a:lnTo>
                    <a:lnTo>
                      <a:pt x="895" y="1279"/>
                    </a:lnTo>
                    <a:lnTo>
                      <a:pt x="878" y="1278"/>
                    </a:lnTo>
                    <a:lnTo>
                      <a:pt x="878" y="1278"/>
                    </a:lnTo>
                    <a:lnTo>
                      <a:pt x="859" y="1275"/>
                    </a:lnTo>
                    <a:lnTo>
                      <a:pt x="844" y="1270"/>
                    </a:lnTo>
                    <a:lnTo>
                      <a:pt x="820" y="1262"/>
                    </a:lnTo>
                    <a:lnTo>
                      <a:pt x="809" y="1258"/>
                    </a:lnTo>
                    <a:lnTo>
                      <a:pt x="797" y="1255"/>
                    </a:lnTo>
                    <a:lnTo>
                      <a:pt x="786" y="1253"/>
                    </a:lnTo>
                    <a:lnTo>
                      <a:pt x="772" y="1252"/>
                    </a:lnTo>
                    <a:lnTo>
                      <a:pt x="772" y="1252"/>
                    </a:lnTo>
                    <a:lnTo>
                      <a:pt x="767" y="1252"/>
                    </a:lnTo>
                    <a:lnTo>
                      <a:pt x="763" y="1253"/>
                    </a:lnTo>
                    <a:lnTo>
                      <a:pt x="754" y="1258"/>
                    </a:lnTo>
                    <a:lnTo>
                      <a:pt x="745" y="1263"/>
                    </a:lnTo>
                    <a:lnTo>
                      <a:pt x="736" y="1271"/>
                    </a:lnTo>
                    <a:lnTo>
                      <a:pt x="727" y="1278"/>
                    </a:lnTo>
                    <a:lnTo>
                      <a:pt x="717" y="1285"/>
                    </a:lnTo>
                    <a:lnTo>
                      <a:pt x="708" y="1290"/>
                    </a:lnTo>
                    <a:lnTo>
                      <a:pt x="703" y="1291"/>
                    </a:lnTo>
                    <a:lnTo>
                      <a:pt x="698" y="1292"/>
                    </a:lnTo>
                    <a:lnTo>
                      <a:pt x="698" y="1292"/>
                    </a:lnTo>
                    <a:lnTo>
                      <a:pt x="689" y="1294"/>
                    </a:lnTo>
                    <a:lnTo>
                      <a:pt x="679" y="1294"/>
                    </a:lnTo>
                    <a:lnTo>
                      <a:pt x="668" y="1293"/>
                    </a:lnTo>
                    <a:lnTo>
                      <a:pt x="658" y="1292"/>
                    </a:lnTo>
                    <a:lnTo>
                      <a:pt x="636" y="1286"/>
                    </a:lnTo>
                    <a:lnTo>
                      <a:pt x="615" y="1282"/>
                    </a:lnTo>
                    <a:lnTo>
                      <a:pt x="595" y="1277"/>
                    </a:lnTo>
                    <a:lnTo>
                      <a:pt x="587" y="1277"/>
                    </a:lnTo>
                    <a:lnTo>
                      <a:pt x="577" y="1277"/>
                    </a:lnTo>
                    <a:lnTo>
                      <a:pt x="571" y="1278"/>
                    </a:lnTo>
                    <a:lnTo>
                      <a:pt x="564" y="1282"/>
                    </a:lnTo>
                    <a:lnTo>
                      <a:pt x="558" y="1286"/>
                    </a:lnTo>
                    <a:lnTo>
                      <a:pt x="554" y="1292"/>
                    </a:lnTo>
                    <a:lnTo>
                      <a:pt x="554" y="1292"/>
                    </a:lnTo>
                    <a:lnTo>
                      <a:pt x="548" y="1309"/>
                    </a:lnTo>
                    <a:lnTo>
                      <a:pt x="538" y="1329"/>
                    </a:lnTo>
                    <a:lnTo>
                      <a:pt x="526" y="1350"/>
                    </a:lnTo>
                    <a:lnTo>
                      <a:pt x="511" y="1373"/>
                    </a:lnTo>
                    <a:lnTo>
                      <a:pt x="493" y="1398"/>
                    </a:lnTo>
                    <a:lnTo>
                      <a:pt x="474" y="1422"/>
                    </a:lnTo>
                    <a:lnTo>
                      <a:pt x="451" y="1447"/>
                    </a:lnTo>
                    <a:lnTo>
                      <a:pt x="427" y="1473"/>
                    </a:lnTo>
                    <a:lnTo>
                      <a:pt x="399" y="1496"/>
                    </a:lnTo>
                    <a:lnTo>
                      <a:pt x="369" y="1519"/>
                    </a:lnTo>
                    <a:lnTo>
                      <a:pt x="354" y="1529"/>
                    </a:lnTo>
                    <a:lnTo>
                      <a:pt x="338" y="1540"/>
                    </a:lnTo>
                    <a:lnTo>
                      <a:pt x="321" y="1549"/>
                    </a:lnTo>
                    <a:lnTo>
                      <a:pt x="304" y="1558"/>
                    </a:lnTo>
                    <a:lnTo>
                      <a:pt x="286" y="1566"/>
                    </a:lnTo>
                    <a:lnTo>
                      <a:pt x="268" y="1573"/>
                    </a:lnTo>
                    <a:lnTo>
                      <a:pt x="250" y="1580"/>
                    </a:lnTo>
                    <a:lnTo>
                      <a:pt x="230" y="1586"/>
                    </a:lnTo>
                    <a:lnTo>
                      <a:pt x="209" y="1590"/>
                    </a:lnTo>
                    <a:lnTo>
                      <a:pt x="190" y="1594"/>
                    </a:lnTo>
                    <a:lnTo>
                      <a:pt x="168" y="1596"/>
                    </a:lnTo>
                    <a:lnTo>
                      <a:pt x="147" y="1597"/>
                    </a:lnTo>
                    <a:lnTo>
                      <a:pt x="147" y="1597"/>
                    </a:lnTo>
                    <a:lnTo>
                      <a:pt x="124" y="1597"/>
                    </a:lnTo>
                    <a:lnTo>
                      <a:pt x="103" y="1595"/>
                    </a:lnTo>
                    <a:lnTo>
                      <a:pt x="86" y="1591"/>
                    </a:lnTo>
                    <a:lnTo>
                      <a:pt x="70" y="1588"/>
                    </a:lnTo>
                    <a:lnTo>
                      <a:pt x="56" y="1582"/>
                    </a:lnTo>
                    <a:lnTo>
                      <a:pt x="44" y="1575"/>
                    </a:lnTo>
                    <a:lnTo>
                      <a:pt x="33" y="1569"/>
                    </a:lnTo>
                    <a:lnTo>
                      <a:pt x="25" y="1561"/>
                    </a:lnTo>
                    <a:lnTo>
                      <a:pt x="18" y="1554"/>
                    </a:lnTo>
                    <a:lnTo>
                      <a:pt x="12" y="1548"/>
                    </a:lnTo>
                    <a:lnTo>
                      <a:pt x="4" y="1536"/>
                    </a:lnTo>
                    <a:lnTo>
                      <a:pt x="1" y="1527"/>
                    </a:lnTo>
                    <a:lnTo>
                      <a:pt x="0" y="1523"/>
                    </a:lnTo>
                    <a:lnTo>
                      <a:pt x="0" y="1523"/>
                    </a:lnTo>
                    <a:lnTo>
                      <a:pt x="2" y="1516"/>
                    </a:lnTo>
                    <a:lnTo>
                      <a:pt x="4" y="1510"/>
                    </a:lnTo>
                    <a:lnTo>
                      <a:pt x="8" y="1503"/>
                    </a:lnTo>
                    <a:lnTo>
                      <a:pt x="12" y="1497"/>
                    </a:lnTo>
                    <a:lnTo>
                      <a:pt x="22" y="1485"/>
                    </a:lnTo>
                    <a:lnTo>
                      <a:pt x="32" y="1474"/>
                    </a:lnTo>
                    <a:lnTo>
                      <a:pt x="42" y="1464"/>
                    </a:lnTo>
                    <a:lnTo>
                      <a:pt x="52" y="1452"/>
                    </a:lnTo>
                    <a:lnTo>
                      <a:pt x="56" y="1445"/>
                    </a:lnTo>
                    <a:lnTo>
                      <a:pt x="59" y="1439"/>
                    </a:lnTo>
                    <a:lnTo>
                      <a:pt x="61" y="1432"/>
                    </a:lnTo>
                    <a:lnTo>
                      <a:pt x="62" y="1424"/>
                    </a:lnTo>
                    <a:lnTo>
                      <a:pt x="62" y="1424"/>
                    </a:lnTo>
                    <a:lnTo>
                      <a:pt x="49" y="1422"/>
                    </a:lnTo>
                    <a:lnTo>
                      <a:pt x="40" y="1421"/>
                    </a:lnTo>
                    <a:lnTo>
                      <a:pt x="31" y="1419"/>
                    </a:lnTo>
                    <a:lnTo>
                      <a:pt x="22" y="1415"/>
                    </a:lnTo>
                    <a:lnTo>
                      <a:pt x="14" y="1411"/>
                    </a:lnTo>
                    <a:lnTo>
                      <a:pt x="11" y="1407"/>
                    </a:lnTo>
                    <a:lnTo>
                      <a:pt x="9" y="1404"/>
                    </a:lnTo>
                    <a:lnTo>
                      <a:pt x="8" y="1400"/>
                    </a:lnTo>
                    <a:lnTo>
                      <a:pt x="7" y="1396"/>
                    </a:lnTo>
                    <a:lnTo>
                      <a:pt x="7" y="1396"/>
                    </a:lnTo>
                    <a:lnTo>
                      <a:pt x="8" y="1386"/>
                    </a:lnTo>
                    <a:lnTo>
                      <a:pt x="10" y="1378"/>
                    </a:lnTo>
                    <a:lnTo>
                      <a:pt x="14" y="1370"/>
                    </a:lnTo>
                    <a:lnTo>
                      <a:pt x="17" y="1363"/>
                    </a:lnTo>
                    <a:lnTo>
                      <a:pt x="27" y="1350"/>
                    </a:lnTo>
                    <a:lnTo>
                      <a:pt x="37" y="1337"/>
                    </a:lnTo>
                    <a:lnTo>
                      <a:pt x="37" y="1337"/>
                    </a:lnTo>
                    <a:lnTo>
                      <a:pt x="30" y="1331"/>
                    </a:lnTo>
                    <a:lnTo>
                      <a:pt x="23" y="1324"/>
                    </a:lnTo>
                    <a:lnTo>
                      <a:pt x="19" y="1320"/>
                    </a:lnTo>
                    <a:lnTo>
                      <a:pt x="17" y="1315"/>
                    </a:lnTo>
                    <a:lnTo>
                      <a:pt x="15" y="1311"/>
                    </a:lnTo>
                    <a:lnTo>
                      <a:pt x="15" y="1304"/>
                    </a:lnTo>
                    <a:lnTo>
                      <a:pt x="15" y="1304"/>
                    </a:lnTo>
                    <a:lnTo>
                      <a:pt x="15" y="1300"/>
                    </a:lnTo>
                    <a:lnTo>
                      <a:pt x="16" y="1297"/>
                    </a:lnTo>
                    <a:lnTo>
                      <a:pt x="18" y="1293"/>
                    </a:lnTo>
                    <a:lnTo>
                      <a:pt x="22" y="1290"/>
                    </a:lnTo>
                    <a:lnTo>
                      <a:pt x="29" y="1285"/>
                    </a:lnTo>
                    <a:lnTo>
                      <a:pt x="38" y="1283"/>
                    </a:lnTo>
                    <a:lnTo>
                      <a:pt x="49" y="1281"/>
                    </a:lnTo>
                    <a:lnTo>
                      <a:pt x="61" y="1278"/>
                    </a:lnTo>
                    <a:lnTo>
                      <a:pt x="84" y="1278"/>
                    </a:lnTo>
                    <a:lnTo>
                      <a:pt x="84" y="1278"/>
                    </a:lnTo>
                    <a:lnTo>
                      <a:pt x="90" y="1277"/>
                    </a:lnTo>
                    <a:lnTo>
                      <a:pt x="95" y="1276"/>
                    </a:lnTo>
                    <a:lnTo>
                      <a:pt x="100" y="1274"/>
                    </a:lnTo>
                    <a:lnTo>
                      <a:pt x="103" y="1271"/>
                    </a:lnTo>
                    <a:lnTo>
                      <a:pt x="110" y="1263"/>
                    </a:lnTo>
                    <a:lnTo>
                      <a:pt x="116" y="1255"/>
                    </a:lnTo>
                    <a:lnTo>
                      <a:pt x="122" y="1247"/>
                    </a:lnTo>
                    <a:lnTo>
                      <a:pt x="129" y="1240"/>
                    </a:lnTo>
                    <a:lnTo>
                      <a:pt x="133" y="1238"/>
                    </a:lnTo>
                    <a:lnTo>
                      <a:pt x="138" y="1236"/>
                    </a:lnTo>
                    <a:lnTo>
                      <a:pt x="144" y="1235"/>
                    </a:lnTo>
                    <a:lnTo>
                      <a:pt x="151" y="1233"/>
                    </a:lnTo>
                    <a:lnTo>
                      <a:pt x="151" y="1233"/>
                    </a:lnTo>
                    <a:lnTo>
                      <a:pt x="168" y="1235"/>
                    </a:lnTo>
                    <a:lnTo>
                      <a:pt x="184" y="1233"/>
                    </a:lnTo>
                    <a:lnTo>
                      <a:pt x="192" y="1232"/>
                    </a:lnTo>
                    <a:lnTo>
                      <a:pt x="200" y="1230"/>
                    </a:lnTo>
                    <a:lnTo>
                      <a:pt x="207" y="1228"/>
                    </a:lnTo>
                    <a:lnTo>
                      <a:pt x="213" y="1223"/>
                    </a:lnTo>
                    <a:lnTo>
                      <a:pt x="213" y="1223"/>
                    </a:lnTo>
                    <a:lnTo>
                      <a:pt x="216" y="1218"/>
                    </a:lnTo>
                    <a:lnTo>
                      <a:pt x="217" y="1214"/>
                    </a:lnTo>
                    <a:lnTo>
                      <a:pt x="218" y="1208"/>
                    </a:lnTo>
                    <a:lnTo>
                      <a:pt x="218" y="1203"/>
                    </a:lnTo>
                    <a:lnTo>
                      <a:pt x="218" y="1198"/>
                    </a:lnTo>
                    <a:lnTo>
                      <a:pt x="220" y="1193"/>
                    </a:lnTo>
                    <a:lnTo>
                      <a:pt x="221" y="1187"/>
                    </a:lnTo>
                    <a:lnTo>
                      <a:pt x="224" y="1182"/>
                    </a:lnTo>
                    <a:lnTo>
                      <a:pt x="224" y="1182"/>
                    </a:lnTo>
                    <a:lnTo>
                      <a:pt x="248" y="1159"/>
                    </a:lnTo>
                    <a:lnTo>
                      <a:pt x="260" y="1147"/>
                    </a:lnTo>
                    <a:lnTo>
                      <a:pt x="269" y="1137"/>
                    </a:lnTo>
                    <a:lnTo>
                      <a:pt x="277" y="1124"/>
                    </a:lnTo>
                    <a:lnTo>
                      <a:pt x="285" y="1110"/>
                    </a:lnTo>
                    <a:lnTo>
                      <a:pt x="292" y="1093"/>
                    </a:lnTo>
                    <a:lnTo>
                      <a:pt x="298" y="1072"/>
                    </a:lnTo>
                    <a:lnTo>
                      <a:pt x="298" y="1072"/>
                    </a:lnTo>
                    <a:lnTo>
                      <a:pt x="305" y="1071"/>
                    </a:lnTo>
                    <a:lnTo>
                      <a:pt x="313" y="1070"/>
                    </a:lnTo>
                    <a:lnTo>
                      <a:pt x="320" y="1068"/>
                    </a:lnTo>
                    <a:lnTo>
                      <a:pt x="327" y="1065"/>
                    </a:lnTo>
                    <a:lnTo>
                      <a:pt x="340" y="1059"/>
                    </a:lnTo>
                    <a:lnTo>
                      <a:pt x="353" y="1049"/>
                    </a:lnTo>
                    <a:lnTo>
                      <a:pt x="366" y="1039"/>
                    </a:lnTo>
                    <a:lnTo>
                      <a:pt x="377" y="1027"/>
                    </a:lnTo>
                    <a:lnTo>
                      <a:pt x="396" y="1007"/>
                    </a:lnTo>
                    <a:lnTo>
                      <a:pt x="396" y="1007"/>
                    </a:lnTo>
                    <a:lnTo>
                      <a:pt x="414" y="992"/>
                    </a:lnTo>
                    <a:lnTo>
                      <a:pt x="423" y="985"/>
                    </a:lnTo>
                    <a:lnTo>
                      <a:pt x="430" y="977"/>
                    </a:lnTo>
                    <a:lnTo>
                      <a:pt x="436" y="969"/>
                    </a:lnTo>
                    <a:lnTo>
                      <a:pt x="441" y="958"/>
                    </a:lnTo>
                    <a:lnTo>
                      <a:pt x="444" y="947"/>
                    </a:lnTo>
                    <a:lnTo>
                      <a:pt x="444" y="933"/>
                    </a:lnTo>
                    <a:lnTo>
                      <a:pt x="444" y="933"/>
                    </a:lnTo>
                    <a:lnTo>
                      <a:pt x="444" y="924"/>
                    </a:lnTo>
                    <a:lnTo>
                      <a:pt x="442" y="916"/>
                    </a:lnTo>
                    <a:lnTo>
                      <a:pt x="438" y="909"/>
                    </a:lnTo>
                    <a:lnTo>
                      <a:pt x="434" y="903"/>
                    </a:lnTo>
                    <a:lnTo>
                      <a:pt x="429" y="897"/>
                    </a:lnTo>
                    <a:lnTo>
                      <a:pt x="423" y="892"/>
                    </a:lnTo>
                    <a:lnTo>
                      <a:pt x="412" y="882"/>
                    </a:lnTo>
                    <a:lnTo>
                      <a:pt x="399" y="873"/>
                    </a:lnTo>
                    <a:lnTo>
                      <a:pt x="393" y="869"/>
                    </a:lnTo>
                    <a:lnTo>
                      <a:pt x="389" y="864"/>
                    </a:lnTo>
                    <a:lnTo>
                      <a:pt x="384" y="858"/>
                    </a:lnTo>
                    <a:lnTo>
                      <a:pt x="381" y="853"/>
                    </a:lnTo>
                    <a:lnTo>
                      <a:pt x="378" y="846"/>
                    </a:lnTo>
                    <a:lnTo>
                      <a:pt x="378" y="838"/>
                    </a:lnTo>
                    <a:lnTo>
                      <a:pt x="378" y="838"/>
                    </a:lnTo>
                    <a:lnTo>
                      <a:pt x="378" y="833"/>
                    </a:lnTo>
                    <a:lnTo>
                      <a:pt x="380" y="828"/>
                    </a:lnTo>
                    <a:lnTo>
                      <a:pt x="381" y="825"/>
                    </a:lnTo>
                    <a:lnTo>
                      <a:pt x="383" y="823"/>
                    </a:lnTo>
                    <a:lnTo>
                      <a:pt x="389" y="817"/>
                    </a:lnTo>
                    <a:lnTo>
                      <a:pt x="396" y="812"/>
                    </a:lnTo>
                    <a:lnTo>
                      <a:pt x="411" y="804"/>
                    </a:lnTo>
                    <a:lnTo>
                      <a:pt x="418" y="800"/>
                    </a:lnTo>
                    <a:lnTo>
                      <a:pt x="422" y="794"/>
                    </a:lnTo>
                    <a:lnTo>
                      <a:pt x="422" y="794"/>
                    </a:lnTo>
                    <a:lnTo>
                      <a:pt x="430" y="774"/>
                    </a:lnTo>
                    <a:lnTo>
                      <a:pt x="439" y="752"/>
                    </a:lnTo>
                    <a:lnTo>
                      <a:pt x="449" y="731"/>
                    </a:lnTo>
                    <a:lnTo>
                      <a:pt x="458" y="708"/>
                    </a:lnTo>
                    <a:lnTo>
                      <a:pt x="469" y="687"/>
                    </a:lnTo>
                    <a:lnTo>
                      <a:pt x="481" y="667"/>
                    </a:lnTo>
                    <a:lnTo>
                      <a:pt x="488" y="659"/>
                    </a:lnTo>
                    <a:lnTo>
                      <a:pt x="495" y="651"/>
                    </a:lnTo>
                    <a:lnTo>
                      <a:pt x="503" y="644"/>
                    </a:lnTo>
                    <a:lnTo>
                      <a:pt x="511" y="640"/>
                    </a:lnTo>
                    <a:lnTo>
                      <a:pt x="511" y="640"/>
                    </a:lnTo>
                    <a:lnTo>
                      <a:pt x="519" y="634"/>
                    </a:lnTo>
                    <a:lnTo>
                      <a:pt x="528" y="629"/>
                    </a:lnTo>
                    <a:lnTo>
                      <a:pt x="536" y="625"/>
                    </a:lnTo>
                    <a:lnTo>
                      <a:pt x="544" y="619"/>
                    </a:lnTo>
                    <a:lnTo>
                      <a:pt x="552" y="612"/>
                    </a:lnTo>
                    <a:lnTo>
                      <a:pt x="557" y="603"/>
                    </a:lnTo>
                    <a:lnTo>
                      <a:pt x="559" y="598"/>
                    </a:lnTo>
                    <a:lnTo>
                      <a:pt x="560" y="591"/>
                    </a:lnTo>
                    <a:lnTo>
                      <a:pt x="561" y="584"/>
                    </a:lnTo>
                    <a:lnTo>
                      <a:pt x="563" y="578"/>
                    </a:lnTo>
                    <a:lnTo>
                      <a:pt x="563" y="578"/>
                    </a:lnTo>
                    <a:lnTo>
                      <a:pt x="561" y="567"/>
                    </a:lnTo>
                    <a:lnTo>
                      <a:pt x="558" y="559"/>
                    </a:lnTo>
                    <a:lnTo>
                      <a:pt x="553" y="552"/>
                    </a:lnTo>
                    <a:lnTo>
                      <a:pt x="549" y="545"/>
                    </a:lnTo>
                    <a:lnTo>
                      <a:pt x="542" y="541"/>
                    </a:lnTo>
                    <a:lnTo>
                      <a:pt x="534" y="535"/>
                    </a:lnTo>
                    <a:lnTo>
                      <a:pt x="518" y="526"/>
                    </a:lnTo>
                    <a:lnTo>
                      <a:pt x="518" y="526"/>
                    </a:lnTo>
                    <a:lnTo>
                      <a:pt x="508" y="519"/>
                    </a:lnTo>
                    <a:lnTo>
                      <a:pt x="500" y="515"/>
                    </a:lnTo>
                    <a:lnTo>
                      <a:pt x="492" y="513"/>
                    </a:lnTo>
                    <a:lnTo>
                      <a:pt x="484" y="512"/>
                    </a:lnTo>
                    <a:lnTo>
                      <a:pt x="466" y="512"/>
                    </a:lnTo>
                    <a:lnTo>
                      <a:pt x="456" y="511"/>
                    </a:lnTo>
                    <a:lnTo>
                      <a:pt x="444" y="507"/>
                    </a:lnTo>
                    <a:lnTo>
                      <a:pt x="444" y="507"/>
                    </a:lnTo>
                    <a:lnTo>
                      <a:pt x="431" y="479"/>
                    </a:lnTo>
                    <a:lnTo>
                      <a:pt x="421" y="456"/>
                    </a:lnTo>
                    <a:lnTo>
                      <a:pt x="415" y="441"/>
                    </a:lnTo>
                    <a:lnTo>
                      <a:pt x="415" y="441"/>
                    </a:lnTo>
                    <a:lnTo>
                      <a:pt x="406" y="420"/>
                    </a:lnTo>
                    <a:lnTo>
                      <a:pt x="396" y="403"/>
                    </a:lnTo>
                    <a:lnTo>
                      <a:pt x="372" y="363"/>
                    </a:lnTo>
                    <a:lnTo>
                      <a:pt x="372" y="363"/>
                    </a:lnTo>
                    <a:lnTo>
                      <a:pt x="366" y="359"/>
                    </a:lnTo>
                    <a:lnTo>
                      <a:pt x="360" y="353"/>
                    </a:lnTo>
                    <a:lnTo>
                      <a:pt x="357" y="350"/>
                    </a:lnTo>
                    <a:lnTo>
                      <a:pt x="354" y="345"/>
                    </a:lnTo>
                    <a:lnTo>
                      <a:pt x="353" y="340"/>
                    </a:lnTo>
                    <a:lnTo>
                      <a:pt x="352" y="335"/>
                    </a:lnTo>
                    <a:lnTo>
                      <a:pt x="352" y="335"/>
                    </a:lnTo>
                    <a:lnTo>
                      <a:pt x="352" y="322"/>
                    </a:lnTo>
                    <a:lnTo>
                      <a:pt x="353" y="311"/>
                    </a:lnTo>
                    <a:lnTo>
                      <a:pt x="354" y="306"/>
                    </a:lnTo>
                    <a:lnTo>
                      <a:pt x="357" y="301"/>
                    </a:lnTo>
                    <a:lnTo>
                      <a:pt x="361" y="299"/>
                    </a:lnTo>
                    <a:lnTo>
                      <a:pt x="367" y="298"/>
                    </a:lnTo>
                    <a:lnTo>
                      <a:pt x="367" y="298"/>
                    </a:lnTo>
                    <a:lnTo>
                      <a:pt x="373" y="298"/>
                    </a:lnTo>
                    <a:lnTo>
                      <a:pt x="378" y="300"/>
                    </a:lnTo>
                    <a:lnTo>
                      <a:pt x="388" y="305"/>
                    </a:lnTo>
                    <a:lnTo>
                      <a:pt x="392" y="308"/>
                    </a:lnTo>
                    <a:lnTo>
                      <a:pt x="398" y="311"/>
                    </a:lnTo>
                    <a:lnTo>
                      <a:pt x="404" y="312"/>
                    </a:lnTo>
                    <a:lnTo>
                      <a:pt x="411" y="313"/>
                    </a:lnTo>
                    <a:lnTo>
                      <a:pt x="411" y="313"/>
                    </a:lnTo>
                    <a:lnTo>
                      <a:pt x="419" y="312"/>
                    </a:lnTo>
                    <a:lnTo>
                      <a:pt x="424" y="311"/>
                    </a:lnTo>
                    <a:lnTo>
                      <a:pt x="431" y="307"/>
                    </a:lnTo>
                    <a:lnTo>
                      <a:pt x="436" y="305"/>
                    </a:lnTo>
                    <a:lnTo>
                      <a:pt x="446" y="296"/>
                    </a:lnTo>
                    <a:lnTo>
                      <a:pt x="456" y="285"/>
                    </a:lnTo>
                    <a:lnTo>
                      <a:pt x="464" y="275"/>
                    </a:lnTo>
                    <a:lnTo>
                      <a:pt x="472" y="266"/>
                    </a:lnTo>
                    <a:lnTo>
                      <a:pt x="480" y="259"/>
                    </a:lnTo>
                    <a:lnTo>
                      <a:pt x="484" y="255"/>
                    </a:lnTo>
                    <a:lnTo>
                      <a:pt x="489" y="254"/>
                    </a:lnTo>
                    <a:lnTo>
                      <a:pt x="489" y="254"/>
                    </a:lnTo>
                    <a:lnTo>
                      <a:pt x="482" y="233"/>
                    </a:lnTo>
                    <a:lnTo>
                      <a:pt x="479" y="224"/>
                    </a:lnTo>
                    <a:lnTo>
                      <a:pt x="477" y="216"/>
                    </a:lnTo>
                    <a:lnTo>
                      <a:pt x="477" y="216"/>
                    </a:lnTo>
                    <a:lnTo>
                      <a:pt x="477" y="212"/>
                    </a:lnTo>
                    <a:lnTo>
                      <a:pt x="479" y="208"/>
                    </a:lnTo>
                    <a:lnTo>
                      <a:pt x="482" y="202"/>
                    </a:lnTo>
                    <a:lnTo>
                      <a:pt x="485" y="198"/>
                    </a:lnTo>
                    <a:lnTo>
                      <a:pt x="489" y="191"/>
                    </a:lnTo>
                    <a:lnTo>
                      <a:pt x="489" y="191"/>
                    </a:lnTo>
                    <a:lnTo>
                      <a:pt x="462" y="185"/>
                    </a:lnTo>
                    <a:lnTo>
                      <a:pt x="451" y="183"/>
                    </a:lnTo>
                    <a:lnTo>
                      <a:pt x="439" y="179"/>
                    </a:lnTo>
                    <a:lnTo>
                      <a:pt x="429" y="175"/>
                    </a:lnTo>
                    <a:lnTo>
                      <a:pt x="426" y="171"/>
                    </a:lnTo>
                    <a:lnTo>
                      <a:pt x="422" y="168"/>
                    </a:lnTo>
                    <a:lnTo>
                      <a:pt x="419" y="164"/>
                    </a:lnTo>
                    <a:lnTo>
                      <a:pt x="416" y="161"/>
                    </a:lnTo>
                    <a:lnTo>
                      <a:pt x="415" y="156"/>
                    </a:lnTo>
                    <a:lnTo>
                      <a:pt x="415" y="151"/>
                    </a:lnTo>
                    <a:lnTo>
                      <a:pt x="415" y="151"/>
                    </a:lnTo>
                    <a:lnTo>
                      <a:pt x="415" y="52"/>
                    </a:lnTo>
                    <a:lnTo>
                      <a:pt x="415" y="52"/>
                    </a:lnTo>
                    <a:lnTo>
                      <a:pt x="416" y="47"/>
                    </a:lnTo>
                    <a:lnTo>
                      <a:pt x="419" y="42"/>
                    </a:lnTo>
                    <a:lnTo>
                      <a:pt x="422" y="40"/>
                    </a:lnTo>
                    <a:lnTo>
                      <a:pt x="427" y="39"/>
                    </a:lnTo>
                    <a:lnTo>
                      <a:pt x="435" y="37"/>
                    </a:lnTo>
                    <a:lnTo>
                      <a:pt x="441" y="37"/>
                    </a:lnTo>
                    <a:lnTo>
                      <a:pt x="441" y="37"/>
                    </a:lnTo>
                    <a:lnTo>
                      <a:pt x="484" y="37"/>
                    </a:lnTo>
                    <a:lnTo>
                      <a:pt x="484" y="37"/>
                    </a:lnTo>
                    <a:lnTo>
                      <a:pt x="493" y="36"/>
                    </a:lnTo>
                    <a:lnTo>
                      <a:pt x="500" y="34"/>
                    </a:lnTo>
                    <a:lnTo>
                      <a:pt x="507" y="31"/>
                    </a:lnTo>
                    <a:lnTo>
                      <a:pt x="513" y="27"/>
                    </a:lnTo>
                    <a:lnTo>
                      <a:pt x="525" y="18"/>
                    </a:lnTo>
                    <a:lnTo>
                      <a:pt x="536" y="7"/>
                    </a:lnTo>
                    <a:lnTo>
                      <a:pt x="536" y="7"/>
                    </a:lnTo>
                    <a:lnTo>
                      <a:pt x="521" y="0"/>
                    </a:lnTo>
                    <a:lnTo>
                      <a:pt x="521"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1" name="Freeform 56"/>
              <p:cNvSpPr>
                <a:spLocks noChangeAspect="1"/>
              </p:cNvSpPr>
              <p:nvPr/>
            </p:nvSpPr>
            <p:spPr bwMode="auto">
              <a:xfrm>
                <a:off x="3125106" y="4379965"/>
                <a:ext cx="404202" cy="549674"/>
              </a:xfrm>
              <a:custGeom>
                <a:avLst/>
                <a:gdLst/>
                <a:ahLst/>
                <a:cxnLst>
                  <a:cxn ang="0">
                    <a:pos x="484" y="65"/>
                  </a:cxn>
                  <a:cxn ang="0">
                    <a:pos x="472" y="106"/>
                  </a:cxn>
                  <a:cxn ang="0">
                    <a:pos x="459" y="140"/>
                  </a:cxn>
                  <a:cxn ang="0">
                    <a:pos x="488" y="194"/>
                  </a:cxn>
                  <a:cxn ang="0">
                    <a:pos x="505" y="286"/>
                  </a:cxn>
                  <a:cxn ang="0">
                    <a:pos x="509" y="322"/>
                  </a:cxn>
                  <a:cxn ang="0">
                    <a:pos x="479" y="386"/>
                  </a:cxn>
                  <a:cxn ang="0">
                    <a:pos x="482" y="406"/>
                  </a:cxn>
                  <a:cxn ang="0">
                    <a:pos x="486" y="430"/>
                  </a:cxn>
                  <a:cxn ang="0">
                    <a:pos x="442" y="443"/>
                  </a:cxn>
                  <a:cxn ang="0">
                    <a:pos x="415" y="454"/>
                  </a:cxn>
                  <a:cxn ang="0">
                    <a:pos x="396" y="514"/>
                  </a:cxn>
                  <a:cxn ang="0">
                    <a:pos x="374" y="560"/>
                  </a:cxn>
                  <a:cxn ang="0">
                    <a:pos x="383" y="611"/>
                  </a:cxn>
                  <a:cxn ang="0">
                    <a:pos x="404" y="665"/>
                  </a:cxn>
                  <a:cxn ang="0">
                    <a:pos x="390" y="681"/>
                  </a:cxn>
                  <a:cxn ang="0">
                    <a:pos x="357" y="740"/>
                  </a:cxn>
                  <a:cxn ang="0">
                    <a:pos x="283" y="769"/>
                  </a:cxn>
                  <a:cxn ang="0">
                    <a:pos x="238" y="789"/>
                  </a:cxn>
                  <a:cxn ang="0">
                    <a:pos x="204" y="772"/>
                  </a:cxn>
                  <a:cxn ang="0">
                    <a:pos x="173" y="769"/>
                  </a:cxn>
                  <a:cxn ang="0">
                    <a:pos x="165" y="751"/>
                  </a:cxn>
                  <a:cxn ang="0">
                    <a:pos x="190" y="732"/>
                  </a:cxn>
                  <a:cxn ang="0">
                    <a:pos x="202" y="715"/>
                  </a:cxn>
                  <a:cxn ang="0">
                    <a:pos x="168" y="708"/>
                  </a:cxn>
                  <a:cxn ang="0">
                    <a:pos x="139" y="676"/>
                  </a:cxn>
                  <a:cxn ang="0">
                    <a:pos x="113" y="690"/>
                  </a:cxn>
                  <a:cxn ang="0">
                    <a:pos x="97" y="652"/>
                  </a:cxn>
                  <a:cxn ang="0">
                    <a:pos x="77" y="635"/>
                  </a:cxn>
                  <a:cxn ang="0">
                    <a:pos x="41" y="650"/>
                  </a:cxn>
                  <a:cxn ang="0">
                    <a:pos x="7" y="639"/>
                  </a:cxn>
                  <a:cxn ang="0">
                    <a:pos x="8" y="612"/>
                  </a:cxn>
                  <a:cxn ang="0">
                    <a:pos x="32" y="566"/>
                  </a:cxn>
                  <a:cxn ang="0">
                    <a:pos x="3" y="462"/>
                  </a:cxn>
                  <a:cxn ang="0">
                    <a:pos x="15" y="423"/>
                  </a:cxn>
                  <a:cxn ang="0">
                    <a:pos x="27" y="362"/>
                  </a:cxn>
                  <a:cxn ang="0">
                    <a:pos x="54" y="351"/>
                  </a:cxn>
                  <a:cxn ang="0">
                    <a:pos x="62" y="297"/>
                  </a:cxn>
                  <a:cxn ang="0">
                    <a:pos x="104" y="274"/>
                  </a:cxn>
                  <a:cxn ang="0">
                    <a:pos x="150" y="248"/>
                  </a:cxn>
                  <a:cxn ang="0">
                    <a:pos x="130" y="191"/>
                  </a:cxn>
                  <a:cxn ang="0">
                    <a:pos x="106" y="168"/>
                  </a:cxn>
                  <a:cxn ang="0">
                    <a:pos x="91" y="180"/>
                  </a:cxn>
                  <a:cxn ang="0">
                    <a:pos x="76" y="177"/>
                  </a:cxn>
                  <a:cxn ang="0">
                    <a:pos x="72" y="149"/>
                  </a:cxn>
                  <a:cxn ang="0">
                    <a:pos x="95" y="107"/>
                  </a:cxn>
                  <a:cxn ang="0">
                    <a:pos x="99" y="59"/>
                  </a:cxn>
                  <a:cxn ang="0">
                    <a:pos x="150" y="2"/>
                  </a:cxn>
                  <a:cxn ang="0">
                    <a:pos x="171" y="4"/>
                  </a:cxn>
                  <a:cxn ang="0">
                    <a:pos x="174" y="34"/>
                  </a:cxn>
                  <a:cxn ang="0">
                    <a:pos x="161" y="50"/>
                  </a:cxn>
                  <a:cxn ang="0">
                    <a:pos x="237" y="92"/>
                  </a:cxn>
                  <a:cxn ang="0">
                    <a:pos x="296" y="104"/>
                  </a:cxn>
                  <a:cxn ang="0">
                    <a:pos x="339" y="96"/>
                  </a:cxn>
                  <a:cxn ang="0">
                    <a:pos x="396" y="115"/>
                  </a:cxn>
                  <a:cxn ang="0">
                    <a:pos x="447" y="95"/>
                  </a:cxn>
                  <a:cxn ang="0">
                    <a:pos x="473" y="55"/>
                  </a:cxn>
                </a:cxnLst>
                <a:rect l="0" t="0" r="r" b="b"/>
                <a:pathLst>
                  <a:path w="510" h="789">
                    <a:moveTo>
                      <a:pt x="473" y="55"/>
                    </a:moveTo>
                    <a:lnTo>
                      <a:pt x="473" y="55"/>
                    </a:lnTo>
                    <a:lnTo>
                      <a:pt x="478" y="56"/>
                    </a:lnTo>
                    <a:lnTo>
                      <a:pt x="480" y="58"/>
                    </a:lnTo>
                    <a:lnTo>
                      <a:pt x="482" y="62"/>
                    </a:lnTo>
                    <a:lnTo>
                      <a:pt x="484" y="65"/>
                    </a:lnTo>
                    <a:lnTo>
                      <a:pt x="485" y="77"/>
                    </a:lnTo>
                    <a:lnTo>
                      <a:pt x="485" y="87"/>
                    </a:lnTo>
                    <a:lnTo>
                      <a:pt x="485" y="87"/>
                    </a:lnTo>
                    <a:lnTo>
                      <a:pt x="484" y="93"/>
                    </a:lnTo>
                    <a:lnTo>
                      <a:pt x="481" y="97"/>
                    </a:lnTo>
                    <a:lnTo>
                      <a:pt x="472" y="106"/>
                    </a:lnTo>
                    <a:lnTo>
                      <a:pt x="467" y="110"/>
                    </a:lnTo>
                    <a:lnTo>
                      <a:pt x="463" y="116"/>
                    </a:lnTo>
                    <a:lnTo>
                      <a:pt x="461" y="123"/>
                    </a:lnTo>
                    <a:lnTo>
                      <a:pt x="459" y="132"/>
                    </a:lnTo>
                    <a:lnTo>
                      <a:pt x="459" y="132"/>
                    </a:lnTo>
                    <a:lnTo>
                      <a:pt x="459" y="140"/>
                    </a:lnTo>
                    <a:lnTo>
                      <a:pt x="463" y="148"/>
                    </a:lnTo>
                    <a:lnTo>
                      <a:pt x="466" y="157"/>
                    </a:lnTo>
                    <a:lnTo>
                      <a:pt x="471" y="165"/>
                    </a:lnTo>
                    <a:lnTo>
                      <a:pt x="480" y="181"/>
                    </a:lnTo>
                    <a:lnTo>
                      <a:pt x="488" y="194"/>
                    </a:lnTo>
                    <a:lnTo>
                      <a:pt x="488" y="194"/>
                    </a:lnTo>
                    <a:lnTo>
                      <a:pt x="488" y="256"/>
                    </a:lnTo>
                    <a:lnTo>
                      <a:pt x="488" y="256"/>
                    </a:lnTo>
                    <a:lnTo>
                      <a:pt x="488" y="256"/>
                    </a:lnTo>
                    <a:lnTo>
                      <a:pt x="496" y="268"/>
                    </a:lnTo>
                    <a:lnTo>
                      <a:pt x="503" y="279"/>
                    </a:lnTo>
                    <a:lnTo>
                      <a:pt x="505" y="286"/>
                    </a:lnTo>
                    <a:lnTo>
                      <a:pt x="508" y="293"/>
                    </a:lnTo>
                    <a:lnTo>
                      <a:pt x="510" y="300"/>
                    </a:lnTo>
                    <a:lnTo>
                      <a:pt x="510" y="308"/>
                    </a:lnTo>
                    <a:lnTo>
                      <a:pt x="510" y="308"/>
                    </a:lnTo>
                    <a:lnTo>
                      <a:pt x="510" y="315"/>
                    </a:lnTo>
                    <a:lnTo>
                      <a:pt x="509" y="322"/>
                    </a:lnTo>
                    <a:lnTo>
                      <a:pt x="505" y="335"/>
                    </a:lnTo>
                    <a:lnTo>
                      <a:pt x="500" y="346"/>
                    </a:lnTo>
                    <a:lnTo>
                      <a:pt x="494" y="356"/>
                    </a:lnTo>
                    <a:lnTo>
                      <a:pt x="487" y="366"/>
                    </a:lnTo>
                    <a:lnTo>
                      <a:pt x="482" y="376"/>
                    </a:lnTo>
                    <a:lnTo>
                      <a:pt x="479" y="386"/>
                    </a:lnTo>
                    <a:lnTo>
                      <a:pt x="478" y="391"/>
                    </a:lnTo>
                    <a:lnTo>
                      <a:pt x="477" y="397"/>
                    </a:lnTo>
                    <a:lnTo>
                      <a:pt x="477" y="397"/>
                    </a:lnTo>
                    <a:lnTo>
                      <a:pt x="478" y="399"/>
                    </a:lnTo>
                    <a:lnTo>
                      <a:pt x="479" y="401"/>
                    </a:lnTo>
                    <a:lnTo>
                      <a:pt x="482" y="406"/>
                    </a:lnTo>
                    <a:lnTo>
                      <a:pt x="487" y="410"/>
                    </a:lnTo>
                    <a:lnTo>
                      <a:pt x="488" y="414"/>
                    </a:lnTo>
                    <a:lnTo>
                      <a:pt x="488" y="419"/>
                    </a:lnTo>
                    <a:lnTo>
                      <a:pt x="488" y="419"/>
                    </a:lnTo>
                    <a:lnTo>
                      <a:pt x="488" y="425"/>
                    </a:lnTo>
                    <a:lnTo>
                      <a:pt x="486" y="430"/>
                    </a:lnTo>
                    <a:lnTo>
                      <a:pt x="484" y="435"/>
                    </a:lnTo>
                    <a:lnTo>
                      <a:pt x="481" y="438"/>
                    </a:lnTo>
                    <a:lnTo>
                      <a:pt x="478" y="440"/>
                    </a:lnTo>
                    <a:lnTo>
                      <a:pt x="473" y="442"/>
                    </a:lnTo>
                    <a:lnTo>
                      <a:pt x="464" y="443"/>
                    </a:lnTo>
                    <a:lnTo>
                      <a:pt x="442" y="443"/>
                    </a:lnTo>
                    <a:lnTo>
                      <a:pt x="431" y="444"/>
                    </a:lnTo>
                    <a:lnTo>
                      <a:pt x="426" y="445"/>
                    </a:lnTo>
                    <a:lnTo>
                      <a:pt x="421" y="447"/>
                    </a:lnTo>
                    <a:lnTo>
                      <a:pt x="421" y="447"/>
                    </a:lnTo>
                    <a:lnTo>
                      <a:pt x="418" y="451"/>
                    </a:lnTo>
                    <a:lnTo>
                      <a:pt x="415" y="454"/>
                    </a:lnTo>
                    <a:lnTo>
                      <a:pt x="409" y="462"/>
                    </a:lnTo>
                    <a:lnTo>
                      <a:pt x="406" y="470"/>
                    </a:lnTo>
                    <a:lnTo>
                      <a:pt x="405" y="480"/>
                    </a:lnTo>
                    <a:lnTo>
                      <a:pt x="403" y="497"/>
                    </a:lnTo>
                    <a:lnTo>
                      <a:pt x="401" y="506"/>
                    </a:lnTo>
                    <a:lnTo>
                      <a:pt x="396" y="514"/>
                    </a:lnTo>
                    <a:lnTo>
                      <a:pt x="396" y="514"/>
                    </a:lnTo>
                    <a:lnTo>
                      <a:pt x="388" y="526"/>
                    </a:lnTo>
                    <a:lnTo>
                      <a:pt x="381" y="538"/>
                    </a:lnTo>
                    <a:lnTo>
                      <a:pt x="379" y="545"/>
                    </a:lnTo>
                    <a:lnTo>
                      <a:pt x="377" y="553"/>
                    </a:lnTo>
                    <a:lnTo>
                      <a:pt x="374" y="560"/>
                    </a:lnTo>
                    <a:lnTo>
                      <a:pt x="374" y="568"/>
                    </a:lnTo>
                    <a:lnTo>
                      <a:pt x="374" y="568"/>
                    </a:lnTo>
                    <a:lnTo>
                      <a:pt x="374" y="577"/>
                    </a:lnTo>
                    <a:lnTo>
                      <a:pt x="375" y="585"/>
                    </a:lnTo>
                    <a:lnTo>
                      <a:pt x="379" y="599"/>
                    </a:lnTo>
                    <a:lnTo>
                      <a:pt x="383" y="611"/>
                    </a:lnTo>
                    <a:lnTo>
                      <a:pt x="389" y="621"/>
                    </a:lnTo>
                    <a:lnTo>
                      <a:pt x="394" y="630"/>
                    </a:lnTo>
                    <a:lnTo>
                      <a:pt x="400" y="641"/>
                    </a:lnTo>
                    <a:lnTo>
                      <a:pt x="402" y="652"/>
                    </a:lnTo>
                    <a:lnTo>
                      <a:pt x="404" y="665"/>
                    </a:lnTo>
                    <a:lnTo>
                      <a:pt x="404" y="665"/>
                    </a:lnTo>
                    <a:lnTo>
                      <a:pt x="403" y="669"/>
                    </a:lnTo>
                    <a:lnTo>
                      <a:pt x="402" y="673"/>
                    </a:lnTo>
                    <a:lnTo>
                      <a:pt x="400" y="675"/>
                    </a:lnTo>
                    <a:lnTo>
                      <a:pt x="397" y="676"/>
                    </a:lnTo>
                    <a:lnTo>
                      <a:pt x="393" y="679"/>
                    </a:lnTo>
                    <a:lnTo>
                      <a:pt x="390" y="681"/>
                    </a:lnTo>
                    <a:lnTo>
                      <a:pt x="389" y="683"/>
                    </a:lnTo>
                    <a:lnTo>
                      <a:pt x="389" y="683"/>
                    </a:lnTo>
                    <a:lnTo>
                      <a:pt x="380" y="704"/>
                    </a:lnTo>
                    <a:lnTo>
                      <a:pt x="372" y="720"/>
                    </a:lnTo>
                    <a:lnTo>
                      <a:pt x="365" y="732"/>
                    </a:lnTo>
                    <a:lnTo>
                      <a:pt x="357" y="740"/>
                    </a:lnTo>
                    <a:lnTo>
                      <a:pt x="348" y="746"/>
                    </a:lnTo>
                    <a:lnTo>
                      <a:pt x="335" y="751"/>
                    </a:lnTo>
                    <a:lnTo>
                      <a:pt x="301" y="764"/>
                    </a:lnTo>
                    <a:lnTo>
                      <a:pt x="301" y="764"/>
                    </a:lnTo>
                    <a:lnTo>
                      <a:pt x="291" y="766"/>
                    </a:lnTo>
                    <a:lnTo>
                      <a:pt x="283" y="769"/>
                    </a:lnTo>
                    <a:lnTo>
                      <a:pt x="270" y="778"/>
                    </a:lnTo>
                    <a:lnTo>
                      <a:pt x="263" y="782"/>
                    </a:lnTo>
                    <a:lnTo>
                      <a:pt x="256" y="786"/>
                    </a:lnTo>
                    <a:lnTo>
                      <a:pt x="248" y="788"/>
                    </a:lnTo>
                    <a:lnTo>
                      <a:pt x="238" y="789"/>
                    </a:lnTo>
                    <a:lnTo>
                      <a:pt x="238" y="789"/>
                    </a:lnTo>
                    <a:lnTo>
                      <a:pt x="233" y="788"/>
                    </a:lnTo>
                    <a:lnTo>
                      <a:pt x="228" y="787"/>
                    </a:lnTo>
                    <a:lnTo>
                      <a:pt x="219" y="780"/>
                    </a:lnTo>
                    <a:lnTo>
                      <a:pt x="214" y="776"/>
                    </a:lnTo>
                    <a:lnTo>
                      <a:pt x="210" y="774"/>
                    </a:lnTo>
                    <a:lnTo>
                      <a:pt x="204" y="772"/>
                    </a:lnTo>
                    <a:lnTo>
                      <a:pt x="198" y="771"/>
                    </a:lnTo>
                    <a:lnTo>
                      <a:pt x="198" y="771"/>
                    </a:lnTo>
                    <a:lnTo>
                      <a:pt x="183" y="771"/>
                    </a:lnTo>
                    <a:lnTo>
                      <a:pt x="183" y="771"/>
                    </a:lnTo>
                    <a:lnTo>
                      <a:pt x="179" y="771"/>
                    </a:lnTo>
                    <a:lnTo>
                      <a:pt x="173" y="769"/>
                    </a:lnTo>
                    <a:lnTo>
                      <a:pt x="169" y="767"/>
                    </a:lnTo>
                    <a:lnTo>
                      <a:pt x="167" y="765"/>
                    </a:lnTo>
                    <a:lnTo>
                      <a:pt x="166" y="761"/>
                    </a:lnTo>
                    <a:lnTo>
                      <a:pt x="165" y="756"/>
                    </a:lnTo>
                    <a:lnTo>
                      <a:pt x="165" y="756"/>
                    </a:lnTo>
                    <a:lnTo>
                      <a:pt x="165" y="751"/>
                    </a:lnTo>
                    <a:lnTo>
                      <a:pt x="166" y="748"/>
                    </a:lnTo>
                    <a:lnTo>
                      <a:pt x="168" y="744"/>
                    </a:lnTo>
                    <a:lnTo>
                      <a:pt x="171" y="741"/>
                    </a:lnTo>
                    <a:lnTo>
                      <a:pt x="176" y="737"/>
                    </a:lnTo>
                    <a:lnTo>
                      <a:pt x="183" y="735"/>
                    </a:lnTo>
                    <a:lnTo>
                      <a:pt x="190" y="732"/>
                    </a:lnTo>
                    <a:lnTo>
                      <a:pt x="196" y="729"/>
                    </a:lnTo>
                    <a:lnTo>
                      <a:pt x="198" y="727"/>
                    </a:lnTo>
                    <a:lnTo>
                      <a:pt x="199" y="723"/>
                    </a:lnTo>
                    <a:lnTo>
                      <a:pt x="200" y="720"/>
                    </a:lnTo>
                    <a:lnTo>
                      <a:pt x="202" y="715"/>
                    </a:lnTo>
                    <a:lnTo>
                      <a:pt x="202" y="715"/>
                    </a:lnTo>
                    <a:lnTo>
                      <a:pt x="200" y="712"/>
                    </a:lnTo>
                    <a:lnTo>
                      <a:pt x="197" y="710"/>
                    </a:lnTo>
                    <a:lnTo>
                      <a:pt x="192" y="708"/>
                    </a:lnTo>
                    <a:lnTo>
                      <a:pt x="188" y="708"/>
                    </a:lnTo>
                    <a:lnTo>
                      <a:pt x="176" y="708"/>
                    </a:lnTo>
                    <a:lnTo>
                      <a:pt x="168" y="708"/>
                    </a:lnTo>
                    <a:lnTo>
                      <a:pt x="168" y="708"/>
                    </a:lnTo>
                    <a:lnTo>
                      <a:pt x="166" y="707"/>
                    </a:lnTo>
                    <a:lnTo>
                      <a:pt x="163" y="704"/>
                    </a:lnTo>
                    <a:lnTo>
                      <a:pt x="152" y="692"/>
                    </a:lnTo>
                    <a:lnTo>
                      <a:pt x="139" y="676"/>
                    </a:lnTo>
                    <a:lnTo>
                      <a:pt x="139" y="676"/>
                    </a:lnTo>
                    <a:lnTo>
                      <a:pt x="134" y="682"/>
                    </a:lnTo>
                    <a:lnTo>
                      <a:pt x="129" y="687"/>
                    </a:lnTo>
                    <a:lnTo>
                      <a:pt x="125" y="690"/>
                    </a:lnTo>
                    <a:lnTo>
                      <a:pt x="118" y="690"/>
                    </a:lnTo>
                    <a:lnTo>
                      <a:pt x="118" y="690"/>
                    </a:lnTo>
                    <a:lnTo>
                      <a:pt x="113" y="690"/>
                    </a:lnTo>
                    <a:lnTo>
                      <a:pt x="111" y="688"/>
                    </a:lnTo>
                    <a:lnTo>
                      <a:pt x="107" y="685"/>
                    </a:lnTo>
                    <a:lnTo>
                      <a:pt x="106" y="682"/>
                    </a:lnTo>
                    <a:lnTo>
                      <a:pt x="103" y="673"/>
                    </a:lnTo>
                    <a:lnTo>
                      <a:pt x="99" y="662"/>
                    </a:lnTo>
                    <a:lnTo>
                      <a:pt x="97" y="652"/>
                    </a:lnTo>
                    <a:lnTo>
                      <a:pt x="92" y="644"/>
                    </a:lnTo>
                    <a:lnTo>
                      <a:pt x="90" y="641"/>
                    </a:lnTo>
                    <a:lnTo>
                      <a:pt x="87" y="637"/>
                    </a:lnTo>
                    <a:lnTo>
                      <a:pt x="82" y="636"/>
                    </a:lnTo>
                    <a:lnTo>
                      <a:pt x="77" y="635"/>
                    </a:lnTo>
                    <a:lnTo>
                      <a:pt x="77" y="635"/>
                    </a:lnTo>
                    <a:lnTo>
                      <a:pt x="73" y="636"/>
                    </a:lnTo>
                    <a:lnTo>
                      <a:pt x="67" y="637"/>
                    </a:lnTo>
                    <a:lnTo>
                      <a:pt x="59" y="643"/>
                    </a:lnTo>
                    <a:lnTo>
                      <a:pt x="51" y="648"/>
                    </a:lnTo>
                    <a:lnTo>
                      <a:pt x="46" y="649"/>
                    </a:lnTo>
                    <a:lnTo>
                      <a:pt x="41" y="650"/>
                    </a:lnTo>
                    <a:lnTo>
                      <a:pt x="41" y="650"/>
                    </a:lnTo>
                    <a:lnTo>
                      <a:pt x="37" y="650"/>
                    </a:lnTo>
                    <a:lnTo>
                      <a:pt x="32" y="648"/>
                    </a:lnTo>
                    <a:lnTo>
                      <a:pt x="23" y="644"/>
                    </a:lnTo>
                    <a:lnTo>
                      <a:pt x="13" y="641"/>
                    </a:lnTo>
                    <a:lnTo>
                      <a:pt x="7" y="639"/>
                    </a:lnTo>
                    <a:lnTo>
                      <a:pt x="0" y="638"/>
                    </a:lnTo>
                    <a:lnTo>
                      <a:pt x="0" y="638"/>
                    </a:lnTo>
                    <a:lnTo>
                      <a:pt x="0" y="616"/>
                    </a:lnTo>
                    <a:lnTo>
                      <a:pt x="0" y="616"/>
                    </a:lnTo>
                    <a:lnTo>
                      <a:pt x="0" y="616"/>
                    </a:lnTo>
                    <a:lnTo>
                      <a:pt x="8" y="612"/>
                    </a:lnTo>
                    <a:lnTo>
                      <a:pt x="15" y="606"/>
                    </a:lnTo>
                    <a:lnTo>
                      <a:pt x="20" y="599"/>
                    </a:lnTo>
                    <a:lnTo>
                      <a:pt x="24" y="592"/>
                    </a:lnTo>
                    <a:lnTo>
                      <a:pt x="29" y="584"/>
                    </a:lnTo>
                    <a:lnTo>
                      <a:pt x="31" y="576"/>
                    </a:lnTo>
                    <a:lnTo>
                      <a:pt x="32" y="566"/>
                    </a:lnTo>
                    <a:lnTo>
                      <a:pt x="34" y="554"/>
                    </a:lnTo>
                    <a:lnTo>
                      <a:pt x="34" y="554"/>
                    </a:lnTo>
                    <a:lnTo>
                      <a:pt x="29" y="536"/>
                    </a:lnTo>
                    <a:lnTo>
                      <a:pt x="19" y="504"/>
                    </a:lnTo>
                    <a:lnTo>
                      <a:pt x="7" y="473"/>
                    </a:lnTo>
                    <a:lnTo>
                      <a:pt x="3" y="462"/>
                    </a:lnTo>
                    <a:lnTo>
                      <a:pt x="0" y="459"/>
                    </a:lnTo>
                    <a:lnTo>
                      <a:pt x="0" y="459"/>
                    </a:lnTo>
                    <a:lnTo>
                      <a:pt x="5" y="451"/>
                    </a:lnTo>
                    <a:lnTo>
                      <a:pt x="9" y="443"/>
                    </a:lnTo>
                    <a:lnTo>
                      <a:pt x="13" y="433"/>
                    </a:lnTo>
                    <a:lnTo>
                      <a:pt x="15" y="423"/>
                    </a:lnTo>
                    <a:lnTo>
                      <a:pt x="18" y="401"/>
                    </a:lnTo>
                    <a:lnTo>
                      <a:pt x="19" y="382"/>
                    </a:lnTo>
                    <a:lnTo>
                      <a:pt x="19" y="382"/>
                    </a:lnTo>
                    <a:lnTo>
                      <a:pt x="20" y="372"/>
                    </a:lnTo>
                    <a:lnTo>
                      <a:pt x="22" y="367"/>
                    </a:lnTo>
                    <a:lnTo>
                      <a:pt x="27" y="362"/>
                    </a:lnTo>
                    <a:lnTo>
                      <a:pt x="31" y="360"/>
                    </a:lnTo>
                    <a:lnTo>
                      <a:pt x="42" y="359"/>
                    </a:lnTo>
                    <a:lnTo>
                      <a:pt x="47" y="358"/>
                    </a:lnTo>
                    <a:lnTo>
                      <a:pt x="52" y="355"/>
                    </a:lnTo>
                    <a:lnTo>
                      <a:pt x="52" y="355"/>
                    </a:lnTo>
                    <a:lnTo>
                      <a:pt x="54" y="351"/>
                    </a:lnTo>
                    <a:lnTo>
                      <a:pt x="57" y="344"/>
                    </a:lnTo>
                    <a:lnTo>
                      <a:pt x="58" y="336"/>
                    </a:lnTo>
                    <a:lnTo>
                      <a:pt x="59" y="326"/>
                    </a:lnTo>
                    <a:lnTo>
                      <a:pt x="59" y="309"/>
                    </a:lnTo>
                    <a:lnTo>
                      <a:pt x="60" y="302"/>
                    </a:lnTo>
                    <a:lnTo>
                      <a:pt x="62" y="297"/>
                    </a:lnTo>
                    <a:lnTo>
                      <a:pt x="62" y="297"/>
                    </a:lnTo>
                    <a:lnTo>
                      <a:pt x="67" y="291"/>
                    </a:lnTo>
                    <a:lnTo>
                      <a:pt x="73" y="286"/>
                    </a:lnTo>
                    <a:lnTo>
                      <a:pt x="80" y="283"/>
                    </a:lnTo>
                    <a:lnTo>
                      <a:pt x="88" y="279"/>
                    </a:lnTo>
                    <a:lnTo>
                      <a:pt x="104" y="274"/>
                    </a:lnTo>
                    <a:lnTo>
                      <a:pt x="121" y="269"/>
                    </a:lnTo>
                    <a:lnTo>
                      <a:pt x="135" y="263"/>
                    </a:lnTo>
                    <a:lnTo>
                      <a:pt x="141" y="261"/>
                    </a:lnTo>
                    <a:lnTo>
                      <a:pt x="145" y="257"/>
                    </a:lnTo>
                    <a:lnTo>
                      <a:pt x="149" y="253"/>
                    </a:lnTo>
                    <a:lnTo>
                      <a:pt x="150" y="248"/>
                    </a:lnTo>
                    <a:lnTo>
                      <a:pt x="150" y="241"/>
                    </a:lnTo>
                    <a:lnTo>
                      <a:pt x="146" y="234"/>
                    </a:lnTo>
                    <a:lnTo>
                      <a:pt x="146" y="234"/>
                    </a:lnTo>
                    <a:lnTo>
                      <a:pt x="142" y="223"/>
                    </a:lnTo>
                    <a:lnTo>
                      <a:pt x="138" y="211"/>
                    </a:lnTo>
                    <a:lnTo>
                      <a:pt x="130" y="191"/>
                    </a:lnTo>
                    <a:lnTo>
                      <a:pt x="127" y="181"/>
                    </a:lnTo>
                    <a:lnTo>
                      <a:pt x="121" y="175"/>
                    </a:lnTo>
                    <a:lnTo>
                      <a:pt x="119" y="172"/>
                    </a:lnTo>
                    <a:lnTo>
                      <a:pt x="114" y="170"/>
                    </a:lnTo>
                    <a:lnTo>
                      <a:pt x="111" y="169"/>
                    </a:lnTo>
                    <a:lnTo>
                      <a:pt x="106" y="168"/>
                    </a:lnTo>
                    <a:lnTo>
                      <a:pt x="106" y="168"/>
                    </a:lnTo>
                    <a:lnTo>
                      <a:pt x="102" y="169"/>
                    </a:lnTo>
                    <a:lnTo>
                      <a:pt x="98" y="170"/>
                    </a:lnTo>
                    <a:lnTo>
                      <a:pt x="96" y="172"/>
                    </a:lnTo>
                    <a:lnTo>
                      <a:pt x="95" y="176"/>
                    </a:lnTo>
                    <a:lnTo>
                      <a:pt x="91" y="180"/>
                    </a:lnTo>
                    <a:lnTo>
                      <a:pt x="90" y="183"/>
                    </a:lnTo>
                    <a:lnTo>
                      <a:pt x="88" y="183"/>
                    </a:lnTo>
                    <a:lnTo>
                      <a:pt x="88" y="183"/>
                    </a:lnTo>
                    <a:lnTo>
                      <a:pt x="83" y="183"/>
                    </a:lnTo>
                    <a:lnTo>
                      <a:pt x="80" y="180"/>
                    </a:lnTo>
                    <a:lnTo>
                      <a:pt x="76" y="177"/>
                    </a:lnTo>
                    <a:lnTo>
                      <a:pt x="74" y="173"/>
                    </a:lnTo>
                    <a:lnTo>
                      <a:pt x="70" y="164"/>
                    </a:lnTo>
                    <a:lnTo>
                      <a:pt x="69" y="157"/>
                    </a:lnTo>
                    <a:lnTo>
                      <a:pt x="69" y="157"/>
                    </a:lnTo>
                    <a:lnTo>
                      <a:pt x="70" y="153"/>
                    </a:lnTo>
                    <a:lnTo>
                      <a:pt x="72" y="149"/>
                    </a:lnTo>
                    <a:lnTo>
                      <a:pt x="75" y="142"/>
                    </a:lnTo>
                    <a:lnTo>
                      <a:pt x="87" y="129"/>
                    </a:lnTo>
                    <a:lnTo>
                      <a:pt x="91" y="122"/>
                    </a:lnTo>
                    <a:lnTo>
                      <a:pt x="93" y="117"/>
                    </a:lnTo>
                    <a:lnTo>
                      <a:pt x="95" y="112"/>
                    </a:lnTo>
                    <a:lnTo>
                      <a:pt x="95" y="107"/>
                    </a:lnTo>
                    <a:lnTo>
                      <a:pt x="93" y="100"/>
                    </a:lnTo>
                    <a:lnTo>
                      <a:pt x="91" y="93"/>
                    </a:lnTo>
                    <a:lnTo>
                      <a:pt x="88" y="84"/>
                    </a:lnTo>
                    <a:lnTo>
                      <a:pt x="88" y="84"/>
                    </a:lnTo>
                    <a:lnTo>
                      <a:pt x="92" y="73"/>
                    </a:lnTo>
                    <a:lnTo>
                      <a:pt x="99" y="59"/>
                    </a:lnTo>
                    <a:lnTo>
                      <a:pt x="108" y="46"/>
                    </a:lnTo>
                    <a:lnTo>
                      <a:pt x="118" y="32"/>
                    </a:lnTo>
                    <a:lnTo>
                      <a:pt x="128" y="19"/>
                    </a:lnTo>
                    <a:lnTo>
                      <a:pt x="139" y="9"/>
                    </a:lnTo>
                    <a:lnTo>
                      <a:pt x="144" y="5"/>
                    </a:lnTo>
                    <a:lnTo>
                      <a:pt x="150" y="2"/>
                    </a:lnTo>
                    <a:lnTo>
                      <a:pt x="156" y="0"/>
                    </a:lnTo>
                    <a:lnTo>
                      <a:pt x="161" y="0"/>
                    </a:lnTo>
                    <a:lnTo>
                      <a:pt x="161" y="0"/>
                    </a:lnTo>
                    <a:lnTo>
                      <a:pt x="165" y="0"/>
                    </a:lnTo>
                    <a:lnTo>
                      <a:pt x="168" y="2"/>
                    </a:lnTo>
                    <a:lnTo>
                      <a:pt x="171" y="4"/>
                    </a:lnTo>
                    <a:lnTo>
                      <a:pt x="173" y="8"/>
                    </a:lnTo>
                    <a:lnTo>
                      <a:pt x="175" y="17"/>
                    </a:lnTo>
                    <a:lnTo>
                      <a:pt x="176" y="25"/>
                    </a:lnTo>
                    <a:lnTo>
                      <a:pt x="176" y="25"/>
                    </a:lnTo>
                    <a:lnTo>
                      <a:pt x="175" y="31"/>
                    </a:lnTo>
                    <a:lnTo>
                      <a:pt x="174" y="34"/>
                    </a:lnTo>
                    <a:lnTo>
                      <a:pt x="172" y="38"/>
                    </a:lnTo>
                    <a:lnTo>
                      <a:pt x="168" y="41"/>
                    </a:lnTo>
                    <a:lnTo>
                      <a:pt x="164" y="46"/>
                    </a:lnTo>
                    <a:lnTo>
                      <a:pt x="163" y="48"/>
                    </a:lnTo>
                    <a:lnTo>
                      <a:pt x="161" y="50"/>
                    </a:lnTo>
                    <a:lnTo>
                      <a:pt x="161" y="50"/>
                    </a:lnTo>
                    <a:lnTo>
                      <a:pt x="163" y="54"/>
                    </a:lnTo>
                    <a:lnTo>
                      <a:pt x="166" y="57"/>
                    </a:lnTo>
                    <a:lnTo>
                      <a:pt x="177" y="65"/>
                    </a:lnTo>
                    <a:lnTo>
                      <a:pt x="195" y="74"/>
                    </a:lnTo>
                    <a:lnTo>
                      <a:pt x="215" y="84"/>
                    </a:lnTo>
                    <a:lnTo>
                      <a:pt x="237" y="92"/>
                    </a:lnTo>
                    <a:lnTo>
                      <a:pt x="257" y="100"/>
                    </a:lnTo>
                    <a:lnTo>
                      <a:pt x="274" y="104"/>
                    </a:lnTo>
                    <a:lnTo>
                      <a:pt x="286" y="106"/>
                    </a:lnTo>
                    <a:lnTo>
                      <a:pt x="286" y="106"/>
                    </a:lnTo>
                    <a:lnTo>
                      <a:pt x="291" y="106"/>
                    </a:lnTo>
                    <a:lnTo>
                      <a:pt x="296" y="104"/>
                    </a:lnTo>
                    <a:lnTo>
                      <a:pt x="306" y="100"/>
                    </a:lnTo>
                    <a:lnTo>
                      <a:pt x="317" y="96"/>
                    </a:lnTo>
                    <a:lnTo>
                      <a:pt x="321" y="95"/>
                    </a:lnTo>
                    <a:lnTo>
                      <a:pt x="327" y="95"/>
                    </a:lnTo>
                    <a:lnTo>
                      <a:pt x="327" y="95"/>
                    </a:lnTo>
                    <a:lnTo>
                      <a:pt x="339" y="96"/>
                    </a:lnTo>
                    <a:lnTo>
                      <a:pt x="349" y="99"/>
                    </a:lnTo>
                    <a:lnTo>
                      <a:pt x="359" y="102"/>
                    </a:lnTo>
                    <a:lnTo>
                      <a:pt x="368" y="107"/>
                    </a:lnTo>
                    <a:lnTo>
                      <a:pt x="378" y="110"/>
                    </a:lnTo>
                    <a:lnTo>
                      <a:pt x="387" y="114"/>
                    </a:lnTo>
                    <a:lnTo>
                      <a:pt x="396" y="115"/>
                    </a:lnTo>
                    <a:lnTo>
                      <a:pt x="408" y="114"/>
                    </a:lnTo>
                    <a:lnTo>
                      <a:pt x="408" y="114"/>
                    </a:lnTo>
                    <a:lnTo>
                      <a:pt x="428" y="107"/>
                    </a:lnTo>
                    <a:lnTo>
                      <a:pt x="435" y="103"/>
                    </a:lnTo>
                    <a:lnTo>
                      <a:pt x="441" y="100"/>
                    </a:lnTo>
                    <a:lnTo>
                      <a:pt x="447" y="95"/>
                    </a:lnTo>
                    <a:lnTo>
                      <a:pt x="451" y="91"/>
                    </a:lnTo>
                    <a:lnTo>
                      <a:pt x="455" y="84"/>
                    </a:lnTo>
                    <a:lnTo>
                      <a:pt x="459" y="77"/>
                    </a:lnTo>
                    <a:lnTo>
                      <a:pt x="459" y="77"/>
                    </a:lnTo>
                    <a:lnTo>
                      <a:pt x="473" y="55"/>
                    </a:lnTo>
                    <a:lnTo>
                      <a:pt x="473" y="5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2" name="Freeform 57"/>
              <p:cNvSpPr>
                <a:spLocks noChangeAspect="1"/>
              </p:cNvSpPr>
              <p:nvPr/>
            </p:nvSpPr>
            <p:spPr bwMode="auto">
              <a:xfrm>
                <a:off x="2562392" y="4418929"/>
                <a:ext cx="440661" cy="275533"/>
              </a:xfrm>
              <a:custGeom>
                <a:avLst/>
                <a:gdLst/>
                <a:ahLst/>
                <a:cxnLst>
                  <a:cxn ang="0">
                    <a:pos x="542" y="361"/>
                  </a:cxn>
                  <a:cxn ang="0">
                    <a:pos x="518" y="366"/>
                  </a:cxn>
                  <a:cxn ang="0">
                    <a:pos x="503" y="364"/>
                  </a:cxn>
                  <a:cxn ang="0">
                    <a:pos x="495" y="380"/>
                  </a:cxn>
                  <a:cxn ang="0">
                    <a:pos x="483" y="385"/>
                  </a:cxn>
                  <a:cxn ang="0">
                    <a:pos x="339" y="385"/>
                  </a:cxn>
                  <a:cxn ang="0">
                    <a:pos x="321" y="390"/>
                  </a:cxn>
                  <a:cxn ang="0">
                    <a:pos x="312" y="396"/>
                  </a:cxn>
                  <a:cxn ang="0">
                    <a:pos x="295" y="374"/>
                  </a:cxn>
                  <a:cxn ang="0">
                    <a:pos x="277" y="367"/>
                  </a:cxn>
                  <a:cxn ang="0">
                    <a:pos x="263" y="370"/>
                  </a:cxn>
                  <a:cxn ang="0">
                    <a:pos x="247" y="382"/>
                  </a:cxn>
                  <a:cxn ang="0">
                    <a:pos x="228" y="389"/>
                  </a:cxn>
                  <a:cxn ang="0">
                    <a:pos x="223" y="387"/>
                  </a:cxn>
                  <a:cxn ang="0">
                    <a:pos x="220" y="381"/>
                  </a:cxn>
                  <a:cxn ang="0">
                    <a:pos x="191" y="381"/>
                  </a:cxn>
                  <a:cxn ang="0">
                    <a:pos x="167" y="384"/>
                  </a:cxn>
                  <a:cxn ang="0">
                    <a:pos x="130" y="376"/>
                  </a:cxn>
                  <a:cxn ang="0">
                    <a:pos x="87" y="361"/>
                  </a:cxn>
                  <a:cxn ang="0">
                    <a:pos x="71" y="360"/>
                  </a:cxn>
                  <a:cxn ang="0">
                    <a:pos x="66" y="334"/>
                  </a:cxn>
                  <a:cxn ang="0">
                    <a:pos x="81" y="290"/>
                  </a:cxn>
                  <a:cxn ang="0">
                    <a:pos x="81" y="271"/>
                  </a:cxn>
                  <a:cxn ang="0">
                    <a:pos x="48" y="269"/>
                  </a:cxn>
                  <a:cxn ang="0">
                    <a:pos x="34" y="255"/>
                  </a:cxn>
                  <a:cxn ang="0">
                    <a:pos x="26" y="247"/>
                  </a:cxn>
                  <a:cxn ang="0">
                    <a:pos x="0" y="245"/>
                  </a:cxn>
                  <a:cxn ang="0">
                    <a:pos x="7" y="225"/>
                  </a:cxn>
                  <a:cxn ang="0">
                    <a:pos x="33" y="191"/>
                  </a:cxn>
                  <a:cxn ang="0">
                    <a:pos x="71" y="151"/>
                  </a:cxn>
                  <a:cxn ang="0">
                    <a:pos x="86" y="122"/>
                  </a:cxn>
                  <a:cxn ang="0">
                    <a:pos x="89" y="99"/>
                  </a:cxn>
                  <a:cxn ang="0">
                    <a:pos x="83" y="40"/>
                  </a:cxn>
                  <a:cxn ang="0">
                    <a:pos x="89" y="25"/>
                  </a:cxn>
                  <a:cxn ang="0">
                    <a:pos x="112" y="17"/>
                  </a:cxn>
                  <a:cxn ang="0">
                    <a:pos x="127" y="3"/>
                  </a:cxn>
                  <a:cxn ang="0">
                    <a:pos x="140" y="0"/>
                  </a:cxn>
                  <a:cxn ang="0">
                    <a:pos x="164" y="6"/>
                  </a:cxn>
                  <a:cxn ang="0">
                    <a:pos x="208" y="29"/>
                  </a:cxn>
                  <a:cxn ang="0">
                    <a:pos x="254" y="56"/>
                  </a:cxn>
                  <a:cxn ang="0">
                    <a:pos x="265" y="59"/>
                  </a:cxn>
                  <a:cxn ang="0">
                    <a:pos x="282" y="51"/>
                  </a:cxn>
                  <a:cxn ang="0">
                    <a:pos x="297" y="37"/>
                  </a:cxn>
                  <a:cxn ang="0">
                    <a:pos x="309" y="32"/>
                  </a:cxn>
                  <a:cxn ang="0">
                    <a:pos x="339" y="40"/>
                  </a:cxn>
                  <a:cxn ang="0">
                    <a:pos x="339" y="88"/>
                  </a:cxn>
                  <a:cxn ang="0">
                    <a:pos x="343" y="109"/>
                  </a:cxn>
                  <a:cxn ang="0">
                    <a:pos x="362" y="130"/>
                  </a:cxn>
                  <a:cxn ang="0">
                    <a:pos x="370" y="145"/>
                  </a:cxn>
                  <a:cxn ang="0">
                    <a:pos x="368" y="168"/>
                  </a:cxn>
                  <a:cxn ang="0">
                    <a:pos x="374" y="179"/>
                  </a:cxn>
                  <a:cxn ang="0">
                    <a:pos x="393" y="189"/>
                  </a:cxn>
                  <a:cxn ang="0">
                    <a:pos x="428" y="190"/>
                  </a:cxn>
                  <a:cxn ang="0">
                    <a:pos x="448" y="194"/>
                  </a:cxn>
                  <a:cxn ang="0">
                    <a:pos x="471" y="214"/>
                  </a:cxn>
                  <a:cxn ang="0">
                    <a:pos x="491" y="252"/>
                  </a:cxn>
                  <a:cxn ang="0">
                    <a:pos x="501" y="265"/>
                  </a:cxn>
                  <a:cxn ang="0">
                    <a:pos x="529" y="280"/>
                  </a:cxn>
                  <a:cxn ang="0">
                    <a:pos x="537" y="286"/>
                  </a:cxn>
                  <a:cxn ang="0">
                    <a:pos x="541" y="320"/>
                  </a:cxn>
                  <a:cxn ang="0">
                    <a:pos x="549" y="343"/>
                  </a:cxn>
                  <a:cxn ang="0">
                    <a:pos x="555" y="349"/>
                  </a:cxn>
                </a:cxnLst>
                <a:rect l="0" t="0" r="r" b="b"/>
                <a:pathLst>
                  <a:path w="555" h="396">
                    <a:moveTo>
                      <a:pt x="555" y="357"/>
                    </a:moveTo>
                    <a:lnTo>
                      <a:pt x="555" y="357"/>
                    </a:lnTo>
                    <a:lnTo>
                      <a:pt x="542" y="361"/>
                    </a:lnTo>
                    <a:lnTo>
                      <a:pt x="531" y="365"/>
                    </a:lnTo>
                    <a:lnTo>
                      <a:pt x="524" y="366"/>
                    </a:lnTo>
                    <a:lnTo>
                      <a:pt x="518" y="366"/>
                    </a:lnTo>
                    <a:lnTo>
                      <a:pt x="511" y="366"/>
                    </a:lnTo>
                    <a:lnTo>
                      <a:pt x="503" y="364"/>
                    </a:lnTo>
                    <a:lnTo>
                      <a:pt x="503" y="364"/>
                    </a:lnTo>
                    <a:lnTo>
                      <a:pt x="500" y="373"/>
                    </a:lnTo>
                    <a:lnTo>
                      <a:pt x="498" y="376"/>
                    </a:lnTo>
                    <a:lnTo>
                      <a:pt x="495" y="380"/>
                    </a:lnTo>
                    <a:lnTo>
                      <a:pt x="492" y="382"/>
                    </a:lnTo>
                    <a:lnTo>
                      <a:pt x="487" y="384"/>
                    </a:lnTo>
                    <a:lnTo>
                      <a:pt x="483" y="385"/>
                    </a:lnTo>
                    <a:lnTo>
                      <a:pt x="478" y="385"/>
                    </a:lnTo>
                    <a:lnTo>
                      <a:pt x="478" y="385"/>
                    </a:lnTo>
                    <a:lnTo>
                      <a:pt x="339" y="385"/>
                    </a:lnTo>
                    <a:lnTo>
                      <a:pt x="339" y="385"/>
                    </a:lnTo>
                    <a:lnTo>
                      <a:pt x="328" y="387"/>
                    </a:lnTo>
                    <a:lnTo>
                      <a:pt x="321" y="390"/>
                    </a:lnTo>
                    <a:lnTo>
                      <a:pt x="316" y="393"/>
                    </a:lnTo>
                    <a:lnTo>
                      <a:pt x="312" y="396"/>
                    </a:lnTo>
                    <a:lnTo>
                      <a:pt x="312" y="396"/>
                    </a:lnTo>
                    <a:lnTo>
                      <a:pt x="307" y="389"/>
                    </a:lnTo>
                    <a:lnTo>
                      <a:pt x="300" y="378"/>
                    </a:lnTo>
                    <a:lnTo>
                      <a:pt x="295" y="374"/>
                    </a:lnTo>
                    <a:lnTo>
                      <a:pt x="290" y="370"/>
                    </a:lnTo>
                    <a:lnTo>
                      <a:pt x="284" y="368"/>
                    </a:lnTo>
                    <a:lnTo>
                      <a:pt x="277" y="367"/>
                    </a:lnTo>
                    <a:lnTo>
                      <a:pt x="277" y="367"/>
                    </a:lnTo>
                    <a:lnTo>
                      <a:pt x="270" y="368"/>
                    </a:lnTo>
                    <a:lnTo>
                      <a:pt x="263" y="370"/>
                    </a:lnTo>
                    <a:lnTo>
                      <a:pt x="257" y="374"/>
                    </a:lnTo>
                    <a:lnTo>
                      <a:pt x="252" y="377"/>
                    </a:lnTo>
                    <a:lnTo>
                      <a:pt x="247" y="382"/>
                    </a:lnTo>
                    <a:lnTo>
                      <a:pt x="241" y="385"/>
                    </a:lnTo>
                    <a:lnTo>
                      <a:pt x="234" y="388"/>
                    </a:lnTo>
                    <a:lnTo>
                      <a:pt x="228" y="389"/>
                    </a:lnTo>
                    <a:lnTo>
                      <a:pt x="228" y="389"/>
                    </a:lnTo>
                    <a:lnTo>
                      <a:pt x="225" y="389"/>
                    </a:lnTo>
                    <a:lnTo>
                      <a:pt x="223" y="387"/>
                    </a:lnTo>
                    <a:lnTo>
                      <a:pt x="221" y="384"/>
                    </a:lnTo>
                    <a:lnTo>
                      <a:pt x="220" y="381"/>
                    </a:lnTo>
                    <a:lnTo>
                      <a:pt x="220" y="381"/>
                    </a:lnTo>
                    <a:lnTo>
                      <a:pt x="191" y="381"/>
                    </a:lnTo>
                    <a:lnTo>
                      <a:pt x="191" y="381"/>
                    </a:lnTo>
                    <a:lnTo>
                      <a:pt x="191" y="381"/>
                    </a:lnTo>
                    <a:lnTo>
                      <a:pt x="183" y="383"/>
                    </a:lnTo>
                    <a:lnTo>
                      <a:pt x="175" y="384"/>
                    </a:lnTo>
                    <a:lnTo>
                      <a:pt x="167" y="384"/>
                    </a:lnTo>
                    <a:lnTo>
                      <a:pt x="160" y="384"/>
                    </a:lnTo>
                    <a:lnTo>
                      <a:pt x="145" y="381"/>
                    </a:lnTo>
                    <a:lnTo>
                      <a:pt x="130" y="376"/>
                    </a:lnTo>
                    <a:lnTo>
                      <a:pt x="117" y="370"/>
                    </a:lnTo>
                    <a:lnTo>
                      <a:pt x="102" y="365"/>
                    </a:lnTo>
                    <a:lnTo>
                      <a:pt x="87" y="361"/>
                    </a:lnTo>
                    <a:lnTo>
                      <a:pt x="79" y="360"/>
                    </a:lnTo>
                    <a:lnTo>
                      <a:pt x="71" y="360"/>
                    </a:lnTo>
                    <a:lnTo>
                      <a:pt x="71" y="360"/>
                    </a:lnTo>
                    <a:lnTo>
                      <a:pt x="66" y="334"/>
                    </a:lnTo>
                    <a:lnTo>
                      <a:pt x="66" y="334"/>
                    </a:lnTo>
                    <a:lnTo>
                      <a:pt x="66" y="334"/>
                    </a:lnTo>
                    <a:lnTo>
                      <a:pt x="76" y="312"/>
                    </a:lnTo>
                    <a:lnTo>
                      <a:pt x="80" y="301"/>
                    </a:lnTo>
                    <a:lnTo>
                      <a:pt x="81" y="290"/>
                    </a:lnTo>
                    <a:lnTo>
                      <a:pt x="81" y="290"/>
                    </a:lnTo>
                    <a:lnTo>
                      <a:pt x="81" y="271"/>
                    </a:lnTo>
                    <a:lnTo>
                      <a:pt x="81" y="271"/>
                    </a:lnTo>
                    <a:lnTo>
                      <a:pt x="63" y="271"/>
                    </a:lnTo>
                    <a:lnTo>
                      <a:pt x="55" y="271"/>
                    </a:lnTo>
                    <a:lnTo>
                      <a:pt x="48" y="269"/>
                    </a:lnTo>
                    <a:lnTo>
                      <a:pt x="42" y="267"/>
                    </a:lnTo>
                    <a:lnTo>
                      <a:pt x="37" y="262"/>
                    </a:lnTo>
                    <a:lnTo>
                      <a:pt x="34" y="255"/>
                    </a:lnTo>
                    <a:lnTo>
                      <a:pt x="33" y="245"/>
                    </a:lnTo>
                    <a:lnTo>
                      <a:pt x="33" y="245"/>
                    </a:lnTo>
                    <a:lnTo>
                      <a:pt x="26" y="247"/>
                    </a:lnTo>
                    <a:lnTo>
                      <a:pt x="18" y="248"/>
                    </a:lnTo>
                    <a:lnTo>
                      <a:pt x="10" y="247"/>
                    </a:lnTo>
                    <a:lnTo>
                      <a:pt x="0" y="245"/>
                    </a:lnTo>
                    <a:lnTo>
                      <a:pt x="0" y="245"/>
                    </a:lnTo>
                    <a:lnTo>
                      <a:pt x="3" y="235"/>
                    </a:lnTo>
                    <a:lnTo>
                      <a:pt x="7" y="225"/>
                    </a:lnTo>
                    <a:lnTo>
                      <a:pt x="13" y="216"/>
                    </a:lnTo>
                    <a:lnTo>
                      <a:pt x="19" y="207"/>
                    </a:lnTo>
                    <a:lnTo>
                      <a:pt x="33" y="191"/>
                    </a:lnTo>
                    <a:lnTo>
                      <a:pt x="49" y="175"/>
                    </a:lnTo>
                    <a:lnTo>
                      <a:pt x="64" y="159"/>
                    </a:lnTo>
                    <a:lnTo>
                      <a:pt x="71" y="151"/>
                    </a:lnTo>
                    <a:lnTo>
                      <a:pt x="76" y="141"/>
                    </a:lnTo>
                    <a:lnTo>
                      <a:pt x="81" y="132"/>
                    </a:lnTo>
                    <a:lnTo>
                      <a:pt x="86" y="122"/>
                    </a:lnTo>
                    <a:lnTo>
                      <a:pt x="88" y="110"/>
                    </a:lnTo>
                    <a:lnTo>
                      <a:pt x="89" y="99"/>
                    </a:lnTo>
                    <a:lnTo>
                      <a:pt x="89" y="99"/>
                    </a:lnTo>
                    <a:lnTo>
                      <a:pt x="88" y="80"/>
                    </a:lnTo>
                    <a:lnTo>
                      <a:pt x="87" y="60"/>
                    </a:lnTo>
                    <a:lnTo>
                      <a:pt x="83" y="40"/>
                    </a:lnTo>
                    <a:lnTo>
                      <a:pt x="81" y="22"/>
                    </a:lnTo>
                    <a:lnTo>
                      <a:pt x="89" y="25"/>
                    </a:lnTo>
                    <a:lnTo>
                      <a:pt x="89" y="25"/>
                    </a:lnTo>
                    <a:lnTo>
                      <a:pt x="98" y="24"/>
                    </a:lnTo>
                    <a:lnTo>
                      <a:pt x="106" y="21"/>
                    </a:lnTo>
                    <a:lnTo>
                      <a:pt x="112" y="17"/>
                    </a:lnTo>
                    <a:lnTo>
                      <a:pt x="117" y="13"/>
                    </a:lnTo>
                    <a:lnTo>
                      <a:pt x="121" y="8"/>
                    </a:lnTo>
                    <a:lnTo>
                      <a:pt x="127" y="3"/>
                    </a:lnTo>
                    <a:lnTo>
                      <a:pt x="133" y="1"/>
                    </a:lnTo>
                    <a:lnTo>
                      <a:pt x="140" y="0"/>
                    </a:lnTo>
                    <a:lnTo>
                      <a:pt x="140" y="0"/>
                    </a:lnTo>
                    <a:lnTo>
                      <a:pt x="148" y="0"/>
                    </a:lnTo>
                    <a:lnTo>
                      <a:pt x="156" y="2"/>
                    </a:lnTo>
                    <a:lnTo>
                      <a:pt x="164" y="6"/>
                    </a:lnTo>
                    <a:lnTo>
                      <a:pt x="173" y="9"/>
                    </a:lnTo>
                    <a:lnTo>
                      <a:pt x="190" y="18"/>
                    </a:lnTo>
                    <a:lnTo>
                      <a:pt x="208" y="29"/>
                    </a:lnTo>
                    <a:lnTo>
                      <a:pt x="225" y="40"/>
                    </a:lnTo>
                    <a:lnTo>
                      <a:pt x="240" y="49"/>
                    </a:lnTo>
                    <a:lnTo>
                      <a:pt x="254" y="56"/>
                    </a:lnTo>
                    <a:lnTo>
                      <a:pt x="259" y="57"/>
                    </a:lnTo>
                    <a:lnTo>
                      <a:pt x="265" y="59"/>
                    </a:lnTo>
                    <a:lnTo>
                      <a:pt x="265" y="59"/>
                    </a:lnTo>
                    <a:lnTo>
                      <a:pt x="271" y="57"/>
                    </a:lnTo>
                    <a:lnTo>
                      <a:pt x="277" y="54"/>
                    </a:lnTo>
                    <a:lnTo>
                      <a:pt x="282" y="51"/>
                    </a:lnTo>
                    <a:lnTo>
                      <a:pt x="287" y="46"/>
                    </a:lnTo>
                    <a:lnTo>
                      <a:pt x="292" y="41"/>
                    </a:lnTo>
                    <a:lnTo>
                      <a:pt x="297" y="37"/>
                    </a:lnTo>
                    <a:lnTo>
                      <a:pt x="303" y="33"/>
                    </a:lnTo>
                    <a:lnTo>
                      <a:pt x="309" y="32"/>
                    </a:lnTo>
                    <a:lnTo>
                      <a:pt x="309" y="32"/>
                    </a:lnTo>
                    <a:lnTo>
                      <a:pt x="317" y="33"/>
                    </a:lnTo>
                    <a:lnTo>
                      <a:pt x="324" y="34"/>
                    </a:lnTo>
                    <a:lnTo>
                      <a:pt x="339" y="40"/>
                    </a:lnTo>
                    <a:lnTo>
                      <a:pt x="339" y="40"/>
                    </a:lnTo>
                    <a:lnTo>
                      <a:pt x="339" y="88"/>
                    </a:lnTo>
                    <a:lnTo>
                      <a:pt x="339" y="88"/>
                    </a:lnTo>
                    <a:lnTo>
                      <a:pt x="339" y="98"/>
                    </a:lnTo>
                    <a:lnTo>
                      <a:pt x="341" y="105"/>
                    </a:lnTo>
                    <a:lnTo>
                      <a:pt x="343" y="109"/>
                    </a:lnTo>
                    <a:lnTo>
                      <a:pt x="348" y="114"/>
                    </a:lnTo>
                    <a:lnTo>
                      <a:pt x="357" y="123"/>
                    </a:lnTo>
                    <a:lnTo>
                      <a:pt x="362" y="130"/>
                    </a:lnTo>
                    <a:lnTo>
                      <a:pt x="368" y="139"/>
                    </a:lnTo>
                    <a:lnTo>
                      <a:pt x="368" y="139"/>
                    </a:lnTo>
                    <a:lnTo>
                      <a:pt x="370" y="145"/>
                    </a:lnTo>
                    <a:lnTo>
                      <a:pt x="370" y="151"/>
                    </a:lnTo>
                    <a:lnTo>
                      <a:pt x="369" y="162"/>
                    </a:lnTo>
                    <a:lnTo>
                      <a:pt x="368" y="168"/>
                    </a:lnTo>
                    <a:lnTo>
                      <a:pt x="369" y="172"/>
                    </a:lnTo>
                    <a:lnTo>
                      <a:pt x="371" y="176"/>
                    </a:lnTo>
                    <a:lnTo>
                      <a:pt x="374" y="179"/>
                    </a:lnTo>
                    <a:lnTo>
                      <a:pt x="374" y="179"/>
                    </a:lnTo>
                    <a:lnTo>
                      <a:pt x="384" y="185"/>
                    </a:lnTo>
                    <a:lnTo>
                      <a:pt x="393" y="189"/>
                    </a:lnTo>
                    <a:lnTo>
                      <a:pt x="402" y="190"/>
                    </a:lnTo>
                    <a:lnTo>
                      <a:pt x="410" y="190"/>
                    </a:lnTo>
                    <a:lnTo>
                      <a:pt x="428" y="190"/>
                    </a:lnTo>
                    <a:lnTo>
                      <a:pt x="438" y="191"/>
                    </a:lnTo>
                    <a:lnTo>
                      <a:pt x="448" y="194"/>
                    </a:lnTo>
                    <a:lnTo>
                      <a:pt x="448" y="194"/>
                    </a:lnTo>
                    <a:lnTo>
                      <a:pt x="457" y="200"/>
                    </a:lnTo>
                    <a:lnTo>
                      <a:pt x="464" y="206"/>
                    </a:lnTo>
                    <a:lnTo>
                      <a:pt x="471" y="214"/>
                    </a:lnTo>
                    <a:lnTo>
                      <a:pt x="477" y="223"/>
                    </a:lnTo>
                    <a:lnTo>
                      <a:pt x="486" y="243"/>
                    </a:lnTo>
                    <a:lnTo>
                      <a:pt x="491" y="252"/>
                    </a:lnTo>
                    <a:lnTo>
                      <a:pt x="496" y="260"/>
                    </a:lnTo>
                    <a:lnTo>
                      <a:pt x="496" y="260"/>
                    </a:lnTo>
                    <a:lnTo>
                      <a:pt x="501" y="265"/>
                    </a:lnTo>
                    <a:lnTo>
                      <a:pt x="506" y="269"/>
                    </a:lnTo>
                    <a:lnTo>
                      <a:pt x="518" y="275"/>
                    </a:lnTo>
                    <a:lnTo>
                      <a:pt x="529" y="280"/>
                    </a:lnTo>
                    <a:lnTo>
                      <a:pt x="533" y="282"/>
                    </a:lnTo>
                    <a:lnTo>
                      <a:pt x="537" y="286"/>
                    </a:lnTo>
                    <a:lnTo>
                      <a:pt x="537" y="286"/>
                    </a:lnTo>
                    <a:lnTo>
                      <a:pt x="539" y="293"/>
                    </a:lnTo>
                    <a:lnTo>
                      <a:pt x="540" y="301"/>
                    </a:lnTo>
                    <a:lnTo>
                      <a:pt x="541" y="320"/>
                    </a:lnTo>
                    <a:lnTo>
                      <a:pt x="542" y="329"/>
                    </a:lnTo>
                    <a:lnTo>
                      <a:pt x="545" y="337"/>
                    </a:lnTo>
                    <a:lnTo>
                      <a:pt x="549" y="343"/>
                    </a:lnTo>
                    <a:lnTo>
                      <a:pt x="552" y="346"/>
                    </a:lnTo>
                    <a:lnTo>
                      <a:pt x="555" y="349"/>
                    </a:lnTo>
                    <a:lnTo>
                      <a:pt x="555" y="349"/>
                    </a:lnTo>
                    <a:lnTo>
                      <a:pt x="555" y="357"/>
                    </a:lnTo>
                    <a:lnTo>
                      <a:pt x="555" y="35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3" name="Freeform 58"/>
              <p:cNvSpPr>
                <a:spLocks noChangeAspect="1"/>
              </p:cNvSpPr>
              <p:nvPr/>
            </p:nvSpPr>
            <p:spPr bwMode="auto">
              <a:xfrm>
                <a:off x="1395752" y="3215211"/>
                <a:ext cx="692693" cy="499578"/>
              </a:xfrm>
              <a:custGeom>
                <a:avLst/>
                <a:gdLst/>
                <a:ahLst/>
                <a:cxnLst>
                  <a:cxn ang="0">
                    <a:pos x="828" y="480"/>
                  </a:cxn>
                  <a:cxn ang="0">
                    <a:pos x="823" y="463"/>
                  </a:cxn>
                  <a:cxn ang="0">
                    <a:pos x="794" y="458"/>
                  </a:cxn>
                  <a:cxn ang="0">
                    <a:pos x="764" y="477"/>
                  </a:cxn>
                  <a:cxn ang="0">
                    <a:pos x="747" y="461"/>
                  </a:cxn>
                  <a:cxn ang="0">
                    <a:pos x="638" y="411"/>
                  </a:cxn>
                  <a:cxn ang="0">
                    <a:pos x="628" y="371"/>
                  </a:cxn>
                  <a:cxn ang="0">
                    <a:pos x="576" y="340"/>
                  </a:cxn>
                  <a:cxn ang="0">
                    <a:pos x="521" y="326"/>
                  </a:cxn>
                  <a:cxn ang="0">
                    <a:pos x="507" y="313"/>
                  </a:cxn>
                  <a:cxn ang="0">
                    <a:pos x="492" y="279"/>
                  </a:cxn>
                  <a:cxn ang="0">
                    <a:pos x="452" y="273"/>
                  </a:cxn>
                  <a:cxn ang="0">
                    <a:pos x="447" y="251"/>
                  </a:cxn>
                  <a:cxn ang="0">
                    <a:pos x="416" y="218"/>
                  </a:cxn>
                  <a:cxn ang="0">
                    <a:pos x="386" y="179"/>
                  </a:cxn>
                  <a:cxn ang="0">
                    <a:pos x="397" y="109"/>
                  </a:cxn>
                  <a:cxn ang="0">
                    <a:pos x="413" y="54"/>
                  </a:cxn>
                  <a:cxn ang="0">
                    <a:pos x="380" y="6"/>
                  </a:cxn>
                  <a:cxn ang="0">
                    <a:pos x="317" y="13"/>
                  </a:cxn>
                  <a:cxn ang="0">
                    <a:pos x="286" y="33"/>
                  </a:cxn>
                  <a:cxn ang="0">
                    <a:pos x="232" y="19"/>
                  </a:cxn>
                  <a:cxn ang="0">
                    <a:pos x="202" y="27"/>
                  </a:cxn>
                  <a:cxn ang="0">
                    <a:pos x="123" y="87"/>
                  </a:cxn>
                  <a:cxn ang="0">
                    <a:pos x="124" y="138"/>
                  </a:cxn>
                  <a:cxn ang="0">
                    <a:pos x="70" y="171"/>
                  </a:cxn>
                  <a:cxn ang="0">
                    <a:pos x="26" y="167"/>
                  </a:cxn>
                  <a:cxn ang="0">
                    <a:pos x="10" y="188"/>
                  </a:cxn>
                  <a:cxn ang="0">
                    <a:pos x="0" y="221"/>
                  </a:cxn>
                  <a:cxn ang="0">
                    <a:pos x="34" y="236"/>
                  </a:cxn>
                  <a:cxn ang="0">
                    <a:pos x="42" y="266"/>
                  </a:cxn>
                  <a:cxn ang="0">
                    <a:pos x="36" y="319"/>
                  </a:cxn>
                  <a:cxn ang="0">
                    <a:pos x="54" y="329"/>
                  </a:cxn>
                  <a:cxn ang="0">
                    <a:pos x="87" y="311"/>
                  </a:cxn>
                  <a:cxn ang="0">
                    <a:pos x="103" y="325"/>
                  </a:cxn>
                  <a:cxn ang="0">
                    <a:pos x="107" y="377"/>
                  </a:cxn>
                  <a:cxn ang="0">
                    <a:pos x="139" y="385"/>
                  </a:cxn>
                  <a:cxn ang="0">
                    <a:pos x="164" y="397"/>
                  </a:cxn>
                  <a:cxn ang="0">
                    <a:pos x="196" y="425"/>
                  </a:cxn>
                  <a:cxn ang="0">
                    <a:pos x="211" y="413"/>
                  </a:cxn>
                  <a:cxn ang="0">
                    <a:pos x="231" y="415"/>
                  </a:cxn>
                  <a:cxn ang="0">
                    <a:pos x="262" y="480"/>
                  </a:cxn>
                  <a:cxn ang="0">
                    <a:pos x="291" y="545"/>
                  </a:cxn>
                  <a:cxn ang="0">
                    <a:pos x="322" y="549"/>
                  </a:cxn>
                  <a:cxn ang="0">
                    <a:pos x="362" y="530"/>
                  </a:cxn>
                  <a:cxn ang="0">
                    <a:pos x="408" y="544"/>
                  </a:cxn>
                  <a:cxn ang="0">
                    <a:pos x="433" y="539"/>
                  </a:cxn>
                  <a:cxn ang="0">
                    <a:pos x="452" y="523"/>
                  </a:cxn>
                  <a:cxn ang="0">
                    <a:pos x="466" y="562"/>
                  </a:cxn>
                  <a:cxn ang="0">
                    <a:pos x="553" y="634"/>
                  </a:cxn>
                  <a:cxn ang="0">
                    <a:pos x="596" y="679"/>
                  </a:cxn>
                  <a:cxn ang="0">
                    <a:pos x="666" y="716"/>
                  </a:cxn>
                  <a:cxn ang="0">
                    <a:pos x="714" y="712"/>
                  </a:cxn>
                  <a:cxn ang="0">
                    <a:pos x="795" y="642"/>
                  </a:cxn>
                  <a:cxn ang="0">
                    <a:pos x="872" y="547"/>
                  </a:cxn>
                  <a:cxn ang="0">
                    <a:pos x="830" y="518"/>
                  </a:cxn>
                </a:cxnLst>
                <a:rect l="0" t="0" r="r" b="b"/>
                <a:pathLst>
                  <a:path w="874" h="717">
                    <a:moveTo>
                      <a:pt x="822" y="502"/>
                    </a:moveTo>
                    <a:lnTo>
                      <a:pt x="822" y="502"/>
                    </a:lnTo>
                    <a:lnTo>
                      <a:pt x="822" y="497"/>
                    </a:lnTo>
                    <a:lnTo>
                      <a:pt x="823" y="493"/>
                    </a:lnTo>
                    <a:lnTo>
                      <a:pt x="827" y="484"/>
                    </a:lnTo>
                    <a:lnTo>
                      <a:pt x="828" y="480"/>
                    </a:lnTo>
                    <a:lnTo>
                      <a:pt x="828" y="476"/>
                    </a:lnTo>
                    <a:lnTo>
                      <a:pt x="828" y="471"/>
                    </a:lnTo>
                    <a:lnTo>
                      <a:pt x="826" y="465"/>
                    </a:lnTo>
                    <a:lnTo>
                      <a:pt x="826" y="465"/>
                    </a:lnTo>
                    <a:lnTo>
                      <a:pt x="825" y="464"/>
                    </a:lnTo>
                    <a:lnTo>
                      <a:pt x="823" y="463"/>
                    </a:lnTo>
                    <a:lnTo>
                      <a:pt x="818" y="460"/>
                    </a:lnTo>
                    <a:lnTo>
                      <a:pt x="810" y="456"/>
                    </a:lnTo>
                    <a:lnTo>
                      <a:pt x="804" y="455"/>
                    </a:lnTo>
                    <a:lnTo>
                      <a:pt x="804" y="455"/>
                    </a:lnTo>
                    <a:lnTo>
                      <a:pt x="798" y="456"/>
                    </a:lnTo>
                    <a:lnTo>
                      <a:pt x="794" y="458"/>
                    </a:lnTo>
                    <a:lnTo>
                      <a:pt x="790" y="462"/>
                    </a:lnTo>
                    <a:lnTo>
                      <a:pt x="787" y="466"/>
                    </a:lnTo>
                    <a:lnTo>
                      <a:pt x="783" y="470"/>
                    </a:lnTo>
                    <a:lnTo>
                      <a:pt x="777" y="473"/>
                    </a:lnTo>
                    <a:lnTo>
                      <a:pt x="772" y="476"/>
                    </a:lnTo>
                    <a:lnTo>
                      <a:pt x="764" y="477"/>
                    </a:lnTo>
                    <a:lnTo>
                      <a:pt x="764" y="477"/>
                    </a:lnTo>
                    <a:lnTo>
                      <a:pt x="758" y="477"/>
                    </a:lnTo>
                    <a:lnTo>
                      <a:pt x="754" y="474"/>
                    </a:lnTo>
                    <a:lnTo>
                      <a:pt x="752" y="472"/>
                    </a:lnTo>
                    <a:lnTo>
                      <a:pt x="750" y="470"/>
                    </a:lnTo>
                    <a:lnTo>
                      <a:pt x="747" y="461"/>
                    </a:lnTo>
                    <a:lnTo>
                      <a:pt x="745" y="450"/>
                    </a:lnTo>
                    <a:lnTo>
                      <a:pt x="745" y="450"/>
                    </a:lnTo>
                    <a:lnTo>
                      <a:pt x="726" y="431"/>
                    </a:lnTo>
                    <a:lnTo>
                      <a:pt x="715" y="422"/>
                    </a:lnTo>
                    <a:lnTo>
                      <a:pt x="700" y="411"/>
                    </a:lnTo>
                    <a:lnTo>
                      <a:pt x="638" y="411"/>
                    </a:lnTo>
                    <a:lnTo>
                      <a:pt x="638" y="411"/>
                    </a:lnTo>
                    <a:lnTo>
                      <a:pt x="634" y="403"/>
                    </a:lnTo>
                    <a:lnTo>
                      <a:pt x="630" y="395"/>
                    </a:lnTo>
                    <a:lnTo>
                      <a:pt x="628" y="385"/>
                    </a:lnTo>
                    <a:lnTo>
                      <a:pt x="628" y="371"/>
                    </a:lnTo>
                    <a:lnTo>
                      <a:pt x="628" y="371"/>
                    </a:lnTo>
                    <a:lnTo>
                      <a:pt x="621" y="370"/>
                    </a:lnTo>
                    <a:lnTo>
                      <a:pt x="614" y="367"/>
                    </a:lnTo>
                    <a:lnTo>
                      <a:pt x="604" y="362"/>
                    </a:lnTo>
                    <a:lnTo>
                      <a:pt x="593" y="355"/>
                    </a:lnTo>
                    <a:lnTo>
                      <a:pt x="584" y="347"/>
                    </a:lnTo>
                    <a:lnTo>
                      <a:pt x="576" y="340"/>
                    </a:lnTo>
                    <a:lnTo>
                      <a:pt x="568" y="333"/>
                    </a:lnTo>
                    <a:lnTo>
                      <a:pt x="560" y="328"/>
                    </a:lnTo>
                    <a:lnTo>
                      <a:pt x="555" y="327"/>
                    </a:lnTo>
                    <a:lnTo>
                      <a:pt x="551" y="326"/>
                    </a:lnTo>
                    <a:lnTo>
                      <a:pt x="551" y="326"/>
                    </a:lnTo>
                    <a:lnTo>
                      <a:pt x="521" y="326"/>
                    </a:lnTo>
                    <a:lnTo>
                      <a:pt x="521" y="326"/>
                    </a:lnTo>
                    <a:lnTo>
                      <a:pt x="517" y="326"/>
                    </a:lnTo>
                    <a:lnTo>
                      <a:pt x="514" y="325"/>
                    </a:lnTo>
                    <a:lnTo>
                      <a:pt x="512" y="323"/>
                    </a:lnTo>
                    <a:lnTo>
                      <a:pt x="509" y="320"/>
                    </a:lnTo>
                    <a:lnTo>
                      <a:pt x="507" y="313"/>
                    </a:lnTo>
                    <a:lnTo>
                      <a:pt x="505" y="305"/>
                    </a:lnTo>
                    <a:lnTo>
                      <a:pt x="502" y="297"/>
                    </a:lnTo>
                    <a:lnTo>
                      <a:pt x="501" y="289"/>
                    </a:lnTo>
                    <a:lnTo>
                      <a:pt x="497" y="282"/>
                    </a:lnTo>
                    <a:lnTo>
                      <a:pt x="494" y="280"/>
                    </a:lnTo>
                    <a:lnTo>
                      <a:pt x="492" y="279"/>
                    </a:lnTo>
                    <a:lnTo>
                      <a:pt x="492" y="279"/>
                    </a:lnTo>
                    <a:lnTo>
                      <a:pt x="485" y="277"/>
                    </a:lnTo>
                    <a:lnTo>
                      <a:pt x="478" y="277"/>
                    </a:lnTo>
                    <a:lnTo>
                      <a:pt x="464" y="277"/>
                    </a:lnTo>
                    <a:lnTo>
                      <a:pt x="458" y="275"/>
                    </a:lnTo>
                    <a:lnTo>
                      <a:pt x="452" y="273"/>
                    </a:lnTo>
                    <a:lnTo>
                      <a:pt x="451" y="271"/>
                    </a:lnTo>
                    <a:lnTo>
                      <a:pt x="448" y="267"/>
                    </a:lnTo>
                    <a:lnTo>
                      <a:pt x="448" y="264"/>
                    </a:lnTo>
                    <a:lnTo>
                      <a:pt x="447" y="259"/>
                    </a:lnTo>
                    <a:lnTo>
                      <a:pt x="447" y="259"/>
                    </a:lnTo>
                    <a:lnTo>
                      <a:pt x="447" y="251"/>
                    </a:lnTo>
                    <a:lnTo>
                      <a:pt x="445" y="243"/>
                    </a:lnTo>
                    <a:lnTo>
                      <a:pt x="441" y="237"/>
                    </a:lnTo>
                    <a:lnTo>
                      <a:pt x="438" y="233"/>
                    </a:lnTo>
                    <a:lnTo>
                      <a:pt x="433" y="228"/>
                    </a:lnTo>
                    <a:lnTo>
                      <a:pt x="428" y="225"/>
                    </a:lnTo>
                    <a:lnTo>
                      <a:pt x="416" y="218"/>
                    </a:lnTo>
                    <a:lnTo>
                      <a:pt x="405" y="211"/>
                    </a:lnTo>
                    <a:lnTo>
                      <a:pt x="400" y="206"/>
                    </a:lnTo>
                    <a:lnTo>
                      <a:pt x="395" y="202"/>
                    </a:lnTo>
                    <a:lnTo>
                      <a:pt x="391" y="196"/>
                    </a:lnTo>
                    <a:lnTo>
                      <a:pt x="387" y="188"/>
                    </a:lnTo>
                    <a:lnTo>
                      <a:pt x="386" y="179"/>
                    </a:lnTo>
                    <a:lnTo>
                      <a:pt x="385" y="168"/>
                    </a:lnTo>
                    <a:lnTo>
                      <a:pt x="385" y="168"/>
                    </a:lnTo>
                    <a:lnTo>
                      <a:pt x="386" y="151"/>
                    </a:lnTo>
                    <a:lnTo>
                      <a:pt x="388" y="135"/>
                    </a:lnTo>
                    <a:lnTo>
                      <a:pt x="392" y="121"/>
                    </a:lnTo>
                    <a:lnTo>
                      <a:pt x="397" y="109"/>
                    </a:lnTo>
                    <a:lnTo>
                      <a:pt x="402" y="96"/>
                    </a:lnTo>
                    <a:lnTo>
                      <a:pt x="408" y="84"/>
                    </a:lnTo>
                    <a:lnTo>
                      <a:pt x="422" y="61"/>
                    </a:lnTo>
                    <a:lnTo>
                      <a:pt x="418" y="58"/>
                    </a:lnTo>
                    <a:lnTo>
                      <a:pt x="418" y="58"/>
                    </a:lnTo>
                    <a:lnTo>
                      <a:pt x="413" y="54"/>
                    </a:lnTo>
                    <a:lnTo>
                      <a:pt x="408" y="48"/>
                    </a:lnTo>
                    <a:lnTo>
                      <a:pt x="398" y="33"/>
                    </a:lnTo>
                    <a:lnTo>
                      <a:pt x="390" y="16"/>
                    </a:lnTo>
                    <a:lnTo>
                      <a:pt x="385" y="11"/>
                    </a:lnTo>
                    <a:lnTo>
                      <a:pt x="380" y="6"/>
                    </a:lnTo>
                    <a:lnTo>
                      <a:pt x="380" y="6"/>
                    </a:lnTo>
                    <a:lnTo>
                      <a:pt x="374" y="4"/>
                    </a:lnTo>
                    <a:lnTo>
                      <a:pt x="365" y="2"/>
                    </a:lnTo>
                    <a:lnTo>
                      <a:pt x="351" y="0"/>
                    </a:lnTo>
                    <a:lnTo>
                      <a:pt x="321" y="0"/>
                    </a:lnTo>
                    <a:lnTo>
                      <a:pt x="321" y="0"/>
                    </a:lnTo>
                    <a:lnTo>
                      <a:pt x="317" y="13"/>
                    </a:lnTo>
                    <a:lnTo>
                      <a:pt x="314" y="18"/>
                    </a:lnTo>
                    <a:lnTo>
                      <a:pt x="310" y="22"/>
                    </a:lnTo>
                    <a:lnTo>
                      <a:pt x="306" y="27"/>
                    </a:lnTo>
                    <a:lnTo>
                      <a:pt x="300" y="29"/>
                    </a:lnTo>
                    <a:lnTo>
                      <a:pt x="293" y="31"/>
                    </a:lnTo>
                    <a:lnTo>
                      <a:pt x="286" y="33"/>
                    </a:lnTo>
                    <a:lnTo>
                      <a:pt x="286" y="33"/>
                    </a:lnTo>
                    <a:lnTo>
                      <a:pt x="272" y="31"/>
                    </a:lnTo>
                    <a:lnTo>
                      <a:pt x="254" y="29"/>
                    </a:lnTo>
                    <a:lnTo>
                      <a:pt x="245" y="26"/>
                    </a:lnTo>
                    <a:lnTo>
                      <a:pt x="238" y="23"/>
                    </a:lnTo>
                    <a:lnTo>
                      <a:pt x="232" y="19"/>
                    </a:lnTo>
                    <a:lnTo>
                      <a:pt x="231" y="16"/>
                    </a:lnTo>
                    <a:lnTo>
                      <a:pt x="231" y="14"/>
                    </a:lnTo>
                    <a:lnTo>
                      <a:pt x="231" y="14"/>
                    </a:lnTo>
                    <a:lnTo>
                      <a:pt x="231" y="11"/>
                    </a:lnTo>
                    <a:lnTo>
                      <a:pt x="231" y="11"/>
                    </a:lnTo>
                    <a:lnTo>
                      <a:pt x="202" y="27"/>
                    </a:lnTo>
                    <a:lnTo>
                      <a:pt x="173" y="44"/>
                    </a:lnTo>
                    <a:lnTo>
                      <a:pt x="148" y="63"/>
                    </a:lnTo>
                    <a:lnTo>
                      <a:pt x="136" y="72"/>
                    </a:lnTo>
                    <a:lnTo>
                      <a:pt x="127" y="80"/>
                    </a:lnTo>
                    <a:lnTo>
                      <a:pt x="127" y="80"/>
                    </a:lnTo>
                    <a:lnTo>
                      <a:pt x="123" y="87"/>
                    </a:lnTo>
                    <a:lnTo>
                      <a:pt x="120" y="94"/>
                    </a:lnTo>
                    <a:lnTo>
                      <a:pt x="120" y="100"/>
                    </a:lnTo>
                    <a:lnTo>
                      <a:pt x="122" y="107"/>
                    </a:lnTo>
                    <a:lnTo>
                      <a:pt x="125" y="121"/>
                    </a:lnTo>
                    <a:lnTo>
                      <a:pt x="125" y="129"/>
                    </a:lnTo>
                    <a:lnTo>
                      <a:pt x="124" y="138"/>
                    </a:lnTo>
                    <a:lnTo>
                      <a:pt x="124" y="138"/>
                    </a:lnTo>
                    <a:lnTo>
                      <a:pt x="120" y="142"/>
                    </a:lnTo>
                    <a:lnTo>
                      <a:pt x="115" y="148"/>
                    </a:lnTo>
                    <a:lnTo>
                      <a:pt x="96" y="158"/>
                    </a:lnTo>
                    <a:lnTo>
                      <a:pt x="77" y="168"/>
                    </a:lnTo>
                    <a:lnTo>
                      <a:pt x="70" y="171"/>
                    </a:lnTo>
                    <a:lnTo>
                      <a:pt x="65" y="172"/>
                    </a:lnTo>
                    <a:lnTo>
                      <a:pt x="65" y="172"/>
                    </a:lnTo>
                    <a:lnTo>
                      <a:pt x="51" y="172"/>
                    </a:lnTo>
                    <a:lnTo>
                      <a:pt x="39" y="171"/>
                    </a:lnTo>
                    <a:lnTo>
                      <a:pt x="32" y="170"/>
                    </a:lnTo>
                    <a:lnTo>
                      <a:pt x="26" y="167"/>
                    </a:lnTo>
                    <a:lnTo>
                      <a:pt x="20" y="165"/>
                    </a:lnTo>
                    <a:lnTo>
                      <a:pt x="15" y="161"/>
                    </a:lnTo>
                    <a:lnTo>
                      <a:pt x="15" y="161"/>
                    </a:lnTo>
                    <a:lnTo>
                      <a:pt x="13" y="171"/>
                    </a:lnTo>
                    <a:lnTo>
                      <a:pt x="12" y="180"/>
                    </a:lnTo>
                    <a:lnTo>
                      <a:pt x="10" y="188"/>
                    </a:lnTo>
                    <a:lnTo>
                      <a:pt x="6" y="195"/>
                    </a:lnTo>
                    <a:lnTo>
                      <a:pt x="2" y="208"/>
                    </a:lnTo>
                    <a:lnTo>
                      <a:pt x="0" y="213"/>
                    </a:lnTo>
                    <a:lnTo>
                      <a:pt x="0" y="220"/>
                    </a:lnTo>
                    <a:lnTo>
                      <a:pt x="0" y="220"/>
                    </a:lnTo>
                    <a:lnTo>
                      <a:pt x="0" y="221"/>
                    </a:lnTo>
                    <a:lnTo>
                      <a:pt x="1" y="224"/>
                    </a:lnTo>
                    <a:lnTo>
                      <a:pt x="5" y="227"/>
                    </a:lnTo>
                    <a:lnTo>
                      <a:pt x="11" y="229"/>
                    </a:lnTo>
                    <a:lnTo>
                      <a:pt x="18" y="232"/>
                    </a:lnTo>
                    <a:lnTo>
                      <a:pt x="31" y="235"/>
                    </a:lnTo>
                    <a:lnTo>
                      <a:pt x="34" y="236"/>
                    </a:lnTo>
                    <a:lnTo>
                      <a:pt x="36" y="239"/>
                    </a:lnTo>
                    <a:lnTo>
                      <a:pt x="36" y="239"/>
                    </a:lnTo>
                    <a:lnTo>
                      <a:pt x="39" y="242"/>
                    </a:lnTo>
                    <a:lnTo>
                      <a:pt x="40" y="247"/>
                    </a:lnTo>
                    <a:lnTo>
                      <a:pt x="42" y="256"/>
                    </a:lnTo>
                    <a:lnTo>
                      <a:pt x="42" y="266"/>
                    </a:lnTo>
                    <a:lnTo>
                      <a:pt x="41" y="277"/>
                    </a:lnTo>
                    <a:lnTo>
                      <a:pt x="38" y="295"/>
                    </a:lnTo>
                    <a:lnTo>
                      <a:pt x="36" y="304"/>
                    </a:lnTo>
                    <a:lnTo>
                      <a:pt x="36" y="311"/>
                    </a:lnTo>
                    <a:lnTo>
                      <a:pt x="36" y="311"/>
                    </a:lnTo>
                    <a:lnTo>
                      <a:pt x="36" y="319"/>
                    </a:lnTo>
                    <a:lnTo>
                      <a:pt x="39" y="325"/>
                    </a:lnTo>
                    <a:lnTo>
                      <a:pt x="42" y="328"/>
                    </a:lnTo>
                    <a:lnTo>
                      <a:pt x="44" y="329"/>
                    </a:lnTo>
                    <a:lnTo>
                      <a:pt x="47" y="329"/>
                    </a:lnTo>
                    <a:lnTo>
                      <a:pt x="47" y="329"/>
                    </a:lnTo>
                    <a:lnTo>
                      <a:pt x="54" y="329"/>
                    </a:lnTo>
                    <a:lnTo>
                      <a:pt x="59" y="327"/>
                    </a:lnTo>
                    <a:lnTo>
                      <a:pt x="64" y="324"/>
                    </a:lnTo>
                    <a:lnTo>
                      <a:pt x="69" y="320"/>
                    </a:lnTo>
                    <a:lnTo>
                      <a:pt x="77" y="315"/>
                    </a:lnTo>
                    <a:lnTo>
                      <a:pt x="81" y="312"/>
                    </a:lnTo>
                    <a:lnTo>
                      <a:pt x="87" y="311"/>
                    </a:lnTo>
                    <a:lnTo>
                      <a:pt x="87" y="311"/>
                    </a:lnTo>
                    <a:lnTo>
                      <a:pt x="92" y="312"/>
                    </a:lnTo>
                    <a:lnTo>
                      <a:pt x="95" y="313"/>
                    </a:lnTo>
                    <a:lnTo>
                      <a:pt x="99" y="316"/>
                    </a:lnTo>
                    <a:lnTo>
                      <a:pt x="101" y="318"/>
                    </a:lnTo>
                    <a:lnTo>
                      <a:pt x="103" y="325"/>
                    </a:lnTo>
                    <a:lnTo>
                      <a:pt x="104" y="334"/>
                    </a:lnTo>
                    <a:lnTo>
                      <a:pt x="104" y="354"/>
                    </a:lnTo>
                    <a:lnTo>
                      <a:pt x="105" y="363"/>
                    </a:lnTo>
                    <a:lnTo>
                      <a:pt x="105" y="371"/>
                    </a:lnTo>
                    <a:lnTo>
                      <a:pt x="105" y="371"/>
                    </a:lnTo>
                    <a:lnTo>
                      <a:pt x="107" y="377"/>
                    </a:lnTo>
                    <a:lnTo>
                      <a:pt x="109" y="381"/>
                    </a:lnTo>
                    <a:lnTo>
                      <a:pt x="111" y="385"/>
                    </a:lnTo>
                    <a:lnTo>
                      <a:pt x="116" y="386"/>
                    </a:lnTo>
                    <a:lnTo>
                      <a:pt x="120" y="386"/>
                    </a:lnTo>
                    <a:lnTo>
                      <a:pt x="126" y="386"/>
                    </a:lnTo>
                    <a:lnTo>
                      <a:pt x="139" y="385"/>
                    </a:lnTo>
                    <a:lnTo>
                      <a:pt x="139" y="385"/>
                    </a:lnTo>
                    <a:lnTo>
                      <a:pt x="145" y="386"/>
                    </a:lnTo>
                    <a:lnTo>
                      <a:pt x="149" y="387"/>
                    </a:lnTo>
                    <a:lnTo>
                      <a:pt x="153" y="389"/>
                    </a:lnTo>
                    <a:lnTo>
                      <a:pt x="157" y="392"/>
                    </a:lnTo>
                    <a:lnTo>
                      <a:pt x="164" y="397"/>
                    </a:lnTo>
                    <a:lnTo>
                      <a:pt x="170" y="405"/>
                    </a:lnTo>
                    <a:lnTo>
                      <a:pt x="177" y="412"/>
                    </a:lnTo>
                    <a:lnTo>
                      <a:pt x="183" y="419"/>
                    </a:lnTo>
                    <a:lnTo>
                      <a:pt x="187" y="422"/>
                    </a:lnTo>
                    <a:lnTo>
                      <a:pt x="192" y="424"/>
                    </a:lnTo>
                    <a:lnTo>
                      <a:pt x="196" y="425"/>
                    </a:lnTo>
                    <a:lnTo>
                      <a:pt x="201" y="426"/>
                    </a:lnTo>
                    <a:lnTo>
                      <a:pt x="201" y="426"/>
                    </a:lnTo>
                    <a:lnTo>
                      <a:pt x="202" y="425"/>
                    </a:lnTo>
                    <a:lnTo>
                      <a:pt x="204" y="424"/>
                    </a:lnTo>
                    <a:lnTo>
                      <a:pt x="207" y="418"/>
                    </a:lnTo>
                    <a:lnTo>
                      <a:pt x="211" y="413"/>
                    </a:lnTo>
                    <a:lnTo>
                      <a:pt x="214" y="411"/>
                    </a:lnTo>
                    <a:lnTo>
                      <a:pt x="216" y="411"/>
                    </a:lnTo>
                    <a:lnTo>
                      <a:pt x="216" y="411"/>
                    </a:lnTo>
                    <a:lnTo>
                      <a:pt x="222" y="411"/>
                    </a:lnTo>
                    <a:lnTo>
                      <a:pt x="226" y="412"/>
                    </a:lnTo>
                    <a:lnTo>
                      <a:pt x="231" y="415"/>
                    </a:lnTo>
                    <a:lnTo>
                      <a:pt x="235" y="417"/>
                    </a:lnTo>
                    <a:lnTo>
                      <a:pt x="242" y="424"/>
                    </a:lnTo>
                    <a:lnTo>
                      <a:pt x="248" y="433"/>
                    </a:lnTo>
                    <a:lnTo>
                      <a:pt x="253" y="443"/>
                    </a:lnTo>
                    <a:lnTo>
                      <a:pt x="256" y="455"/>
                    </a:lnTo>
                    <a:lnTo>
                      <a:pt x="262" y="480"/>
                    </a:lnTo>
                    <a:lnTo>
                      <a:pt x="269" y="507"/>
                    </a:lnTo>
                    <a:lnTo>
                      <a:pt x="272" y="518"/>
                    </a:lnTo>
                    <a:lnTo>
                      <a:pt x="277" y="529"/>
                    </a:lnTo>
                    <a:lnTo>
                      <a:pt x="284" y="538"/>
                    </a:lnTo>
                    <a:lnTo>
                      <a:pt x="287" y="541"/>
                    </a:lnTo>
                    <a:lnTo>
                      <a:pt x="291" y="545"/>
                    </a:lnTo>
                    <a:lnTo>
                      <a:pt x="295" y="547"/>
                    </a:lnTo>
                    <a:lnTo>
                      <a:pt x="300" y="548"/>
                    </a:lnTo>
                    <a:lnTo>
                      <a:pt x="306" y="550"/>
                    </a:lnTo>
                    <a:lnTo>
                      <a:pt x="311" y="550"/>
                    </a:lnTo>
                    <a:lnTo>
                      <a:pt x="311" y="550"/>
                    </a:lnTo>
                    <a:lnTo>
                      <a:pt x="322" y="549"/>
                    </a:lnTo>
                    <a:lnTo>
                      <a:pt x="330" y="547"/>
                    </a:lnTo>
                    <a:lnTo>
                      <a:pt x="337" y="544"/>
                    </a:lnTo>
                    <a:lnTo>
                      <a:pt x="342" y="539"/>
                    </a:lnTo>
                    <a:lnTo>
                      <a:pt x="348" y="535"/>
                    </a:lnTo>
                    <a:lnTo>
                      <a:pt x="354" y="532"/>
                    </a:lnTo>
                    <a:lnTo>
                      <a:pt x="362" y="530"/>
                    </a:lnTo>
                    <a:lnTo>
                      <a:pt x="370" y="529"/>
                    </a:lnTo>
                    <a:lnTo>
                      <a:pt x="370" y="529"/>
                    </a:lnTo>
                    <a:lnTo>
                      <a:pt x="377" y="530"/>
                    </a:lnTo>
                    <a:lnTo>
                      <a:pt x="384" y="531"/>
                    </a:lnTo>
                    <a:lnTo>
                      <a:pt x="397" y="538"/>
                    </a:lnTo>
                    <a:lnTo>
                      <a:pt x="408" y="544"/>
                    </a:lnTo>
                    <a:lnTo>
                      <a:pt x="415" y="546"/>
                    </a:lnTo>
                    <a:lnTo>
                      <a:pt x="422" y="547"/>
                    </a:lnTo>
                    <a:lnTo>
                      <a:pt x="422" y="547"/>
                    </a:lnTo>
                    <a:lnTo>
                      <a:pt x="426" y="546"/>
                    </a:lnTo>
                    <a:lnTo>
                      <a:pt x="430" y="544"/>
                    </a:lnTo>
                    <a:lnTo>
                      <a:pt x="433" y="539"/>
                    </a:lnTo>
                    <a:lnTo>
                      <a:pt x="436" y="534"/>
                    </a:lnTo>
                    <a:lnTo>
                      <a:pt x="440" y="525"/>
                    </a:lnTo>
                    <a:lnTo>
                      <a:pt x="444" y="521"/>
                    </a:lnTo>
                    <a:lnTo>
                      <a:pt x="447" y="517"/>
                    </a:lnTo>
                    <a:lnTo>
                      <a:pt x="447" y="517"/>
                    </a:lnTo>
                    <a:lnTo>
                      <a:pt x="452" y="523"/>
                    </a:lnTo>
                    <a:lnTo>
                      <a:pt x="455" y="529"/>
                    </a:lnTo>
                    <a:lnTo>
                      <a:pt x="456" y="534"/>
                    </a:lnTo>
                    <a:lnTo>
                      <a:pt x="458" y="539"/>
                    </a:lnTo>
                    <a:lnTo>
                      <a:pt x="460" y="550"/>
                    </a:lnTo>
                    <a:lnTo>
                      <a:pt x="462" y="556"/>
                    </a:lnTo>
                    <a:lnTo>
                      <a:pt x="466" y="562"/>
                    </a:lnTo>
                    <a:lnTo>
                      <a:pt x="466" y="562"/>
                    </a:lnTo>
                    <a:lnTo>
                      <a:pt x="479" y="578"/>
                    </a:lnTo>
                    <a:lnTo>
                      <a:pt x="493" y="592"/>
                    </a:lnTo>
                    <a:lnTo>
                      <a:pt x="508" y="603"/>
                    </a:lnTo>
                    <a:lnTo>
                      <a:pt x="523" y="614"/>
                    </a:lnTo>
                    <a:lnTo>
                      <a:pt x="553" y="634"/>
                    </a:lnTo>
                    <a:lnTo>
                      <a:pt x="568" y="647"/>
                    </a:lnTo>
                    <a:lnTo>
                      <a:pt x="583" y="661"/>
                    </a:lnTo>
                    <a:lnTo>
                      <a:pt x="583" y="661"/>
                    </a:lnTo>
                    <a:lnTo>
                      <a:pt x="586" y="667"/>
                    </a:lnTo>
                    <a:lnTo>
                      <a:pt x="591" y="674"/>
                    </a:lnTo>
                    <a:lnTo>
                      <a:pt x="596" y="679"/>
                    </a:lnTo>
                    <a:lnTo>
                      <a:pt x="601" y="685"/>
                    </a:lnTo>
                    <a:lnTo>
                      <a:pt x="615" y="695"/>
                    </a:lnTo>
                    <a:lnTo>
                      <a:pt x="631" y="705"/>
                    </a:lnTo>
                    <a:lnTo>
                      <a:pt x="649" y="712"/>
                    </a:lnTo>
                    <a:lnTo>
                      <a:pt x="657" y="714"/>
                    </a:lnTo>
                    <a:lnTo>
                      <a:pt x="666" y="716"/>
                    </a:lnTo>
                    <a:lnTo>
                      <a:pt x="675" y="717"/>
                    </a:lnTo>
                    <a:lnTo>
                      <a:pt x="684" y="717"/>
                    </a:lnTo>
                    <a:lnTo>
                      <a:pt x="692" y="717"/>
                    </a:lnTo>
                    <a:lnTo>
                      <a:pt x="700" y="715"/>
                    </a:lnTo>
                    <a:lnTo>
                      <a:pt x="700" y="715"/>
                    </a:lnTo>
                    <a:lnTo>
                      <a:pt x="714" y="712"/>
                    </a:lnTo>
                    <a:lnTo>
                      <a:pt x="727" y="705"/>
                    </a:lnTo>
                    <a:lnTo>
                      <a:pt x="739" y="698"/>
                    </a:lnTo>
                    <a:lnTo>
                      <a:pt x="751" y="689"/>
                    </a:lnTo>
                    <a:lnTo>
                      <a:pt x="762" y="678"/>
                    </a:lnTo>
                    <a:lnTo>
                      <a:pt x="773" y="667"/>
                    </a:lnTo>
                    <a:lnTo>
                      <a:pt x="795" y="642"/>
                    </a:lnTo>
                    <a:lnTo>
                      <a:pt x="834" y="592"/>
                    </a:lnTo>
                    <a:lnTo>
                      <a:pt x="853" y="569"/>
                    </a:lnTo>
                    <a:lnTo>
                      <a:pt x="864" y="560"/>
                    </a:lnTo>
                    <a:lnTo>
                      <a:pt x="874" y="550"/>
                    </a:lnTo>
                    <a:lnTo>
                      <a:pt x="874" y="550"/>
                    </a:lnTo>
                    <a:lnTo>
                      <a:pt x="872" y="547"/>
                    </a:lnTo>
                    <a:lnTo>
                      <a:pt x="868" y="544"/>
                    </a:lnTo>
                    <a:lnTo>
                      <a:pt x="861" y="538"/>
                    </a:lnTo>
                    <a:lnTo>
                      <a:pt x="853" y="532"/>
                    </a:lnTo>
                    <a:lnTo>
                      <a:pt x="845" y="529"/>
                    </a:lnTo>
                    <a:lnTo>
                      <a:pt x="837" y="523"/>
                    </a:lnTo>
                    <a:lnTo>
                      <a:pt x="830" y="518"/>
                    </a:lnTo>
                    <a:lnTo>
                      <a:pt x="827" y="515"/>
                    </a:lnTo>
                    <a:lnTo>
                      <a:pt x="825" y="511"/>
                    </a:lnTo>
                    <a:lnTo>
                      <a:pt x="823" y="507"/>
                    </a:lnTo>
                    <a:lnTo>
                      <a:pt x="822" y="502"/>
                    </a:lnTo>
                    <a:lnTo>
                      <a:pt x="822" y="50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4" name="Freeform 59"/>
              <p:cNvSpPr>
                <a:spLocks noChangeAspect="1"/>
              </p:cNvSpPr>
              <p:nvPr/>
            </p:nvSpPr>
            <p:spPr bwMode="auto">
              <a:xfrm>
                <a:off x="3399329" y="4577569"/>
                <a:ext cx="668916" cy="449481"/>
              </a:xfrm>
              <a:custGeom>
                <a:avLst/>
                <a:gdLst/>
                <a:ahLst/>
                <a:cxnLst>
                  <a:cxn ang="0">
                    <a:pos x="162" y="25"/>
                  </a:cxn>
                  <a:cxn ang="0">
                    <a:pos x="139" y="83"/>
                  </a:cxn>
                  <a:cxn ang="0">
                    <a:pos x="130" y="116"/>
                  </a:cxn>
                  <a:cxn ang="0">
                    <a:pos x="140" y="136"/>
                  </a:cxn>
                  <a:cxn ang="0">
                    <a:pos x="125" y="159"/>
                  </a:cxn>
                  <a:cxn ang="0">
                    <a:pos x="73" y="164"/>
                  </a:cxn>
                  <a:cxn ang="0">
                    <a:pos x="55" y="214"/>
                  </a:cxn>
                  <a:cxn ang="0">
                    <a:pos x="31" y="262"/>
                  </a:cxn>
                  <a:cxn ang="0">
                    <a:pos x="27" y="302"/>
                  </a:cxn>
                  <a:cxn ang="0">
                    <a:pos x="54" y="369"/>
                  </a:cxn>
                  <a:cxn ang="0">
                    <a:pos x="49" y="393"/>
                  </a:cxn>
                  <a:cxn ang="0">
                    <a:pos x="32" y="422"/>
                  </a:cxn>
                  <a:cxn ang="0">
                    <a:pos x="0" y="459"/>
                  </a:cxn>
                  <a:cxn ang="0">
                    <a:pos x="71" y="439"/>
                  </a:cxn>
                  <a:cxn ang="0">
                    <a:pos x="140" y="432"/>
                  </a:cxn>
                  <a:cxn ang="0">
                    <a:pos x="118" y="465"/>
                  </a:cxn>
                  <a:cxn ang="0">
                    <a:pos x="103" y="491"/>
                  </a:cxn>
                  <a:cxn ang="0">
                    <a:pos x="183" y="588"/>
                  </a:cxn>
                  <a:cxn ang="0">
                    <a:pos x="199" y="602"/>
                  </a:cxn>
                  <a:cxn ang="0">
                    <a:pos x="222" y="580"/>
                  </a:cxn>
                  <a:cxn ang="0">
                    <a:pos x="252" y="592"/>
                  </a:cxn>
                  <a:cxn ang="0">
                    <a:pos x="279" y="583"/>
                  </a:cxn>
                  <a:cxn ang="0">
                    <a:pos x="361" y="579"/>
                  </a:cxn>
                  <a:cxn ang="0">
                    <a:pos x="434" y="530"/>
                  </a:cxn>
                  <a:cxn ang="0">
                    <a:pos x="489" y="514"/>
                  </a:cxn>
                  <a:cxn ang="0">
                    <a:pos x="514" y="528"/>
                  </a:cxn>
                  <a:cxn ang="0">
                    <a:pos x="547" y="565"/>
                  </a:cxn>
                  <a:cxn ang="0">
                    <a:pos x="554" y="605"/>
                  </a:cxn>
                  <a:cxn ang="0">
                    <a:pos x="604" y="645"/>
                  </a:cxn>
                  <a:cxn ang="0">
                    <a:pos x="628" y="634"/>
                  </a:cxn>
                  <a:cxn ang="0">
                    <a:pos x="661" y="572"/>
                  </a:cxn>
                  <a:cxn ang="0">
                    <a:pos x="713" y="559"/>
                  </a:cxn>
                  <a:cxn ang="0">
                    <a:pos x="749" y="553"/>
                  </a:cxn>
                  <a:cxn ang="0">
                    <a:pos x="798" y="557"/>
                  </a:cxn>
                  <a:cxn ang="0">
                    <a:pos x="824" y="524"/>
                  </a:cxn>
                  <a:cxn ang="0">
                    <a:pos x="832" y="489"/>
                  </a:cxn>
                  <a:cxn ang="0">
                    <a:pos x="840" y="463"/>
                  </a:cxn>
                  <a:cxn ang="0">
                    <a:pos x="831" y="412"/>
                  </a:cxn>
                  <a:cxn ang="0">
                    <a:pos x="820" y="355"/>
                  </a:cxn>
                  <a:cxn ang="0">
                    <a:pos x="809" y="268"/>
                  </a:cxn>
                  <a:cxn ang="0">
                    <a:pos x="767" y="282"/>
                  </a:cxn>
                  <a:cxn ang="0">
                    <a:pos x="734" y="314"/>
                  </a:cxn>
                  <a:cxn ang="0">
                    <a:pos x="710" y="327"/>
                  </a:cxn>
                  <a:cxn ang="0">
                    <a:pos x="717" y="279"/>
                  </a:cxn>
                  <a:cxn ang="0">
                    <a:pos x="698" y="249"/>
                  </a:cxn>
                  <a:cxn ang="0">
                    <a:pos x="709" y="221"/>
                  </a:cxn>
                  <a:cxn ang="0">
                    <a:pos x="704" y="198"/>
                  </a:cxn>
                  <a:cxn ang="0">
                    <a:pos x="674" y="197"/>
                  </a:cxn>
                  <a:cxn ang="0">
                    <a:pos x="617" y="211"/>
                  </a:cxn>
                  <a:cxn ang="0">
                    <a:pos x="541" y="175"/>
                  </a:cxn>
                  <a:cxn ang="0">
                    <a:pos x="469" y="170"/>
                  </a:cxn>
                  <a:cxn ang="0">
                    <a:pos x="449" y="139"/>
                  </a:cxn>
                  <a:cxn ang="0">
                    <a:pos x="428" y="94"/>
                  </a:cxn>
                  <a:cxn ang="0">
                    <a:pos x="337" y="48"/>
                  </a:cxn>
                  <a:cxn ang="0">
                    <a:pos x="226" y="25"/>
                  </a:cxn>
                  <a:cxn ang="0">
                    <a:pos x="159" y="0"/>
                  </a:cxn>
                </a:cxnLst>
                <a:rect l="0" t="0" r="r" b="b"/>
                <a:pathLst>
                  <a:path w="842" h="645">
                    <a:moveTo>
                      <a:pt x="159" y="0"/>
                    </a:moveTo>
                    <a:lnTo>
                      <a:pt x="159" y="0"/>
                    </a:lnTo>
                    <a:lnTo>
                      <a:pt x="161" y="5"/>
                    </a:lnTo>
                    <a:lnTo>
                      <a:pt x="162" y="11"/>
                    </a:lnTo>
                    <a:lnTo>
                      <a:pt x="162" y="25"/>
                    </a:lnTo>
                    <a:lnTo>
                      <a:pt x="162" y="25"/>
                    </a:lnTo>
                    <a:lnTo>
                      <a:pt x="162" y="32"/>
                    </a:lnTo>
                    <a:lnTo>
                      <a:pt x="161" y="39"/>
                    </a:lnTo>
                    <a:lnTo>
                      <a:pt x="157" y="52"/>
                    </a:lnTo>
                    <a:lnTo>
                      <a:pt x="152" y="63"/>
                    </a:lnTo>
                    <a:lnTo>
                      <a:pt x="146" y="73"/>
                    </a:lnTo>
                    <a:lnTo>
                      <a:pt x="139" y="83"/>
                    </a:lnTo>
                    <a:lnTo>
                      <a:pt x="134" y="93"/>
                    </a:lnTo>
                    <a:lnTo>
                      <a:pt x="131" y="103"/>
                    </a:lnTo>
                    <a:lnTo>
                      <a:pt x="130" y="108"/>
                    </a:lnTo>
                    <a:lnTo>
                      <a:pt x="129" y="114"/>
                    </a:lnTo>
                    <a:lnTo>
                      <a:pt x="129" y="114"/>
                    </a:lnTo>
                    <a:lnTo>
                      <a:pt x="130" y="116"/>
                    </a:lnTo>
                    <a:lnTo>
                      <a:pt x="131" y="118"/>
                    </a:lnTo>
                    <a:lnTo>
                      <a:pt x="134" y="123"/>
                    </a:lnTo>
                    <a:lnTo>
                      <a:pt x="139" y="127"/>
                    </a:lnTo>
                    <a:lnTo>
                      <a:pt x="140" y="131"/>
                    </a:lnTo>
                    <a:lnTo>
                      <a:pt x="140" y="136"/>
                    </a:lnTo>
                    <a:lnTo>
                      <a:pt x="140" y="136"/>
                    </a:lnTo>
                    <a:lnTo>
                      <a:pt x="140" y="142"/>
                    </a:lnTo>
                    <a:lnTo>
                      <a:pt x="138" y="147"/>
                    </a:lnTo>
                    <a:lnTo>
                      <a:pt x="136" y="152"/>
                    </a:lnTo>
                    <a:lnTo>
                      <a:pt x="133" y="155"/>
                    </a:lnTo>
                    <a:lnTo>
                      <a:pt x="130" y="157"/>
                    </a:lnTo>
                    <a:lnTo>
                      <a:pt x="125" y="159"/>
                    </a:lnTo>
                    <a:lnTo>
                      <a:pt x="116" y="160"/>
                    </a:lnTo>
                    <a:lnTo>
                      <a:pt x="94" y="160"/>
                    </a:lnTo>
                    <a:lnTo>
                      <a:pt x="83" y="161"/>
                    </a:lnTo>
                    <a:lnTo>
                      <a:pt x="78" y="162"/>
                    </a:lnTo>
                    <a:lnTo>
                      <a:pt x="73" y="164"/>
                    </a:lnTo>
                    <a:lnTo>
                      <a:pt x="73" y="164"/>
                    </a:lnTo>
                    <a:lnTo>
                      <a:pt x="70" y="168"/>
                    </a:lnTo>
                    <a:lnTo>
                      <a:pt x="67" y="171"/>
                    </a:lnTo>
                    <a:lnTo>
                      <a:pt x="61" y="179"/>
                    </a:lnTo>
                    <a:lnTo>
                      <a:pt x="58" y="187"/>
                    </a:lnTo>
                    <a:lnTo>
                      <a:pt x="57" y="197"/>
                    </a:lnTo>
                    <a:lnTo>
                      <a:pt x="55" y="214"/>
                    </a:lnTo>
                    <a:lnTo>
                      <a:pt x="53" y="223"/>
                    </a:lnTo>
                    <a:lnTo>
                      <a:pt x="48" y="231"/>
                    </a:lnTo>
                    <a:lnTo>
                      <a:pt x="48" y="231"/>
                    </a:lnTo>
                    <a:lnTo>
                      <a:pt x="40" y="243"/>
                    </a:lnTo>
                    <a:lnTo>
                      <a:pt x="33" y="255"/>
                    </a:lnTo>
                    <a:lnTo>
                      <a:pt x="31" y="262"/>
                    </a:lnTo>
                    <a:lnTo>
                      <a:pt x="29" y="270"/>
                    </a:lnTo>
                    <a:lnTo>
                      <a:pt x="26" y="277"/>
                    </a:lnTo>
                    <a:lnTo>
                      <a:pt x="26" y="285"/>
                    </a:lnTo>
                    <a:lnTo>
                      <a:pt x="26" y="285"/>
                    </a:lnTo>
                    <a:lnTo>
                      <a:pt x="26" y="294"/>
                    </a:lnTo>
                    <a:lnTo>
                      <a:pt x="27" y="302"/>
                    </a:lnTo>
                    <a:lnTo>
                      <a:pt x="31" y="316"/>
                    </a:lnTo>
                    <a:lnTo>
                      <a:pt x="35" y="328"/>
                    </a:lnTo>
                    <a:lnTo>
                      <a:pt x="41" y="338"/>
                    </a:lnTo>
                    <a:lnTo>
                      <a:pt x="46" y="347"/>
                    </a:lnTo>
                    <a:lnTo>
                      <a:pt x="52" y="358"/>
                    </a:lnTo>
                    <a:lnTo>
                      <a:pt x="54" y="369"/>
                    </a:lnTo>
                    <a:lnTo>
                      <a:pt x="56" y="382"/>
                    </a:lnTo>
                    <a:lnTo>
                      <a:pt x="56" y="382"/>
                    </a:lnTo>
                    <a:lnTo>
                      <a:pt x="55" y="386"/>
                    </a:lnTo>
                    <a:lnTo>
                      <a:pt x="54" y="390"/>
                    </a:lnTo>
                    <a:lnTo>
                      <a:pt x="52" y="392"/>
                    </a:lnTo>
                    <a:lnTo>
                      <a:pt x="49" y="393"/>
                    </a:lnTo>
                    <a:lnTo>
                      <a:pt x="45" y="396"/>
                    </a:lnTo>
                    <a:lnTo>
                      <a:pt x="42" y="398"/>
                    </a:lnTo>
                    <a:lnTo>
                      <a:pt x="41" y="400"/>
                    </a:lnTo>
                    <a:lnTo>
                      <a:pt x="41" y="400"/>
                    </a:lnTo>
                    <a:lnTo>
                      <a:pt x="37" y="412"/>
                    </a:lnTo>
                    <a:lnTo>
                      <a:pt x="32" y="422"/>
                    </a:lnTo>
                    <a:lnTo>
                      <a:pt x="27" y="431"/>
                    </a:lnTo>
                    <a:lnTo>
                      <a:pt x="22" y="439"/>
                    </a:lnTo>
                    <a:lnTo>
                      <a:pt x="17" y="445"/>
                    </a:lnTo>
                    <a:lnTo>
                      <a:pt x="11" y="451"/>
                    </a:lnTo>
                    <a:lnTo>
                      <a:pt x="6" y="455"/>
                    </a:lnTo>
                    <a:lnTo>
                      <a:pt x="0" y="459"/>
                    </a:lnTo>
                    <a:lnTo>
                      <a:pt x="0" y="459"/>
                    </a:lnTo>
                    <a:lnTo>
                      <a:pt x="17" y="457"/>
                    </a:lnTo>
                    <a:lnTo>
                      <a:pt x="32" y="453"/>
                    </a:lnTo>
                    <a:lnTo>
                      <a:pt x="46" y="449"/>
                    </a:lnTo>
                    <a:lnTo>
                      <a:pt x="58" y="444"/>
                    </a:lnTo>
                    <a:lnTo>
                      <a:pt x="71" y="439"/>
                    </a:lnTo>
                    <a:lnTo>
                      <a:pt x="85" y="436"/>
                    </a:lnTo>
                    <a:lnTo>
                      <a:pt x="99" y="434"/>
                    </a:lnTo>
                    <a:lnTo>
                      <a:pt x="115" y="432"/>
                    </a:lnTo>
                    <a:lnTo>
                      <a:pt x="115" y="432"/>
                    </a:lnTo>
                    <a:lnTo>
                      <a:pt x="140" y="432"/>
                    </a:lnTo>
                    <a:lnTo>
                      <a:pt x="140" y="432"/>
                    </a:lnTo>
                    <a:lnTo>
                      <a:pt x="140" y="442"/>
                    </a:lnTo>
                    <a:lnTo>
                      <a:pt x="138" y="449"/>
                    </a:lnTo>
                    <a:lnTo>
                      <a:pt x="134" y="454"/>
                    </a:lnTo>
                    <a:lnTo>
                      <a:pt x="130" y="459"/>
                    </a:lnTo>
                    <a:lnTo>
                      <a:pt x="125" y="462"/>
                    </a:lnTo>
                    <a:lnTo>
                      <a:pt x="118" y="465"/>
                    </a:lnTo>
                    <a:lnTo>
                      <a:pt x="111" y="466"/>
                    </a:lnTo>
                    <a:lnTo>
                      <a:pt x="103" y="466"/>
                    </a:lnTo>
                    <a:lnTo>
                      <a:pt x="103" y="466"/>
                    </a:lnTo>
                    <a:lnTo>
                      <a:pt x="103" y="491"/>
                    </a:lnTo>
                    <a:lnTo>
                      <a:pt x="103" y="491"/>
                    </a:lnTo>
                    <a:lnTo>
                      <a:pt x="103" y="491"/>
                    </a:lnTo>
                    <a:lnTo>
                      <a:pt x="115" y="506"/>
                    </a:lnTo>
                    <a:lnTo>
                      <a:pt x="126" y="520"/>
                    </a:lnTo>
                    <a:lnTo>
                      <a:pt x="151" y="545"/>
                    </a:lnTo>
                    <a:lnTo>
                      <a:pt x="162" y="559"/>
                    </a:lnTo>
                    <a:lnTo>
                      <a:pt x="172" y="573"/>
                    </a:lnTo>
                    <a:lnTo>
                      <a:pt x="183" y="588"/>
                    </a:lnTo>
                    <a:lnTo>
                      <a:pt x="192" y="605"/>
                    </a:lnTo>
                    <a:lnTo>
                      <a:pt x="192" y="605"/>
                    </a:lnTo>
                    <a:lnTo>
                      <a:pt x="192" y="605"/>
                    </a:lnTo>
                    <a:lnTo>
                      <a:pt x="192" y="605"/>
                    </a:lnTo>
                    <a:lnTo>
                      <a:pt x="192" y="605"/>
                    </a:lnTo>
                    <a:lnTo>
                      <a:pt x="199" y="602"/>
                    </a:lnTo>
                    <a:lnTo>
                      <a:pt x="203" y="597"/>
                    </a:lnTo>
                    <a:lnTo>
                      <a:pt x="208" y="593"/>
                    </a:lnTo>
                    <a:lnTo>
                      <a:pt x="211" y="589"/>
                    </a:lnTo>
                    <a:lnTo>
                      <a:pt x="214" y="585"/>
                    </a:lnTo>
                    <a:lnTo>
                      <a:pt x="218" y="582"/>
                    </a:lnTo>
                    <a:lnTo>
                      <a:pt x="222" y="580"/>
                    </a:lnTo>
                    <a:lnTo>
                      <a:pt x="229" y="579"/>
                    </a:lnTo>
                    <a:lnTo>
                      <a:pt x="229" y="579"/>
                    </a:lnTo>
                    <a:lnTo>
                      <a:pt x="232" y="580"/>
                    </a:lnTo>
                    <a:lnTo>
                      <a:pt x="237" y="581"/>
                    </a:lnTo>
                    <a:lnTo>
                      <a:pt x="244" y="587"/>
                    </a:lnTo>
                    <a:lnTo>
                      <a:pt x="252" y="592"/>
                    </a:lnTo>
                    <a:lnTo>
                      <a:pt x="258" y="597"/>
                    </a:lnTo>
                    <a:lnTo>
                      <a:pt x="258" y="597"/>
                    </a:lnTo>
                    <a:lnTo>
                      <a:pt x="263" y="592"/>
                    </a:lnTo>
                    <a:lnTo>
                      <a:pt x="268" y="588"/>
                    </a:lnTo>
                    <a:lnTo>
                      <a:pt x="274" y="585"/>
                    </a:lnTo>
                    <a:lnTo>
                      <a:pt x="279" y="583"/>
                    </a:lnTo>
                    <a:lnTo>
                      <a:pt x="292" y="581"/>
                    </a:lnTo>
                    <a:lnTo>
                      <a:pt x="305" y="580"/>
                    </a:lnTo>
                    <a:lnTo>
                      <a:pt x="332" y="581"/>
                    </a:lnTo>
                    <a:lnTo>
                      <a:pt x="347" y="581"/>
                    </a:lnTo>
                    <a:lnTo>
                      <a:pt x="361" y="579"/>
                    </a:lnTo>
                    <a:lnTo>
                      <a:pt x="361" y="579"/>
                    </a:lnTo>
                    <a:lnTo>
                      <a:pt x="369" y="576"/>
                    </a:lnTo>
                    <a:lnTo>
                      <a:pt x="377" y="572"/>
                    </a:lnTo>
                    <a:lnTo>
                      <a:pt x="392" y="562"/>
                    </a:lnTo>
                    <a:lnTo>
                      <a:pt x="406" y="552"/>
                    </a:lnTo>
                    <a:lnTo>
                      <a:pt x="420" y="541"/>
                    </a:lnTo>
                    <a:lnTo>
                      <a:pt x="434" y="530"/>
                    </a:lnTo>
                    <a:lnTo>
                      <a:pt x="442" y="526"/>
                    </a:lnTo>
                    <a:lnTo>
                      <a:pt x="450" y="522"/>
                    </a:lnTo>
                    <a:lnTo>
                      <a:pt x="458" y="519"/>
                    </a:lnTo>
                    <a:lnTo>
                      <a:pt x="467" y="516"/>
                    </a:lnTo>
                    <a:lnTo>
                      <a:pt x="477" y="514"/>
                    </a:lnTo>
                    <a:lnTo>
                      <a:pt x="489" y="514"/>
                    </a:lnTo>
                    <a:lnTo>
                      <a:pt x="489" y="514"/>
                    </a:lnTo>
                    <a:lnTo>
                      <a:pt x="495" y="514"/>
                    </a:lnTo>
                    <a:lnTo>
                      <a:pt x="499" y="515"/>
                    </a:lnTo>
                    <a:lnTo>
                      <a:pt x="503" y="518"/>
                    </a:lnTo>
                    <a:lnTo>
                      <a:pt x="507" y="521"/>
                    </a:lnTo>
                    <a:lnTo>
                      <a:pt x="514" y="528"/>
                    </a:lnTo>
                    <a:lnTo>
                      <a:pt x="520" y="536"/>
                    </a:lnTo>
                    <a:lnTo>
                      <a:pt x="526" y="545"/>
                    </a:lnTo>
                    <a:lnTo>
                      <a:pt x="533" y="553"/>
                    </a:lnTo>
                    <a:lnTo>
                      <a:pt x="539" y="560"/>
                    </a:lnTo>
                    <a:lnTo>
                      <a:pt x="543" y="562"/>
                    </a:lnTo>
                    <a:lnTo>
                      <a:pt x="547" y="565"/>
                    </a:lnTo>
                    <a:lnTo>
                      <a:pt x="547" y="565"/>
                    </a:lnTo>
                    <a:lnTo>
                      <a:pt x="547" y="590"/>
                    </a:lnTo>
                    <a:lnTo>
                      <a:pt x="547" y="590"/>
                    </a:lnTo>
                    <a:lnTo>
                      <a:pt x="549" y="593"/>
                    </a:lnTo>
                    <a:lnTo>
                      <a:pt x="550" y="597"/>
                    </a:lnTo>
                    <a:lnTo>
                      <a:pt x="554" y="605"/>
                    </a:lnTo>
                    <a:lnTo>
                      <a:pt x="562" y="614"/>
                    </a:lnTo>
                    <a:lnTo>
                      <a:pt x="572" y="623"/>
                    </a:lnTo>
                    <a:lnTo>
                      <a:pt x="582" y="631"/>
                    </a:lnTo>
                    <a:lnTo>
                      <a:pt x="591" y="638"/>
                    </a:lnTo>
                    <a:lnTo>
                      <a:pt x="599" y="644"/>
                    </a:lnTo>
                    <a:lnTo>
                      <a:pt x="604" y="645"/>
                    </a:lnTo>
                    <a:lnTo>
                      <a:pt x="606" y="645"/>
                    </a:lnTo>
                    <a:lnTo>
                      <a:pt x="606" y="645"/>
                    </a:lnTo>
                    <a:lnTo>
                      <a:pt x="612" y="644"/>
                    </a:lnTo>
                    <a:lnTo>
                      <a:pt x="618" y="642"/>
                    </a:lnTo>
                    <a:lnTo>
                      <a:pt x="622" y="638"/>
                    </a:lnTo>
                    <a:lnTo>
                      <a:pt x="628" y="634"/>
                    </a:lnTo>
                    <a:lnTo>
                      <a:pt x="637" y="622"/>
                    </a:lnTo>
                    <a:lnTo>
                      <a:pt x="645" y="608"/>
                    </a:lnTo>
                    <a:lnTo>
                      <a:pt x="652" y="595"/>
                    </a:lnTo>
                    <a:lnTo>
                      <a:pt x="657" y="583"/>
                    </a:lnTo>
                    <a:lnTo>
                      <a:pt x="661" y="572"/>
                    </a:lnTo>
                    <a:lnTo>
                      <a:pt x="661" y="572"/>
                    </a:lnTo>
                    <a:lnTo>
                      <a:pt x="698" y="572"/>
                    </a:lnTo>
                    <a:lnTo>
                      <a:pt x="698" y="572"/>
                    </a:lnTo>
                    <a:lnTo>
                      <a:pt x="701" y="572"/>
                    </a:lnTo>
                    <a:lnTo>
                      <a:pt x="704" y="569"/>
                    </a:lnTo>
                    <a:lnTo>
                      <a:pt x="709" y="565"/>
                    </a:lnTo>
                    <a:lnTo>
                      <a:pt x="713" y="559"/>
                    </a:lnTo>
                    <a:lnTo>
                      <a:pt x="716" y="558"/>
                    </a:lnTo>
                    <a:lnTo>
                      <a:pt x="717" y="557"/>
                    </a:lnTo>
                    <a:lnTo>
                      <a:pt x="717" y="557"/>
                    </a:lnTo>
                    <a:lnTo>
                      <a:pt x="728" y="554"/>
                    </a:lnTo>
                    <a:lnTo>
                      <a:pt x="739" y="553"/>
                    </a:lnTo>
                    <a:lnTo>
                      <a:pt x="749" y="553"/>
                    </a:lnTo>
                    <a:lnTo>
                      <a:pt x="758" y="554"/>
                    </a:lnTo>
                    <a:lnTo>
                      <a:pt x="776" y="557"/>
                    </a:lnTo>
                    <a:lnTo>
                      <a:pt x="786" y="558"/>
                    </a:lnTo>
                    <a:lnTo>
                      <a:pt x="794" y="557"/>
                    </a:lnTo>
                    <a:lnTo>
                      <a:pt x="794" y="557"/>
                    </a:lnTo>
                    <a:lnTo>
                      <a:pt x="798" y="557"/>
                    </a:lnTo>
                    <a:lnTo>
                      <a:pt x="803" y="554"/>
                    </a:lnTo>
                    <a:lnTo>
                      <a:pt x="809" y="550"/>
                    </a:lnTo>
                    <a:lnTo>
                      <a:pt x="812" y="544"/>
                    </a:lnTo>
                    <a:lnTo>
                      <a:pt x="816" y="538"/>
                    </a:lnTo>
                    <a:lnTo>
                      <a:pt x="820" y="531"/>
                    </a:lnTo>
                    <a:lnTo>
                      <a:pt x="824" y="524"/>
                    </a:lnTo>
                    <a:lnTo>
                      <a:pt x="829" y="519"/>
                    </a:lnTo>
                    <a:lnTo>
                      <a:pt x="834" y="516"/>
                    </a:lnTo>
                    <a:lnTo>
                      <a:pt x="839" y="514"/>
                    </a:lnTo>
                    <a:lnTo>
                      <a:pt x="839" y="514"/>
                    </a:lnTo>
                    <a:lnTo>
                      <a:pt x="833" y="497"/>
                    </a:lnTo>
                    <a:lnTo>
                      <a:pt x="832" y="489"/>
                    </a:lnTo>
                    <a:lnTo>
                      <a:pt x="831" y="481"/>
                    </a:lnTo>
                    <a:lnTo>
                      <a:pt x="831" y="481"/>
                    </a:lnTo>
                    <a:lnTo>
                      <a:pt x="831" y="477"/>
                    </a:lnTo>
                    <a:lnTo>
                      <a:pt x="832" y="474"/>
                    </a:lnTo>
                    <a:lnTo>
                      <a:pt x="836" y="469"/>
                    </a:lnTo>
                    <a:lnTo>
                      <a:pt x="840" y="463"/>
                    </a:lnTo>
                    <a:lnTo>
                      <a:pt x="841" y="460"/>
                    </a:lnTo>
                    <a:lnTo>
                      <a:pt x="842" y="455"/>
                    </a:lnTo>
                    <a:lnTo>
                      <a:pt x="842" y="455"/>
                    </a:lnTo>
                    <a:lnTo>
                      <a:pt x="841" y="445"/>
                    </a:lnTo>
                    <a:lnTo>
                      <a:pt x="839" y="434"/>
                    </a:lnTo>
                    <a:lnTo>
                      <a:pt x="831" y="412"/>
                    </a:lnTo>
                    <a:lnTo>
                      <a:pt x="824" y="391"/>
                    </a:lnTo>
                    <a:lnTo>
                      <a:pt x="821" y="382"/>
                    </a:lnTo>
                    <a:lnTo>
                      <a:pt x="820" y="374"/>
                    </a:lnTo>
                    <a:lnTo>
                      <a:pt x="820" y="374"/>
                    </a:lnTo>
                    <a:lnTo>
                      <a:pt x="820" y="355"/>
                    </a:lnTo>
                    <a:lnTo>
                      <a:pt x="820" y="355"/>
                    </a:lnTo>
                    <a:lnTo>
                      <a:pt x="819" y="341"/>
                    </a:lnTo>
                    <a:lnTo>
                      <a:pt x="817" y="329"/>
                    </a:lnTo>
                    <a:lnTo>
                      <a:pt x="813" y="318"/>
                    </a:lnTo>
                    <a:lnTo>
                      <a:pt x="809" y="308"/>
                    </a:lnTo>
                    <a:lnTo>
                      <a:pt x="809" y="308"/>
                    </a:lnTo>
                    <a:lnTo>
                      <a:pt x="809" y="268"/>
                    </a:lnTo>
                    <a:lnTo>
                      <a:pt x="809" y="275"/>
                    </a:lnTo>
                    <a:lnTo>
                      <a:pt x="809" y="275"/>
                    </a:lnTo>
                    <a:lnTo>
                      <a:pt x="809" y="275"/>
                    </a:lnTo>
                    <a:lnTo>
                      <a:pt x="794" y="276"/>
                    </a:lnTo>
                    <a:lnTo>
                      <a:pt x="780" y="278"/>
                    </a:lnTo>
                    <a:lnTo>
                      <a:pt x="767" y="282"/>
                    </a:lnTo>
                    <a:lnTo>
                      <a:pt x="757" y="287"/>
                    </a:lnTo>
                    <a:lnTo>
                      <a:pt x="747" y="294"/>
                    </a:lnTo>
                    <a:lnTo>
                      <a:pt x="743" y="298"/>
                    </a:lnTo>
                    <a:lnTo>
                      <a:pt x="740" y="302"/>
                    </a:lnTo>
                    <a:lnTo>
                      <a:pt x="736" y="308"/>
                    </a:lnTo>
                    <a:lnTo>
                      <a:pt x="734" y="314"/>
                    </a:lnTo>
                    <a:lnTo>
                      <a:pt x="733" y="320"/>
                    </a:lnTo>
                    <a:lnTo>
                      <a:pt x="732" y="327"/>
                    </a:lnTo>
                    <a:lnTo>
                      <a:pt x="732" y="327"/>
                    </a:lnTo>
                    <a:lnTo>
                      <a:pt x="710" y="327"/>
                    </a:lnTo>
                    <a:lnTo>
                      <a:pt x="710" y="327"/>
                    </a:lnTo>
                    <a:lnTo>
                      <a:pt x="710" y="327"/>
                    </a:lnTo>
                    <a:lnTo>
                      <a:pt x="711" y="316"/>
                    </a:lnTo>
                    <a:lnTo>
                      <a:pt x="713" y="306"/>
                    </a:lnTo>
                    <a:lnTo>
                      <a:pt x="716" y="297"/>
                    </a:lnTo>
                    <a:lnTo>
                      <a:pt x="717" y="285"/>
                    </a:lnTo>
                    <a:lnTo>
                      <a:pt x="717" y="285"/>
                    </a:lnTo>
                    <a:lnTo>
                      <a:pt x="717" y="279"/>
                    </a:lnTo>
                    <a:lnTo>
                      <a:pt x="714" y="275"/>
                    </a:lnTo>
                    <a:lnTo>
                      <a:pt x="711" y="270"/>
                    </a:lnTo>
                    <a:lnTo>
                      <a:pt x="707" y="266"/>
                    </a:lnTo>
                    <a:lnTo>
                      <a:pt x="702" y="259"/>
                    </a:lnTo>
                    <a:lnTo>
                      <a:pt x="699" y="254"/>
                    </a:lnTo>
                    <a:lnTo>
                      <a:pt x="698" y="249"/>
                    </a:lnTo>
                    <a:lnTo>
                      <a:pt x="698" y="249"/>
                    </a:lnTo>
                    <a:lnTo>
                      <a:pt x="698" y="244"/>
                    </a:lnTo>
                    <a:lnTo>
                      <a:pt x="701" y="239"/>
                    </a:lnTo>
                    <a:lnTo>
                      <a:pt x="704" y="231"/>
                    </a:lnTo>
                    <a:lnTo>
                      <a:pt x="707" y="224"/>
                    </a:lnTo>
                    <a:lnTo>
                      <a:pt x="709" y="221"/>
                    </a:lnTo>
                    <a:lnTo>
                      <a:pt x="710" y="216"/>
                    </a:lnTo>
                    <a:lnTo>
                      <a:pt x="710" y="216"/>
                    </a:lnTo>
                    <a:lnTo>
                      <a:pt x="709" y="208"/>
                    </a:lnTo>
                    <a:lnTo>
                      <a:pt x="707" y="205"/>
                    </a:lnTo>
                    <a:lnTo>
                      <a:pt x="706" y="201"/>
                    </a:lnTo>
                    <a:lnTo>
                      <a:pt x="704" y="198"/>
                    </a:lnTo>
                    <a:lnTo>
                      <a:pt x="701" y="195"/>
                    </a:lnTo>
                    <a:lnTo>
                      <a:pt x="696" y="194"/>
                    </a:lnTo>
                    <a:lnTo>
                      <a:pt x="691" y="194"/>
                    </a:lnTo>
                    <a:lnTo>
                      <a:pt x="691" y="194"/>
                    </a:lnTo>
                    <a:lnTo>
                      <a:pt x="682" y="194"/>
                    </a:lnTo>
                    <a:lnTo>
                      <a:pt x="674" y="197"/>
                    </a:lnTo>
                    <a:lnTo>
                      <a:pt x="658" y="203"/>
                    </a:lnTo>
                    <a:lnTo>
                      <a:pt x="642" y="209"/>
                    </a:lnTo>
                    <a:lnTo>
                      <a:pt x="634" y="211"/>
                    </a:lnTo>
                    <a:lnTo>
                      <a:pt x="625" y="213"/>
                    </a:lnTo>
                    <a:lnTo>
                      <a:pt x="625" y="213"/>
                    </a:lnTo>
                    <a:lnTo>
                      <a:pt x="617" y="211"/>
                    </a:lnTo>
                    <a:lnTo>
                      <a:pt x="610" y="210"/>
                    </a:lnTo>
                    <a:lnTo>
                      <a:pt x="596" y="207"/>
                    </a:lnTo>
                    <a:lnTo>
                      <a:pt x="583" y="200"/>
                    </a:lnTo>
                    <a:lnTo>
                      <a:pt x="572" y="193"/>
                    </a:lnTo>
                    <a:lnTo>
                      <a:pt x="551" y="180"/>
                    </a:lnTo>
                    <a:lnTo>
                      <a:pt x="541" y="175"/>
                    </a:lnTo>
                    <a:lnTo>
                      <a:pt x="535" y="173"/>
                    </a:lnTo>
                    <a:lnTo>
                      <a:pt x="529" y="172"/>
                    </a:lnTo>
                    <a:lnTo>
                      <a:pt x="529" y="172"/>
                    </a:lnTo>
                    <a:lnTo>
                      <a:pt x="493" y="173"/>
                    </a:lnTo>
                    <a:lnTo>
                      <a:pt x="476" y="172"/>
                    </a:lnTo>
                    <a:lnTo>
                      <a:pt x="469" y="170"/>
                    </a:lnTo>
                    <a:lnTo>
                      <a:pt x="463" y="168"/>
                    </a:lnTo>
                    <a:lnTo>
                      <a:pt x="463" y="168"/>
                    </a:lnTo>
                    <a:lnTo>
                      <a:pt x="460" y="164"/>
                    </a:lnTo>
                    <a:lnTo>
                      <a:pt x="457" y="160"/>
                    </a:lnTo>
                    <a:lnTo>
                      <a:pt x="452" y="149"/>
                    </a:lnTo>
                    <a:lnTo>
                      <a:pt x="449" y="139"/>
                    </a:lnTo>
                    <a:lnTo>
                      <a:pt x="446" y="129"/>
                    </a:lnTo>
                    <a:lnTo>
                      <a:pt x="443" y="117"/>
                    </a:lnTo>
                    <a:lnTo>
                      <a:pt x="438" y="108"/>
                    </a:lnTo>
                    <a:lnTo>
                      <a:pt x="436" y="103"/>
                    </a:lnTo>
                    <a:lnTo>
                      <a:pt x="432" y="99"/>
                    </a:lnTo>
                    <a:lnTo>
                      <a:pt x="428" y="94"/>
                    </a:lnTo>
                    <a:lnTo>
                      <a:pt x="423" y="91"/>
                    </a:lnTo>
                    <a:lnTo>
                      <a:pt x="423" y="91"/>
                    </a:lnTo>
                    <a:lnTo>
                      <a:pt x="397" y="77"/>
                    </a:lnTo>
                    <a:lnTo>
                      <a:pt x="368" y="61"/>
                    </a:lnTo>
                    <a:lnTo>
                      <a:pt x="353" y="54"/>
                    </a:lnTo>
                    <a:lnTo>
                      <a:pt x="337" y="48"/>
                    </a:lnTo>
                    <a:lnTo>
                      <a:pt x="320" y="43"/>
                    </a:lnTo>
                    <a:lnTo>
                      <a:pt x="302" y="40"/>
                    </a:lnTo>
                    <a:lnTo>
                      <a:pt x="302" y="40"/>
                    </a:lnTo>
                    <a:lnTo>
                      <a:pt x="279" y="35"/>
                    </a:lnTo>
                    <a:lnTo>
                      <a:pt x="245" y="30"/>
                    </a:lnTo>
                    <a:lnTo>
                      <a:pt x="226" y="25"/>
                    </a:lnTo>
                    <a:lnTo>
                      <a:pt x="211" y="20"/>
                    </a:lnTo>
                    <a:lnTo>
                      <a:pt x="200" y="16"/>
                    </a:lnTo>
                    <a:lnTo>
                      <a:pt x="197" y="14"/>
                    </a:lnTo>
                    <a:lnTo>
                      <a:pt x="195" y="10"/>
                    </a:lnTo>
                    <a:lnTo>
                      <a:pt x="195" y="10"/>
                    </a:lnTo>
                    <a:lnTo>
                      <a:pt x="159" y="0"/>
                    </a:lnTo>
                    <a:lnTo>
                      <a:pt x="159" y="0"/>
                    </a:lnTo>
                    <a:lnTo>
                      <a:pt x="159"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5" name="Freeform 60"/>
              <p:cNvSpPr>
                <a:spLocks noChangeAspect="1"/>
              </p:cNvSpPr>
              <p:nvPr/>
            </p:nvSpPr>
            <p:spPr bwMode="auto">
              <a:xfrm>
                <a:off x="4041298" y="4700029"/>
                <a:ext cx="323362" cy="482878"/>
              </a:xfrm>
              <a:custGeom>
                <a:avLst/>
                <a:gdLst/>
                <a:ahLst/>
                <a:cxnLst>
                  <a:cxn ang="0">
                    <a:pos x="361" y="663"/>
                  </a:cxn>
                  <a:cxn ang="0">
                    <a:pos x="382" y="623"/>
                  </a:cxn>
                  <a:cxn ang="0">
                    <a:pos x="369" y="569"/>
                  </a:cxn>
                  <a:cxn ang="0">
                    <a:pos x="356" y="516"/>
                  </a:cxn>
                  <a:cxn ang="0">
                    <a:pos x="373" y="474"/>
                  </a:cxn>
                  <a:cxn ang="0">
                    <a:pos x="405" y="428"/>
                  </a:cxn>
                  <a:cxn ang="0">
                    <a:pos x="404" y="396"/>
                  </a:cxn>
                  <a:cxn ang="0">
                    <a:pos x="366" y="381"/>
                  </a:cxn>
                  <a:cxn ang="0">
                    <a:pos x="332" y="382"/>
                  </a:cxn>
                  <a:cxn ang="0">
                    <a:pos x="328" y="361"/>
                  </a:cxn>
                  <a:cxn ang="0">
                    <a:pos x="347" y="301"/>
                  </a:cxn>
                  <a:cxn ang="0">
                    <a:pos x="341" y="268"/>
                  </a:cxn>
                  <a:cxn ang="0">
                    <a:pos x="327" y="231"/>
                  </a:cxn>
                  <a:cxn ang="0">
                    <a:pos x="337" y="217"/>
                  </a:cxn>
                  <a:cxn ang="0">
                    <a:pos x="356" y="203"/>
                  </a:cxn>
                  <a:cxn ang="0">
                    <a:pos x="378" y="183"/>
                  </a:cxn>
                  <a:cxn ang="0">
                    <a:pos x="398" y="163"/>
                  </a:cxn>
                  <a:cxn ang="0">
                    <a:pos x="398" y="130"/>
                  </a:cxn>
                  <a:cxn ang="0">
                    <a:pos x="375" y="86"/>
                  </a:cxn>
                  <a:cxn ang="0">
                    <a:pos x="350" y="46"/>
                  </a:cxn>
                  <a:cxn ang="0">
                    <a:pos x="345" y="0"/>
                  </a:cxn>
                  <a:cxn ang="0">
                    <a:pos x="320" y="6"/>
                  </a:cxn>
                  <a:cxn ang="0">
                    <a:pos x="290" y="33"/>
                  </a:cxn>
                  <a:cxn ang="0">
                    <a:pos x="270" y="35"/>
                  </a:cxn>
                  <a:cxn ang="0">
                    <a:pos x="249" y="22"/>
                  </a:cxn>
                  <a:cxn ang="0">
                    <a:pos x="206" y="37"/>
                  </a:cxn>
                  <a:cxn ang="0">
                    <a:pos x="187" y="21"/>
                  </a:cxn>
                  <a:cxn ang="0">
                    <a:pos x="165" y="19"/>
                  </a:cxn>
                  <a:cxn ang="0">
                    <a:pos x="132" y="29"/>
                  </a:cxn>
                  <a:cxn ang="0">
                    <a:pos x="107" y="45"/>
                  </a:cxn>
                  <a:cxn ang="0">
                    <a:pos x="71" y="75"/>
                  </a:cxn>
                  <a:cxn ang="0">
                    <a:pos x="43" y="78"/>
                  </a:cxn>
                  <a:cxn ang="0">
                    <a:pos x="0" y="132"/>
                  </a:cxn>
                  <a:cxn ang="0">
                    <a:pos x="10" y="165"/>
                  </a:cxn>
                  <a:cxn ang="0">
                    <a:pos x="12" y="206"/>
                  </a:cxn>
                  <a:cxn ang="0">
                    <a:pos x="33" y="279"/>
                  </a:cxn>
                  <a:cxn ang="0">
                    <a:pos x="23" y="298"/>
                  </a:cxn>
                  <a:cxn ang="0">
                    <a:pos x="24" y="325"/>
                  </a:cxn>
                  <a:cxn ang="0">
                    <a:pos x="46" y="365"/>
                  </a:cxn>
                  <a:cxn ang="0">
                    <a:pos x="107" y="411"/>
                  </a:cxn>
                  <a:cxn ang="0">
                    <a:pos x="137" y="465"/>
                  </a:cxn>
                  <a:cxn ang="0">
                    <a:pos x="167" y="499"/>
                  </a:cxn>
                  <a:cxn ang="0">
                    <a:pos x="180" y="512"/>
                  </a:cxn>
                  <a:cxn ang="0">
                    <a:pos x="165" y="535"/>
                  </a:cxn>
                  <a:cxn ang="0">
                    <a:pos x="183" y="560"/>
                  </a:cxn>
                  <a:cxn ang="0">
                    <a:pos x="191" y="581"/>
                  </a:cxn>
                  <a:cxn ang="0">
                    <a:pos x="183" y="602"/>
                  </a:cxn>
                  <a:cxn ang="0">
                    <a:pos x="190" y="623"/>
                  </a:cxn>
                  <a:cxn ang="0">
                    <a:pos x="228" y="643"/>
                  </a:cxn>
                  <a:cxn ang="0">
                    <a:pos x="306" y="663"/>
                  </a:cxn>
                  <a:cxn ang="0">
                    <a:pos x="313" y="683"/>
                  </a:cxn>
                </a:cxnLst>
                <a:rect l="0" t="0" r="r" b="b"/>
                <a:pathLst>
                  <a:path w="407" h="694">
                    <a:moveTo>
                      <a:pt x="315" y="694"/>
                    </a:moveTo>
                    <a:lnTo>
                      <a:pt x="315" y="694"/>
                    </a:lnTo>
                    <a:lnTo>
                      <a:pt x="340" y="680"/>
                    </a:lnTo>
                    <a:lnTo>
                      <a:pt x="351" y="672"/>
                    </a:lnTo>
                    <a:lnTo>
                      <a:pt x="361" y="663"/>
                    </a:lnTo>
                    <a:lnTo>
                      <a:pt x="370" y="653"/>
                    </a:lnTo>
                    <a:lnTo>
                      <a:pt x="376" y="643"/>
                    </a:lnTo>
                    <a:lnTo>
                      <a:pt x="378" y="637"/>
                    </a:lnTo>
                    <a:lnTo>
                      <a:pt x="381" y="630"/>
                    </a:lnTo>
                    <a:lnTo>
                      <a:pt x="382" y="623"/>
                    </a:lnTo>
                    <a:lnTo>
                      <a:pt x="382" y="617"/>
                    </a:lnTo>
                    <a:lnTo>
                      <a:pt x="382" y="617"/>
                    </a:lnTo>
                    <a:lnTo>
                      <a:pt x="381" y="605"/>
                    </a:lnTo>
                    <a:lnTo>
                      <a:pt x="378" y="594"/>
                    </a:lnTo>
                    <a:lnTo>
                      <a:pt x="369" y="569"/>
                    </a:lnTo>
                    <a:lnTo>
                      <a:pt x="364" y="557"/>
                    </a:lnTo>
                    <a:lnTo>
                      <a:pt x="360" y="544"/>
                    </a:lnTo>
                    <a:lnTo>
                      <a:pt x="358" y="530"/>
                    </a:lnTo>
                    <a:lnTo>
                      <a:pt x="356" y="516"/>
                    </a:lnTo>
                    <a:lnTo>
                      <a:pt x="356" y="516"/>
                    </a:lnTo>
                    <a:lnTo>
                      <a:pt x="356" y="508"/>
                    </a:lnTo>
                    <a:lnTo>
                      <a:pt x="359" y="500"/>
                    </a:lnTo>
                    <a:lnTo>
                      <a:pt x="361" y="493"/>
                    </a:lnTo>
                    <a:lnTo>
                      <a:pt x="364" y="487"/>
                    </a:lnTo>
                    <a:lnTo>
                      <a:pt x="373" y="474"/>
                    </a:lnTo>
                    <a:lnTo>
                      <a:pt x="382" y="462"/>
                    </a:lnTo>
                    <a:lnTo>
                      <a:pt x="391" y="452"/>
                    </a:lnTo>
                    <a:lnTo>
                      <a:pt x="399" y="441"/>
                    </a:lnTo>
                    <a:lnTo>
                      <a:pt x="402" y="435"/>
                    </a:lnTo>
                    <a:lnTo>
                      <a:pt x="405" y="428"/>
                    </a:lnTo>
                    <a:lnTo>
                      <a:pt x="407" y="421"/>
                    </a:lnTo>
                    <a:lnTo>
                      <a:pt x="407" y="414"/>
                    </a:lnTo>
                    <a:lnTo>
                      <a:pt x="407" y="414"/>
                    </a:lnTo>
                    <a:lnTo>
                      <a:pt x="406" y="404"/>
                    </a:lnTo>
                    <a:lnTo>
                      <a:pt x="404" y="396"/>
                    </a:lnTo>
                    <a:lnTo>
                      <a:pt x="399" y="390"/>
                    </a:lnTo>
                    <a:lnTo>
                      <a:pt x="393" y="385"/>
                    </a:lnTo>
                    <a:lnTo>
                      <a:pt x="386" y="382"/>
                    </a:lnTo>
                    <a:lnTo>
                      <a:pt x="376" y="381"/>
                    </a:lnTo>
                    <a:lnTo>
                      <a:pt x="366" y="381"/>
                    </a:lnTo>
                    <a:lnTo>
                      <a:pt x="353" y="381"/>
                    </a:lnTo>
                    <a:lnTo>
                      <a:pt x="353" y="381"/>
                    </a:lnTo>
                    <a:lnTo>
                      <a:pt x="344" y="382"/>
                    </a:lnTo>
                    <a:lnTo>
                      <a:pt x="336" y="383"/>
                    </a:lnTo>
                    <a:lnTo>
                      <a:pt x="332" y="382"/>
                    </a:lnTo>
                    <a:lnTo>
                      <a:pt x="329" y="380"/>
                    </a:lnTo>
                    <a:lnTo>
                      <a:pt x="328" y="376"/>
                    </a:lnTo>
                    <a:lnTo>
                      <a:pt x="327" y="370"/>
                    </a:lnTo>
                    <a:lnTo>
                      <a:pt x="327" y="370"/>
                    </a:lnTo>
                    <a:lnTo>
                      <a:pt x="328" y="361"/>
                    </a:lnTo>
                    <a:lnTo>
                      <a:pt x="330" y="351"/>
                    </a:lnTo>
                    <a:lnTo>
                      <a:pt x="338" y="331"/>
                    </a:lnTo>
                    <a:lnTo>
                      <a:pt x="341" y="322"/>
                    </a:lnTo>
                    <a:lnTo>
                      <a:pt x="345" y="312"/>
                    </a:lnTo>
                    <a:lnTo>
                      <a:pt x="347" y="301"/>
                    </a:lnTo>
                    <a:lnTo>
                      <a:pt x="348" y="290"/>
                    </a:lnTo>
                    <a:lnTo>
                      <a:pt x="348" y="290"/>
                    </a:lnTo>
                    <a:lnTo>
                      <a:pt x="347" y="282"/>
                    </a:lnTo>
                    <a:lnTo>
                      <a:pt x="345" y="275"/>
                    </a:lnTo>
                    <a:lnTo>
                      <a:pt x="341" y="268"/>
                    </a:lnTo>
                    <a:lnTo>
                      <a:pt x="338" y="262"/>
                    </a:lnTo>
                    <a:lnTo>
                      <a:pt x="333" y="255"/>
                    </a:lnTo>
                    <a:lnTo>
                      <a:pt x="330" y="248"/>
                    </a:lnTo>
                    <a:lnTo>
                      <a:pt x="328" y="240"/>
                    </a:lnTo>
                    <a:lnTo>
                      <a:pt x="327" y="231"/>
                    </a:lnTo>
                    <a:lnTo>
                      <a:pt x="327" y="231"/>
                    </a:lnTo>
                    <a:lnTo>
                      <a:pt x="328" y="226"/>
                    </a:lnTo>
                    <a:lnTo>
                      <a:pt x="330" y="223"/>
                    </a:lnTo>
                    <a:lnTo>
                      <a:pt x="333" y="220"/>
                    </a:lnTo>
                    <a:lnTo>
                      <a:pt x="337" y="217"/>
                    </a:lnTo>
                    <a:lnTo>
                      <a:pt x="347" y="214"/>
                    </a:lnTo>
                    <a:lnTo>
                      <a:pt x="352" y="212"/>
                    </a:lnTo>
                    <a:lnTo>
                      <a:pt x="356" y="209"/>
                    </a:lnTo>
                    <a:lnTo>
                      <a:pt x="356" y="209"/>
                    </a:lnTo>
                    <a:lnTo>
                      <a:pt x="356" y="203"/>
                    </a:lnTo>
                    <a:lnTo>
                      <a:pt x="358" y="199"/>
                    </a:lnTo>
                    <a:lnTo>
                      <a:pt x="360" y="195"/>
                    </a:lnTo>
                    <a:lnTo>
                      <a:pt x="363" y="192"/>
                    </a:lnTo>
                    <a:lnTo>
                      <a:pt x="370" y="186"/>
                    </a:lnTo>
                    <a:lnTo>
                      <a:pt x="378" y="183"/>
                    </a:lnTo>
                    <a:lnTo>
                      <a:pt x="386" y="178"/>
                    </a:lnTo>
                    <a:lnTo>
                      <a:pt x="390" y="175"/>
                    </a:lnTo>
                    <a:lnTo>
                      <a:pt x="393" y="172"/>
                    </a:lnTo>
                    <a:lnTo>
                      <a:pt x="397" y="168"/>
                    </a:lnTo>
                    <a:lnTo>
                      <a:pt x="398" y="163"/>
                    </a:lnTo>
                    <a:lnTo>
                      <a:pt x="400" y="157"/>
                    </a:lnTo>
                    <a:lnTo>
                      <a:pt x="400" y="151"/>
                    </a:lnTo>
                    <a:lnTo>
                      <a:pt x="400" y="151"/>
                    </a:lnTo>
                    <a:lnTo>
                      <a:pt x="400" y="140"/>
                    </a:lnTo>
                    <a:lnTo>
                      <a:pt x="398" y="130"/>
                    </a:lnTo>
                    <a:lnTo>
                      <a:pt x="396" y="121"/>
                    </a:lnTo>
                    <a:lnTo>
                      <a:pt x="392" y="113"/>
                    </a:lnTo>
                    <a:lnTo>
                      <a:pt x="389" y="106"/>
                    </a:lnTo>
                    <a:lnTo>
                      <a:pt x="384" y="99"/>
                    </a:lnTo>
                    <a:lnTo>
                      <a:pt x="375" y="86"/>
                    </a:lnTo>
                    <a:lnTo>
                      <a:pt x="364" y="75"/>
                    </a:lnTo>
                    <a:lnTo>
                      <a:pt x="356" y="63"/>
                    </a:lnTo>
                    <a:lnTo>
                      <a:pt x="353" y="57"/>
                    </a:lnTo>
                    <a:lnTo>
                      <a:pt x="351" y="52"/>
                    </a:lnTo>
                    <a:lnTo>
                      <a:pt x="350" y="46"/>
                    </a:lnTo>
                    <a:lnTo>
                      <a:pt x="348" y="40"/>
                    </a:lnTo>
                    <a:lnTo>
                      <a:pt x="348" y="40"/>
                    </a:lnTo>
                    <a:lnTo>
                      <a:pt x="347" y="23"/>
                    </a:lnTo>
                    <a:lnTo>
                      <a:pt x="345" y="11"/>
                    </a:lnTo>
                    <a:lnTo>
                      <a:pt x="345" y="0"/>
                    </a:lnTo>
                    <a:lnTo>
                      <a:pt x="345" y="0"/>
                    </a:lnTo>
                    <a:lnTo>
                      <a:pt x="337" y="0"/>
                    </a:lnTo>
                    <a:lnTo>
                      <a:pt x="331" y="1"/>
                    </a:lnTo>
                    <a:lnTo>
                      <a:pt x="325" y="3"/>
                    </a:lnTo>
                    <a:lnTo>
                      <a:pt x="320" y="6"/>
                    </a:lnTo>
                    <a:lnTo>
                      <a:pt x="313" y="11"/>
                    </a:lnTo>
                    <a:lnTo>
                      <a:pt x="306" y="18"/>
                    </a:lnTo>
                    <a:lnTo>
                      <a:pt x="300" y="25"/>
                    </a:lnTo>
                    <a:lnTo>
                      <a:pt x="294" y="31"/>
                    </a:lnTo>
                    <a:lnTo>
                      <a:pt x="290" y="33"/>
                    </a:lnTo>
                    <a:lnTo>
                      <a:pt x="286" y="34"/>
                    </a:lnTo>
                    <a:lnTo>
                      <a:pt x="280" y="35"/>
                    </a:lnTo>
                    <a:lnTo>
                      <a:pt x="275" y="37"/>
                    </a:lnTo>
                    <a:lnTo>
                      <a:pt x="275" y="37"/>
                    </a:lnTo>
                    <a:lnTo>
                      <a:pt x="270" y="35"/>
                    </a:lnTo>
                    <a:lnTo>
                      <a:pt x="266" y="34"/>
                    </a:lnTo>
                    <a:lnTo>
                      <a:pt x="262" y="32"/>
                    </a:lnTo>
                    <a:lnTo>
                      <a:pt x="260" y="31"/>
                    </a:lnTo>
                    <a:lnTo>
                      <a:pt x="254" y="25"/>
                    </a:lnTo>
                    <a:lnTo>
                      <a:pt x="249" y="22"/>
                    </a:lnTo>
                    <a:lnTo>
                      <a:pt x="249" y="22"/>
                    </a:lnTo>
                    <a:lnTo>
                      <a:pt x="224" y="22"/>
                    </a:lnTo>
                    <a:lnTo>
                      <a:pt x="224" y="37"/>
                    </a:lnTo>
                    <a:lnTo>
                      <a:pt x="206" y="37"/>
                    </a:lnTo>
                    <a:lnTo>
                      <a:pt x="206" y="37"/>
                    </a:lnTo>
                    <a:lnTo>
                      <a:pt x="206" y="37"/>
                    </a:lnTo>
                    <a:lnTo>
                      <a:pt x="202" y="34"/>
                    </a:lnTo>
                    <a:lnTo>
                      <a:pt x="200" y="32"/>
                    </a:lnTo>
                    <a:lnTo>
                      <a:pt x="194" y="26"/>
                    </a:lnTo>
                    <a:lnTo>
                      <a:pt x="187" y="21"/>
                    </a:lnTo>
                    <a:lnTo>
                      <a:pt x="184" y="18"/>
                    </a:lnTo>
                    <a:lnTo>
                      <a:pt x="179" y="18"/>
                    </a:lnTo>
                    <a:lnTo>
                      <a:pt x="179" y="18"/>
                    </a:lnTo>
                    <a:lnTo>
                      <a:pt x="172" y="18"/>
                    </a:lnTo>
                    <a:lnTo>
                      <a:pt x="165" y="19"/>
                    </a:lnTo>
                    <a:lnTo>
                      <a:pt x="155" y="24"/>
                    </a:lnTo>
                    <a:lnTo>
                      <a:pt x="145" y="27"/>
                    </a:lnTo>
                    <a:lnTo>
                      <a:pt x="139" y="29"/>
                    </a:lnTo>
                    <a:lnTo>
                      <a:pt x="132" y="29"/>
                    </a:lnTo>
                    <a:lnTo>
                      <a:pt x="132" y="29"/>
                    </a:lnTo>
                    <a:lnTo>
                      <a:pt x="127" y="30"/>
                    </a:lnTo>
                    <a:lnTo>
                      <a:pt x="123" y="31"/>
                    </a:lnTo>
                    <a:lnTo>
                      <a:pt x="119" y="33"/>
                    </a:lnTo>
                    <a:lnTo>
                      <a:pt x="115" y="37"/>
                    </a:lnTo>
                    <a:lnTo>
                      <a:pt x="107" y="45"/>
                    </a:lnTo>
                    <a:lnTo>
                      <a:pt x="100" y="53"/>
                    </a:lnTo>
                    <a:lnTo>
                      <a:pt x="91" y="62"/>
                    </a:lnTo>
                    <a:lnTo>
                      <a:pt x="81" y="69"/>
                    </a:lnTo>
                    <a:lnTo>
                      <a:pt x="77" y="72"/>
                    </a:lnTo>
                    <a:lnTo>
                      <a:pt x="71" y="75"/>
                    </a:lnTo>
                    <a:lnTo>
                      <a:pt x="65" y="76"/>
                    </a:lnTo>
                    <a:lnTo>
                      <a:pt x="58" y="77"/>
                    </a:lnTo>
                    <a:lnTo>
                      <a:pt x="58" y="77"/>
                    </a:lnTo>
                    <a:lnTo>
                      <a:pt x="50" y="77"/>
                    </a:lnTo>
                    <a:lnTo>
                      <a:pt x="43" y="78"/>
                    </a:lnTo>
                    <a:lnTo>
                      <a:pt x="28" y="83"/>
                    </a:lnTo>
                    <a:lnTo>
                      <a:pt x="15" y="87"/>
                    </a:lnTo>
                    <a:lnTo>
                      <a:pt x="0" y="92"/>
                    </a:lnTo>
                    <a:lnTo>
                      <a:pt x="0" y="92"/>
                    </a:lnTo>
                    <a:lnTo>
                      <a:pt x="0" y="132"/>
                    </a:lnTo>
                    <a:lnTo>
                      <a:pt x="0" y="132"/>
                    </a:lnTo>
                    <a:lnTo>
                      <a:pt x="0" y="132"/>
                    </a:lnTo>
                    <a:lnTo>
                      <a:pt x="4" y="142"/>
                    </a:lnTo>
                    <a:lnTo>
                      <a:pt x="8" y="153"/>
                    </a:lnTo>
                    <a:lnTo>
                      <a:pt x="10" y="165"/>
                    </a:lnTo>
                    <a:lnTo>
                      <a:pt x="11" y="179"/>
                    </a:lnTo>
                    <a:lnTo>
                      <a:pt x="11" y="179"/>
                    </a:lnTo>
                    <a:lnTo>
                      <a:pt x="11" y="198"/>
                    </a:lnTo>
                    <a:lnTo>
                      <a:pt x="11" y="198"/>
                    </a:lnTo>
                    <a:lnTo>
                      <a:pt x="12" y="206"/>
                    </a:lnTo>
                    <a:lnTo>
                      <a:pt x="15" y="215"/>
                    </a:lnTo>
                    <a:lnTo>
                      <a:pt x="22" y="236"/>
                    </a:lnTo>
                    <a:lnTo>
                      <a:pt x="30" y="258"/>
                    </a:lnTo>
                    <a:lnTo>
                      <a:pt x="32" y="269"/>
                    </a:lnTo>
                    <a:lnTo>
                      <a:pt x="33" y="279"/>
                    </a:lnTo>
                    <a:lnTo>
                      <a:pt x="33" y="279"/>
                    </a:lnTo>
                    <a:lnTo>
                      <a:pt x="32" y="284"/>
                    </a:lnTo>
                    <a:lnTo>
                      <a:pt x="31" y="287"/>
                    </a:lnTo>
                    <a:lnTo>
                      <a:pt x="27" y="293"/>
                    </a:lnTo>
                    <a:lnTo>
                      <a:pt x="23" y="298"/>
                    </a:lnTo>
                    <a:lnTo>
                      <a:pt x="22" y="301"/>
                    </a:lnTo>
                    <a:lnTo>
                      <a:pt x="22" y="305"/>
                    </a:lnTo>
                    <a:lnTo>
                      <a:pt x="22" y="305"/>
                    </a:lnTo>
                    <a:lnTo>
                      <a:pt x="22" y="315"/>
                    </a:lnTo>
                    <a:lnTo>
                      <a:pt x="24" y="325"/>
                    </a:lnTo>
                    <a:lnTo>
                      <a:pt x="26" y="333"/>
                    </a:lnTo>
                    <a:lnTo>
                      <a:pt x="30" y="343"/>
                    </a:lnTo>
                    <a:lnTo>
                      <a:pt x="34" y="351"/>
                    </a:lnTo>
                    <a:lnTo>
                      <a:pt x="40" y="358"/>
                    </a:lnTo>
                    <a:lnTo>
                      <a:pt x="46" y="365"/>
                    </a:lnTo>
                    <a:lnTo>
                      <a:pt x="51" y="370"/>
                    </a:lnTo>
                    <a:lnTo>
                      <a:pt x="65" y="383"/>
                    </a:lnTo>
                    <a:lnTo>
                      <a:pt x="79" y="392"/>
                    </a:lnTo>
                    <a:lnTo>
                      <a:pt x="107" y="411"/>
                    </a:lnTo>
                    <a:lnTo>
                      <a:pt x="107" y="411"/>
                    </a:lnTo>
                    <a:lnTo>
                      <a:pt x="111" y="415"/>
                    </a:lnTo>
                    <a:lnTo>
                      <a:pt x="116" y="421"/>
                    </a:lnTo>
                    <a:lnTo>
                      <a:pt x="119" y="427"/>
                    </a:lnTo>
                    <a:lnTo>
                      <a:pt x="124" y="434"/>
                    </a:lnTo>
                    <a:lnTo>
                      <a:pt x="137" y="465"/>
                    </a:lnTo>
                    <a:lnTo>
                      <a:pt x="145" y="478"/>
                    </a:lnTo>
                    <a:lnTo>
                      <a:pt x="148" y="485"/>
                    </a:lnTo>
                    <a:lnTo>
                      <a:pt x="154" y="491"/>
                    </a:lnTo>
                    <a:lnTo>
                      <a:pt x="160" y="496"/>
                    </a:lnTo>
                    <a:lnTo>
                      <a:pt x="167" y="499"/>
                    </a:lnTo>
                    <a:lnTo>
                      <a:pt x="175" y="501"/>
                    </a:lnTo>
                    <a:lnTo>
                      <a:pt x="183" y="503"/>
                    </a:lnTo>
                    <a:lnTo>
                      <a:pt x="183" y="503"/>
                    </a:lnTo>
                    <a:lnTo>
                      <a:pt x="183" y="507"/>
                    </a:lnTo>
                    <a:lnTo>
                      <a:pt x="180" y="512"/>
                    </a:lnTo>
                    <a:lnTo>
                      <a:pt x="175" y="520"/>
                    </a:lnTo>
                    <a:lnTo>
                      <a:pt x="168" y="528"/>
                    </a:lnTo>
                    <a:lnTo>
                      <a:pt x="165" y="531"/>
                    </a:lnTo>
                    <a:lnTo>
                      <a:pt x="165" y="535"/>
                    </a:lnTo>
                    <a:lnTo>
                      <a:pt x="165" y="535"/>
                    </a:lnTo>
                    <a:lnTo>
                      <a:pt x="167" y="542"/>
                    </a:lnTo>
                    <a:lnTo>
                      <a:pt x="169" y="546"/>
                    </a:lnTo>
                    <a:lnTo>
                      <a:pt x="173" y="551"/>
                    </a:lnTo>
                    <a:lnTo>
                      <a:pt x="178" y="556"/>
                    </a:lnTo>
                    <a:lnTo>
                      <a:pt x="183" y="560"/>
                    </a:lnTo>
                    <a:lnTo>
                      <a:pt x="187" y="565"/>
                    </a:lnTo>
                    <a:lnTo>
                      <a:pt x="190" y="569"/>
                    </a:lnTo>
                    <a:lnTo>
                      <a:pt x="191" y="576"/>
                    </a:lnTo>
                    <a:lnTo>
                      <a:pt x="191" y="576"/>
                    </a:lnTo>
                    <a:lnTo>
                      <a:pt x="191" y="581"/>
                    </a:lnTo>
                    <a:lnTo>
                      <a:pt x="190" y="584"/>
                    </a:lnTo>
                    <a:lnTo>
                      <a:pt x="187" y="589"/>
                    </a:lnTo>
                    <a:lnTo>
                      <a:pt x="185" y="594"/>
                    </a:lnTo>
                    <a:lnTo>
                      <a:pt x="184" y="597"/>
                    </a:lnTo>
                    <a:lnTo>
                      <a:pt x="183" y="602"/>
                    </a:lnTo>
                    <a:lnTo>
                      <a:pt x="183" y="602"/>
                    </a:lnTo>
                    <a:lnTo>
                      <a:pt x="184" y="609"/>
                    </a:lnTo>
                    <a:lnTo>
                      <a:pt x="185" y="614"/>
                    </a:lnTo>
                    <a:lnTo>
                      <a:pt x="187" y="619"/>
                    </a:lnTo>
                    <a:lnTo>
                      <a:pt x="190" y="623"/>
                    </a:lnTo>
                    <a:lnTo>
                      <a:pt x="193" y="628"/>
                    </a:lnTo>
                    <a:lnTo>
                      <a:pt x="196" y="632"/>
                    </a:lnTo>
                    <a:lnTo>
                      <a:pt x="206" y="636"/>
                    </a:lnTo>
                    <a:lnTo>
                      <a:pt x="216" y="641"/>
                    </a:lnTo>
                    <a:lnTo>
                      <a:pt x="228" y="643"/>
                    </a:lnTo>
                    <a:lnTo>
                      <a:pt x="253" y="648"/>
                    </a:lnTo>
                    <a:lnTo>
                      <a:pt x="278" y="651"/>
                    </a:lnTo>
                    <a:lnTo>
                      <a:pt x="289" y="653"/>
                    </a:lnTo>
                    <a:lnTo>
                      <a:pt x="298" y="657"/>
                    </a:lnTo>
                    <a:lnTo>
                      <a:pt x="306" y="663"/>
                    </a:lnTo>
                    <a:lnTo>
                      <a:pt x="308" y="665"/>
                    </a:lnTo>
                    <a:lnTo>
                      <a:pt x="310" y="669"/>
                    </a:lnTo>
                    <a:lnTo>
                      <a:pt x="313" y="673"/>
                    </a:lnTo>
                    <a:lnTo>
                      <a:pt x="313" y="679"/>
                    </a:lnTo>
                    <a:lnTo>
                      <a:pt x="313" y="683"/>
                    </a:lnTo>
                    <a:lnTo>
                      <a:pt x="312" y="690"/>
                    </a:lnTo>
                    <a:lnTo>
                      <a:pt x="312" y="690"/>
                    </a:lnTo>
                    <a:lnTo>
                      <a:pt x="315" y="694"/>
                    </a:lnTo>
                    <a:lnTo>
                      <a:pt x="315" y="69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6" name="Freeform 61"/>
              <p:cNvSpPr>
                <a:spLocks noChangeAspect="1"/>
              </p:cNvSpPr>
              <p:nvPr/>
            </p:nvSpPr>
            <p:spPr bwMode="auto">
              <a:xfrm>
                <a:off x="2254881" y="4364657"/>
                <a:ext cx="378841" cy="435565"/>
              </a:xfrm>
              <a:custGeom>
                <a:avLst/>
                <a:gdLst/>
                <a:ahLst/>
                <a:cxnLst>
                  <a:cxn ang="0">
                    <a:pos x="79" y="612"/>
                  </a:cxn>
                  <a:cxn ang="0">
                    <a:pos x="150" y="621"/>
                  </a:cxn>
                  <a:cxn ang="0">
                    <a:pos x="170" y="547"/>
                  </a:cxn>
                  <a:cxn ang="0">
                    <a:pos x="198" y="526"/>
                  </a:cxn>
                  <a:cxn ang="0">
                    <a:pos x="242" y="543"/>
                  </a:cxn>
                  <a:cxn ang="0">
                    <a:pos x="286" y="559"/>
                  </a:cxn>
                  <a:cxn ang="0">
                    <a:pos x="301" y="540"/>
                  </a:cxn>
                  <a:cxn ang="0">
                    <a:pos x="277" y="515"/>
                  </a:cxn>
                  <a:cxn ang="0">
                    <a:pos x="246" y="470"/>
                  </a:cxn>
                  <a:cxn ang="0">
                    <a:pos x="279" y="463"/>
                  </a:cxn>
                  <a:cxn ang="0">
                    <a:pos x="247" y="439"/>
                  </a:cxn>
                  <a:cxn ang="0">
                    <a:pos x="258" y="407"/>
                  </a:cxn>
                  <a:cxn ang="0">
                    <a:pos x="293" y="395"/>
                  </a:cxn>
                  <a:cxn ang="0">
                    <a:pos x="371" y="438"/>
                  </a:cxn>
                  <a:cxn ang="0">
                    <a:pos x="465" y="390"/>
                  </a:cxn>
                  <a:cxn ang="0">
                    <a:pos x="452" y="349"/>
                  </a:cxn>
                  <a:cxn ang="0">
                    <a:pos x="422" y="323"/>
                  </a:cxn>
                  <a:cxn ang="0">
                    <a:pos x="389" y="323"/>
                  </a:cxn>
                  <a:cxn ang="0">
                    <a:pos x="438" y="253"/>
                  </a:cxn>
                  <a:cxn ang="0">
                    <a:pos x="477" y="188"/>
                  </a:cxn>
                  <a:cxn ang="0">
                    <a:pos x="467" y="100"/>
                  </a:cxn>
                  <a:cxn ang="0">
                    <a:pos x="439" y="72"/>
                  </a:cxn>
                  <a:cxn ang="0">
                    <a:pos x="383" y="65"/>
                  </a:cxn>
                  <a:cxn ang="0">
                    <a:pos x="330" y="30"/>
                  </a:cxn>
                  <a:cxn ang="0">
                    <a:pos x="269" y="0"/>
                  </a:cxn>
                  <a:cxn ang="0">
                    <a:pos x="257" y="25"/>
                  </a:cxn>
                  <a:cxn ang="0">
                    <a:pos x="242" y="78"/>
                  </a:cxn>
                  <a:cxn ang="0">
                    <a:pos x="254" y="118"/>
                  </a:cxn>
                  <a:cxn ang="0">
                    <a:pos x="190" y="130"/>
                  </a:cxn>
                  <a:cxn ang="0">
                    <a:pos x="163" y="154"/>
                  </a:cxn>
                  <a:cxn ang="0">
                    <a:pos x="140" y="155"/>
                  </a:cxn>
                  <a:cxn ang="0">
                    <a:pos x="116" y="130"/>
                  </a:cxn>
                  <a:cxn ang="0">
                    <a:pos x="91" y="129"/>
                  </a:cxn>
                  <a:cxn ang="0">
                    <a:pos x="113" y="99"/>
                  </a:cxn>
                  <a:cxn ang="0">
                    <a:pos x="101" y="76"/>
                  </a:cxn>
                  <a:cxn ang="0">
                    <a:pos x="56" y="77"/>
                  </a:cxn>
                  <a:cxn ang="0">
                    <a:pos x="29" y="122"/>
                  </a:cxn>
                  <a:cxn ang="0">
                    <a:pos x="42" y="188"/>
                  </a:cxn>
                  <a:cxn ang="0">
                    <a:pos x="73" y="209"/>
                  </a:cxn>
                  <a:cxn ang="0">
                    <a:pos x="114" y="217"/>
                  </a:cxn>
                  <a:cxn ang="0">
                    <a:pos x="183" y="221"/>
                  </a:cxn>
                  <a:cxn ang="0">
                    <a:pos x="227" y="210"/>
                  </a:cxn>
                  <a:cxn ang="0">
                    <a:pos x="181" y="309"/>
                  </a:cxn>
                  <a:cxn ang="0">
                    <a:pos x="159" y="307"/>
                  </a:cxn>
                  <a:cxn ang="0">
                    <a:pos x="127" y="308"/>
                  </a:cxn>
                  <a:cxn ang="0">
                    <a:pos x="78" y="346"/>
                  </a:cxn>
                  <a:cxn ang="0">
                    <a:pos x="58" y="408"/>
                  </a:cxn>
                  <a:cxn ang="0">
                    <a:pos x="15" y="466"/>
                  </a:cxn>
                  <a:cxn ang="0">
                    <a:pos x="0" y="508"/>
                  </a:cxn>
                  <a:cxn ang="0">
                    <a:pos x="18" y="526"/>
                  </a:cxn>
                  <a:cxn ang="0">
                    <a:pos x="61" y="529"/>
                  </a:cxn>
                  <a:cxn ang="0">
                    <a:pos x="101" y="558"/>
                  </a:cxn>
                  <a:cxn ang="0">
                    <a:pos x="89" y="581"/>
                  </a:cxn>
                </a:cxnLst>
                <a:rect l="0" t="0" r="r" b="b"/>
                <a:pathLst>
                  <a:path w="478" h="626">
                    <a:moveTo>
                      <a:pt x="66" y="626"/>
                    </a:moveTo>
                    <a:lnTo>
                      <a:pt x="66" y="626"/>
                    </a:lnTo>
                    <a:lnTo>
                      <a:pt x="67" y="620"/>
                    </a:lnTo>
                    <a:lnTo>
                      <a:pt x="70" y="616"/>
                    </a:lnTo>
                    <a:lnTo>
                      <a:pt x="74" y="614"/>
                    </a:lnTo>
                    <a:lnTo>
                      <a:pt x="79" y="612"/>
                    </a:lnTo>
                    <a:lnTo>
                      <a:pt x="86" y="611"/>
                    </a:lnTo>
                    <a:lnTo>
                      <a:pt x="93" y="611"/>
                    </a:lnTo>
                    <a:lnTo>
                      <a:pt x="109" y="612"/>
                    </a:lnTo>
                    <a:lnTo>
                      <a:pt x="124" y="614"/>
                    </a:lnTo>
                    <a:lnTo>
                      <a:pt x="137" y="618"/>
                    </a:lnTo>
                    <a:lnTo>
                      <a:pt x="150" y="621"/>
                    </a:lnTo>
                    <a:lnTo>
                      <a:pt x="150" y="621"/>
                    </a:lnTo>
                    <a:lnTo>
                      <a:pt x="155" y="607"/>
                    </a:lnTo>
                    <a:lnTo>
                      <a:pt x="158" y="592"/>
                    </a:lnTo>
                    <a:lnTo>
                      <a:pt x="162" y="576"/>
                    </a:lnTo>
                    <a:lnTo>
                      <a:pt x="165" y="561"/>
                    </a:lnTo>
                    <a:lnTo>
                      <a:pt x="170" y="547"/>
                    </a:lnTo>
                    <a:lnTo>
                      <a:pt x="172" y="542"/>
                    </a:lnTo>
                    <a:lnTo>
                      <a:pt x="175" y="536"/>
                    </a:lnTo>
                    <a:lnTo>
                      <a:pt x="180" y="531"/>
                    </a:lnTo>
                    <a:lnTo>
                      <a:pt x="185" y="529"/>
                    </a:lnTo>
                    <a:lnTo>
                      <a:pt x="192" y="527"/>
                    </a:lnTo>
                    <a:lnTo>
                      <a:pt x="198" y="526"/>
                    </a:lnTo>
                    <a:lnTo>
                      <a:pt x="198" y="526"/>
                    </a:lnTo>
                    <a:lnTo>
                      <a:pt x="205" y="527"/>
                    </a:lnTo>
                    <a:lnTo>
                      <a:pt x="211" y="527"/>
                    </a:lnTo>
                    <a:lnTo>
                      <a:pt x="223" y="531"/>
                    </a:lnTo>
                    <a:lnTo>
                      <a:pt x="233" y="536"/>
                    </a:lnTo>
                    <a:lnTo>
                      <a:pt x="242" y="543"/>
                    </a:lnTo>
                    <a:lnTo>
                      <a:pt x="253" y="549"/>
                    </a:lnTo>
                    <a:lnTo>
                      <a:pt x="263" y="553"/>
                    </a:lnTo>
                    <a:lnTo>
                      <a:pt x="273" y="558"/>
                    </a:lnTo>
                    <a:lnTo>
                      <a:pt x="280" y="559"/>
                    </a:lnTo>
                    <a:lnTo>
                      <a:pt x="286" y="559"/>
                    </a:lnTo>
                    <a:lnTo>
                      <a:pt x="286" y="559"/>
                    </a:lnTo>
                    <a:lnTo>
                      <a:pt x="290" y="559"/>
                    </a:lnTo>
                    <a:lnTo>
                      <a:pt x="294" y="558"/>
                    </a:lnTo>
                    <a:lnTo>
                      <a:pt x="296" y="555"/>
                    </a:lnTo>
                    <a:lnTo>
                      <a:pt x="297" y="554"/>
                    </a:lnTo>
                    <a:lnTo>
                      <a:pt x="301" y="549"/>
                    </a:lnTo>
                    <a:lnTo>
                      <a:pt x="301" y="540"/>
                    </a:lnTo>
                    <a:lnTo>
                      <a:pt x="301" y="540"/>
                    </a:lnTo>
                    <a:lnTo>
                      <a:pt x="301" y="538"/>
                    </a:lnTo>
                    <a:lnTo>
                      <a:pt x="299" y="535"/>
                    </a:lnTo>
                    <a:lnTo>
                      <a:pt x="294" y="528"/>
                    </a:lnTo>
                    <a:lnTo>
                      <a:pt x="286" y="522"/>
                    </a:lnTo>
                    <a:lnTo>
                      <a:pt x="277" y="515"/>
                    </a:lnTo>
                    <a:lnTo>
                      <a:pt x="257" y="501"/>
                    </a:lnTo>
                    <a:lnTo>
                      <a:pt x="250" y="494"/>
                    </a:lnTo>
                    <a:lnTo>
                      <a:pt x="246" y="489"/>
                    </a:lnTo>
                    <a:lnTo>
                      <a:pt x="246" y="489"/>
                    </a:lnTo>
                    <a:lnTo>
                      <a:pt x="246" y="470"/>
                    </a:lnTo>
                    <a:lnTo>
                      <a:pt x="246" y="470"/>
                    </a:lnTo>
                    <a:lnTo>
                      <a:pt x="246" y="470"/>
                    </a:lnTo>
                    <a:lnTo>
                      <a:pt x="258" y="470"/>
                    </a:lnTo>
                    <a:lnTo>
                      <a:pt x="266" y="469"/>
                    </a:lnTo>
                    <a:lnTo>
                      <a:pt x="273" y="468"/>
                    </a:lnTo>
                    <a:lnTo>
                      <a:pt x="279" y="463"/>
                    </a:lnTo>
                    <a:lnTo>
                      <a:pt x="279" y="463"/>
                    </a:lnTo>
                    <a:lnTo>
                      <a:pt x="276" y="460"/>
                    </a:lnTo>
                    <a:lnTo>
                      <a:pt x="271" y="456"/>
                    </a:lnTo>
                    <a:lnTo>
                      <a:pt x="259" y="450"/>
                    </a:lnTo>
                    <a:lnTo>
                      <a:pt x="255" y="447"/>
                    </a:lnTo>
                    <a:lnTo>
                      <a:pt x="250" y="444"/>
                    </a:lnTo>
                    <a:lnTo>
                      <a:pt x="247" y="439"/>
                    </a:lnTo>
                    <a:lnTo>
                      <a:pt x="246" y="435"/>
                    </a:lnTo>
                    <a:lnTo>
                      <a:pt x="246" y="435"/>
                    </a:lnTo>
                    <a:lnTo>
                      <a:pt x="247" y="427"/>
                    </a:lnTo>
                    <a:lnTo>
                      <a:pt x="249" y="420"/>
                    </a:lnTo>
                    <a:lnTo>
                      <a:pt x="253" y="413"/>
                    </a:lnTo>
                    <a:lnTo>
                      <a:pt x="258" y="407"/>
                    </a:lnTo>
                    <a:lnTo>
                      <a:pt x="264" y="401"/>
                    </a:lnTo>
                    <a:lnTo>
                      <a:pt x="271" y="397"/>
                    </a:lnTo>
                    <a:lnTo>
                      <a:pt x="279" y="394"/>
                    </a:lnTo>
                    <a:lnTo>
                      <a:pt x="286" y="393"/>
                    </a:lnTo>
                    <a:lnTo>
                      <a:pt x="286" y="393"/>
                    </a:lnTo>
                    <a:lnTo>
                      <a:pt x="293" y="395"/>
                    </a:lnTo>
                    <a:lnTo>
                      <a:pt x="303" y="399"/>
                    </a:lnTo>
                    <a:lnTo>
                      <a:pt x="328" y="412"/>
                    </a:lnTo>
                    <a:lnTo>
                      <a:pt x="355" y="425"/>
                    </a:lnTo>
                    <a:lnTo>
                      <a:pt x="365" y="432"/>
                    </a:lnTo>
                    <a:lnTo>
                      <a:pt x="371" y="438"/>
                    </a:lnTo>
                    <a:lnTo>
                      <a:pt x="371" y="438"/>
                    </a:lnTo>
                    <a:lnTo>
                      <a:pt x="460" y="438"/>
                    </a:lnTo>
                    <a:lnTo>
                      <a:pt x="460" y="438"/>
                    </a:lnTo>
                    <a:lnTo>
                      <a:pt x="455" y="412"/>
                    </a:lnTo>
                    <a:lnTo>
                      <a:pt x="455" y="412"/>
                    </a:lnTo>
                    <a:lnTo>
                      <a:pt x="455" y="412"/>
                    </a:lnTo>
                    <a:lnTo>
                      <a:pt x="465" y="390"/>
                    </a:lnTo>
                    <a:lnTo>
                      <a:pt x="469" y="379"/>
                    </a:lnTo>
                    <a:lnTo>
                      <a:pt x="470" y="368"/>
                    </a:lnTo>
                    <a:lnTo>
                      <a:pt x="470" y="368"/>
                    </a:lnTo>
                    <a:lnTo>
                      <a:pt x="470" y="349"/>
                    </a:lnTo>
                    <a:lnTo>
                      <a:pt x="470" y="349"/>
                    </a:lnTo>
                    <a:lnTo>
                      <a:pt x="452" y="349"/>
                    </a:lnTo>
                    <a:lnTo>
                      <a:pt x="444" y="349"/>
                    </a:lnTo>
                    <a:lnTo>
                      <a:pt x="437" y="347"/>
                    </a:lnTo>
                    <a:lnTo>
                      <a:pt x="431" y="345"/>
                    </a:lnTo>
                    <a:lnTo>
                      <a:pt x="426" y="340"/>
                    </a:lnTo>
                    <a:lnTo>
                      <a:pt x="423" y="333"/>
                    </a:lnTo>
                    <a:lnTo>
                      <a:pt x="422" y="323"/>
                    </a:lnTo>
                    <a:lnTo>
                      <a:pt x="422" y="323"/>
                    </a:lnTo>
                    <a:lnTo>
                      <a:pt x="415" y="325"/>
                    </a:lnTo>
                    <a:lnTo>
                      <a:pt x="407" y="326"/>
                    </a:lnTo>
                    <a:lnTo>
                      <a:pt x="399" y="325"/>
                    </a:lnTo>
                    <a:lnTo>
                      <a:pt x="389" y="323"/>
                    </a:lnTo>
                    <a:lnTo>
                      <a:pt x="389" y="323"/>
                    </a:lnTo>
                    <a:lnTo>
                      <a:pt x="392" y="313"/>
                    </a:lnTo>
                    <a:lnTo>
                      <a:pt x="396" y="303"/>
                    </a:lnTo>
                    <a:lnTo>
                      <a:pt x="402" y="294"/>
                    </a:lnTo>
                    <a:lnTo>
                      <a:pt x="408" y="285"/>
                    </a:lnTo>
                    <a:lnTo>
                      <a:pt x="422" y="269"/>
                    </a:lnTo>
                    <a:lnTo>
                      <a:pt x="438" y="253"/>
                    </a:lnTo>
                    <a:lnTo>
                      <a:pt x="453" y="237"/>
                    </a:lnTo>
                    <a:lnTo>
                      <a:pt x="460" y="229"/>
                    </a:lnTo>
                    <a:lnTo>
                      <a:pt x="465" y="219"/>
                    </a:lnTo>
                    <a:lnTo>
                      <a:pt x="470" y="210"/>
                    </a:lnTo>
                    <a:lnTo>
                      <a:pt x="475" y="200"/>
                    </a:lnTo>
                    <a:lnTo>
                      <a:pt x="477" y="188"/>
                    </a:lnTo>
                    <a:lnTo>
                      <a:pt x="478" y="177"/>
                    </a:lnTo>
                    <a:lnTo>
                      <a:pt x="478" y="177"/>
                    </a:lnTo>
                    <a:lnTo>
                      <a:pt x="477" y="158"/>
                    </a:lnTo>
                    <a:lnTo>
                      <a:pt x="475" y="138"/>
                    </a:lnTo>
                    <a:lnTo>
                      <a:pt x="471" y="118"/>
                    </a:lnTo>
                    <a:lnTo>
                      <a:pt x="467" y="100"/>
                    </a:lnTo>
                    <a:lnTo>
                      <a:pt x="467" y="100"/>
                    </a:lnTo>
                    <a:lnTo>
                      <a:pt x="461" y="96"/>
                    </a:lnTo>
                    <a:lnTo>
                      <a:pt x="457" y="93"/>
                    </a:lnTo>
                    <a:lnTo>
                      <a:pt x="449" y="84"/>
                    </a:lnTo>
                    <a:lnTo>
                      <a:pt x="442" y="76"/>
                    </a:lnTo>
                    <a:lnTo>
                      <a:pt x="439" y="72"/>
                    </a:lnTo>
                    <a:lnTo>
                      <a:pt x="433" y="70"/>
                    </a:lnTo>
                    <a:lnTo>
                      <a:pt x="433" y="70"/>
                    </a:lnTo>
                    <a:lnTo>
                      <a:pt x="423" y="68"/>
                    </a:lnTo>
                    <a:lnTo>
                      <a:pt x="412" y="65"/>
                    </a:lnTo>
                    <a:lnTo>
                      <a:pt x="392" y="65"/>
                    </a:lnTo>
                    <a:lnTo>
                      <a:pt x="383" y="65"/>
                    </a:lnTo>
                    <a:lnTo>
                      <a:pt x="373" y="64"/>
                    </a:lnTo>
                    <a:lnTo>
                      <a:pt x="365" y="61"/>
                    </a:lnTo>
                    <a:lnTo>
                      <a:pt x="356" y="55"/>
                    </a:lnTo>
                    <a:lnTo>
                      <a:pt x="356" y="55"/>
                    </a:lnTo>
                    <a:lnTo>
                      <a:pt x="340" y="39"/>
                    </a:lnTo>
                    <a:lnTo>
                      <a:pt x="330" y="30"/>
                    </a:lnTo>
                    <a:lnTo>
                      <a:pt x="319" y="20"/>
                    </a:lnTo>
                    <a:lnTo>
                      <a:pt x="307" y="12"/>
                    </a:lnTo>
                    <a:lnTo>
                      <a:pt x="295" y="7"/>
                    </a:lnTo>
                    <a:lnTo>
                      <a:pt x="281" y="2"/>
                    </a:lnTo>
                    <a:lnTo>
                      <a:pt x="276" y="1"/>
                    </a:lnTo>
                    <a:lnTo>
                      <a:pt x="269" y="0"/>
                    </a:lnTo>
                    <a:lnTo>
                      <a:pt x="269" y="0"/>
                    </a:lnTo>
                    <a:lnTo>
                      <a:pt x="265" y="1"/>
                    </a:lnTo>
                    <a:lnTo>
                      <a:pt x="261" y="4"/>
                    </a:lnTo>
                    <a:lnTo>
                      <a:pt x="261" y="4"/>
                    </a:lnTo>
                    <a:lnTo>
                      <a:pt x="259" y="16"/>
                    </a:lnTo>
                    <a:lnTo>
                      <a:pt x="257" y="25"/>
                    </a:lnTo>
                    <a:lnTo>
                      <a:pt x="255" y="33"/>
                    </a:lnTo>
                    <a:lnTo>
                      <a:pt x="251" y="41"/>
                    </a:lnTo>
                    <a:lnTo>
                      <a:pt x="248" y="48"/>
                    </a:lnTo>
                    <a:lnTo>
                      <a:pt x="246" y="57"/>
                    </a:lnTo>
                    <a:lnTo>
                      <a:pt x="243" y="66"/>
                    </a:lnTo>
                    <a:lnTo>
                      <a:pt x="242" y="78"/>
                    </a:lnTo>
                    <a:lnTo>
                      <a:pt x="242" y="78"/>
                    </a:lnTo>
                    <a:lnTo>
                      <a:pt x="243" y="92"/>
                    </a:lnTo>
                    <a:lnTo>
                      <a:pt x="244" y="102"/>
                    </a:lnTo>
                    <a:lnTo>
                      <a:pt x="249" y="110"/>
                    </a:lnTo>
                    <a:lnTo>
                      <a:pt x="254" y="118"/>
                    </a:lnTo>
                    <a:lnTo>
                      <a:pt x="254" y="118"/>
                    </a:lnTo>
                    <a:lnTo>
                      <a:pt x="250" y="120"/>
                    </a:lnTo>
                    <a:lnTo>
                      <a:pt x="247" y="124"/>
                    </a:lnTo>
                    <a:lnTo>
                      <a:pt x="238" y="127"/>
                    </a:lnTo>
                    <a:lnTo>
                      <a:pt x="226" y="130"/>
                    </a:lnTo>
                    <a:lnTo>
                      <a:pt x="215" y="131"/>
                    </a:lnTo>
                    <a:lnTo>
                      <a:pt x="190" y="130"/>
                    </a:lnTo>
                    <a:lnTo>
                      <a:pt x="172" y="129"/>
                    </a:lnTo>
                    <a:lnTo>
                      <a:pt x="172" y="129"/>
                    </a:lnTo>
                    <a:lnTo>
                      <a:pt x="170" y="141"/>
                    </a:lnTo>
                    <a:lnTo>
                      <a:pt x="167" y="146"/>
                    </a:lnTo>
                    <a:lnTo>
                      <a:pt x="166" y="150"/>
                    </a:lnTo>
                    <a:lnTo>
                      <a:pt x="163" y="154"/>
                    </a:lnTo>
                    <a:lnTo>
                      <a:pt x="159" y="156"/>
                    </a:lnTo>
                    <a:lnTo>
                      <a:pt x="156" y="157"/>
                    </a:lnTo>
                    <a:lnTo>
                      <a:pt x="150" y="158"/>
                    </a:lnTo>
                    <a:lnTo>
                      <a:pt x="150" y="158"/>
                    </a:lnTo>
                    <a:lnTo>
                      <a:pt x="144" y="157"/>
                    </a:lnTo>
                    <a:lnTo>
                      <a:pt x="140" y="155"/>
                    </a:lnTo>
                    <a:lnTo>
                      <a:pt x="135" y="152"/>
                    </a:lnTo>
                    <a:lnTo>
                      <a:pt x="132" y="147"/>
                    </a:lnTo>
                    <a:lnTo>
                      <a:pt x="127" y="137"/>
                    </a:lnTo>
                    <a:lnTo>
                      <a:pt x="125" y="129"/>
                    </a:lnTo>
                    <a:lnTo>
                      <a:pt x="125" y="129"/>
                    </a:lnTo>
                    <a:lnTo>
                      <a:pt x="116" y="130"/>
                    </a:lnTo>
                    <a:lnTo>
                      <a:pt x="109" y="132"/>
                    </a:lnTo>
                    <a:lnTo>
                      <a:pt x="105" y="132"/>
                    </a:lnTo>
                    <a:lnTo>
                      <a:pt x="101" y="132"/>
                    </a:lnTo>
                    <a:lnTo>
                      <a:pt x="97" y="131"/>
                    </a:lnTo>
                    <a:lnTo>
                      <a:pt x="91" y="129"/>
                    </a:lnTo>
                    <a:lnTo>
                      <a:pt x="91" y="129"/>
                    </a:lnTo>
                    <a:lnTo>
                      <a:pt x="95" y="123"/>
                    </a:lnTo>
                    <a:lnTo>
                      <a:pt x="98" y="118"/>
                    </a:lnTo>
                    <a:lnTo>
                      <a:pt x="105" y="110"/>
                    </a:lnTo>
                    <a:lnTo>
                      <a:pt x="109" y="107"/>
                    </a:lnTo>
                    <a:lnTo>
                      <a:pt x="111" y="103"/>
                    </a:lnTo>
                    <a:lnTo>
                      <a:pt x="113" y="99"/>
                    </a:lnTo>
                    <a:lnTo>
                      <a:pt x="113" y="93"/>
                    </a:lnTo>
                    <a:lnTo>
                      <a:pt x="113" y="93"/>
                    </a:lnTo>
                    <a:lnTo>
                      <a:pt x="112" y="86"/>
                    </a:lnTo>
                    <a:lnTo>
                      <a:pt x="110" y="81"/>
                    </a:lnTo>
                    <a:lnTo>
                      <a:pt x="106" y="78"/>
                    </a:lnTo>
                    <a:lnTo>
                      <a:pt x="101" y="76"/>
                    </a:lnTo>
                    <a:lnTo>
                      <a:pt x="95" y="74"/>
                    </a:lnTo>
                    <a:lnTo>
                      <a:pt x="89" y="74"/>
                    </a:lnTo>
                    <a:lnTo>
                      <a:pt x="78" y="73"/>
                    </a:lnTo>
                    <a:lnTo>
                      <a:pt x="78" y="73"/>
                    </a:lnTo>
                    <a:lnTo>
                      <a:pt x="66" y="74"/>
                    </a:lnTo>
                    <a:lnTo>
                      <a:pt x="56" y="77"/>
                    </a:lnTo>
                    <a:lnTo>
                      <a:pt x="48" y="80"/>
                    </a:lnTo>
                    <a:lnTo>
                      <a:pt x="41" y="85"/>
                    </a:lnTo>
                    <a:lnTo>
                      <a:pt x="36" y="92"/>
                    </a:lnTo>
                    <a:lnTo>
                      <a:pt x="33" y="100"/>
                    </a:lnTo>
                    <a:lnTo>
                      <a:pt x="30" y="110"/>
                    </a:lnTo>
                    <a:lnTo>
                      <a:pt x="29" y="122"/>
                    </a:lnTo>
                    <a:lnTo>
                      <a:pt x="29" y="122"/>
                    </a:lnTo>
                    <a:lnTo>
                      <a:pt x="30" y="142"/>
                    </a:lnTo>
                    <a:lnTo>
                      <a:pt x="33" y="161"/>
                    </a:lnTo>
                    <a:lnTo>
                      <a:pt x="36" y="176"/>
                    </a:lnTo>
                    <a:lnTo>
                      <a:pt x="40" y="183"/>
                    </a:lnTo>
                    <a:lnTo>
                      <a:pt x="42" y="188"/>
                    </a:lnTo>
                    <a:lnTo>
                      <a:pt x="47" y="193"/>
                    </a:lnTo>
                    <a:lnTo>
                      <a:pt x="50" y="198"/>
                    </a:lnTo>
                    <a:lnTo>
                      <a:pt x="55" y="201"/>
                    </a:lnTo>
                    <a:lnTo>
                      <a:pt x="60" y="204"/>
                    </a:lnTo>
                    <a:lnTo>
                      <a:pt x="66" y="207"/>
                    </a:lnTo>
                    <a:lnTo>
                      <a:pt x="73" y="209"/>
                    </a:lnTo>
                    <a:lnTo>
                      <a:pt x="80" y="210"/>
                    </a:lnTo>
                    <a:lnTo>
                      <a:pt x="88" y="210"/>
                    </a:lnTo>
                    <a:lnTo>
                      <a:pt x="88" y="210"/>
                    </a:lnTo>
                    <a:lnTo>
                      <a:pt x="96" y="210"/>
                    </a:lnTo>
                    <a:lnTo>
                      <a:pt x="103" y="213"/>
                    </a:lnTo>
                    <a:lnTo>
                      <a:pt x="114" y="217"/>
                    </a:lnTo>
                    <a:lnTo>
                      <a:pt x="127" y="223"/>
                    </a:lnTo>
                    <a:lnTo>
                      <a:pt x="134" y="224"/>
                    </a:lnTo>
                    <a:lnTo>
                      <a:pt x="143" y="225"/>
                    </a:lnTo>
                    <a:lnTo>
                      <a:pt x="143" y="225"/>
                    </a:lnTo>
                    <a:lnTo>
                      <a:pt x="164" y="224"/>
                    </a:lnTo>
                    <a:lnTo>
                      <a:pt x="183" y="221"/>
                    </a:lnTo>
                    <a:lnTo>
                      <a:pt x="198" y="215"/>
                    </a:lnTo>
                    <a:lnTo>
                      <a:pt x="210" y="210"/>
                    </a:lnTo>
                    <a:lnTo>
                      <a:pt x="210" y="210"/>
                    </a:lnTo>
                    <a:lnTo>
                      <a:pt x="227" y="210"/>
                    </a:lnTo>
                    <a:lnTo>
                      <a:pt x="227" y="210"/>
                    </a:lnTo>
                    <a:lnTo>
                      <a:pt x="227" y="210"/>
                    </a:lnTo>
                    <a:lnTo>
                      <a:pt x="226" y="217"/>
                    </a:lnTo>
                    <a:lnTo>
                      <a:pt x="221" y="231"/>
                    </a:lnTo>
                    <a:lnTo>
                      <a:pt x="206" y="265"/>
                    </a:lnTo>
                    <a:lnTo>
                      <a:pt x="197" y="283"/>
                    </a:lnTo>
                    <a:lnTo>
                      <a:pt x="189" y="299"/>
                    </a:lnTo>
                    <a:lnTo>
                      <a:pt x="181" y="309"/>
                    </a:lnTo>
                    <a:lnTo>
                      <a:pt x="179" y="311"/>
                    </a:lnTo>
                    <a:lnTo>
                      <a:pt x="177" y="313"/>
                    </a:lnTo>
                    <a:lnTo>
                      <a:pt x="177" y="313"/>
                    </a:lnTo>
                    <a:lnTo>
                      <a:pt x="172" y="313"/>
                    </a:lnTo>
                    <a:lnTo>
                      <a:pt x="168" y="311"/>
                    </a:lnTo>
                    <a:lnTo>
                      <a:pt x="159" y="307"/>
                    </a:lnTo>
                    <a:lnTo>
                      <a:pt x="151" y="303"/>
                    </a:lnTo>
                    <a:lnTo>
                      <a:pt x="147" y="302"/>
                    </a:lnTo>
                    <a:lnTo>
                      <a:pt x="143" y="302"/>
                    </a:lnTo>
                    <a:lnTo>
                      <a:pt x="143" y="302"/>
                    </a:lnTo>
                    <a:lnTo>
                      <a:pt x="136" y="303"/>
                    </a:lnTo>
                    <a:lnTo>
                      <a:pt x="127" y="308"/>
                    </a:lnTo>
                    <a:lnTo>
                      <a:pt x="117" y="314"/>
                    </a:lnTo>
                    <a:lnTo>
                      <a:pt x="105" y="321"/>
                    </a:lnTo>
                    <a:lnTo>
                      <a:pt x="87" y="336"/>
                    </a:lnTo>
                    <a:lnTo>
                      <a:pt x="80" y="341"/>
                    </a:lnTo>
                    <a:lnTo>
                      <a:pt x="78" y="346"/>
                    </a:lnTo>
                    <a:lnTo>
                      <a:pt x="78" y="346"/>
                    </a:lnTo>
                    <a:lnTo>
                      <a:pt x="68" y="359"/>
                    </a:lnTo>
                    <a:lnTo>
                      <a:pt x="64" y="369"/>
                    </a:lnTo>
                    <a:lnTo>
                      <a:pt x="61" y="379"/>
                    </a:lnTo>
                    <a:lnTo>
                      <a:pt x="60" y="389"/>
                    </a:lnTo>
                    <a:lnTo>
                      <a:pt x="59" y="398"/>
                    </a:lnTo>
                    <a:lnTo>
                      <a:pt x="58" y="408"/>
                    </a:lnTo>
                    <a:lnTo>
                      <a:pt x="52" y="420"/>
                    </a:lnTo>
                    <a:lnTo>
                      <a:pt x="44" y="435"/>
                    </a:lnTo>
                    <a:lnTo>
                      <a:pt x="44" y="435"/>
                    </a:lnTo>
                    <a:lnTo>
                      <a:pt x="37" y="443"/>
                    </a:lnTo>
                    <a:lnTo>
                      <a:pt x="29" y="451"/>
                    </a:lnTo>
                    <a:lnTo>
                      <a:pt x="15" y="466"/>
                    </a:lnTo>
                    <a:lnTo>
                      <a:pt x="9" y="474"/>
                    </a:lnTo>
                    <a:lnTo>
                      <a:pt x="4" y="482"/>
                    </a:lnTo>
                    <a:lnTo>
                      <a:pt x="2" y="492"/>
                    </a:lnTo>
                    <a:lnTo>
                      <a:pt x="0" y="504"/>
                    </a:lnTo>
                    <a:lnTo>
                      <a:pt x="0" y="504"/>
                    </a:lnTo>
                    <a:lnTo>
                      <a:pt x="0" y="508"/>
                    </a:lnTo>
                    <a:lnTo>
                      <a:pt x="2" y="513"/>
                    </a:lnTo>
                    <a:lnTo>
                      <a:pt x="4" y="517"/>
                    </a:lnTo>
                    <a:lnTo>
                      <a:pt x="6" y="520"/>
                    </a:lnTo>
                    <a:lnTo>
                      <a:pt x="10" y="522"/>
                    </a:lnTo>
                    <a:lnTo>
                      <a:pt x="13" y="524"/>
                    </a:lnTo>
                    <a:lnTo>
                      <a:pt x="18" y="526"/>
                    </a:lnTo>
                    <a:lnTo>
                      <a:pt x="21" y="526"/>
                    </a:lnTo>
                    <a:lnTo>
                      <a:pt x="21" y="526"/>
                    </a:lnTo>
                    <a:lnTo>
                      <a:pt x="48" y="526"/>
                    </a:lnTo>
                    <a:lnTo>
                      <a:pt x="48" y="526"/>
                    </a:lnTo>
                    <a:lnTo>
                      <a:pt x="53" y="527"/>
                    </a:lnTo>
                    <a:lnTo>
                      <a:pt x="61" y="529"/>
                    </a:lnTo>
                    <a:lnTo>
                      <a:pt x="70" y="531"/>
                    </a:lnTo>
                    <a:lnTo>
                      <a:pt x="80" y="536"/>
                    </a:lnTo>
                    <a:lnTo>
                      <a:pt x="88" y="542"/>
                    </a:lnTo>
                    <a:lnTo>
                      <a:pt x="96" y="550"/>
                    </a:lnTo>
                    <a:lnTo>
                      <a:pt x="98" y="553"/>
                    </a:lnTo>
                    <a:lnTo>
                      <a:pt x="101" y="558"/>
                    </a:lnTo>
                    <a:lnTo>
                      <a:pt x="103" y="561"/>
                    </a:lnTo>
                    <a:lnTo>
                      <a:pt x="103" y="567"/>
                    </a:lnTo>
                    <a:lnTo>
                      <a:pt x="103" y="567"/>
                    </a:lnTo>
                    <a:lnTo>
                      <a:pt x="102" y="568"/>
                    </a:lnTo>
                    <a:lnTo>
                      <a:pt x="98" y="572"/>
                    </a:lnTo>
                    <a:lnTo>
                      <a:pt x="89" y="581"/>
                    </a:lnTo>
                    <a:lnTo>
                      <a:pt x="70" y="599"/>
                    </a:lnTo>
                    <a:lnTo>
                      <a:pt x="70" y="599"/>
                    </a:lnTo>
                    <a:lnTo>
                      <a:pt x="70" y="614"/>
                    </a:lnTo>
                    <a:lnTo>
                      <a:pt x="66" y="626"/>
                    </a:lnTo>
                    <a:lnTo>
                      <a:pt x="66" y="62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7" name="Freeform 62"/>
              <p:cNvSpPr>
                <a:spLocks noChangeAspect="1"/>
              </p:cNvSpPr>
              <p:nvPr/>
            </p:nvSpPr>
            <p:spPr bwMode="auto">
              <a:xfrm>
                <a:off x="1696923" y="4352133"/>
                <a:ext cx="683182" cy="599772"/>
              </a:xfrm>
              <a:custGeom>
                <a:avLst/>
                <a:gdLst/>
                <a:ahLst/>
                <a:cxnLst>
                  <a:cxn ang="0">
                    <a:pos x="28" y="301"/>
                  </a:cxn>
                  <a:cxn ang="0">
                    <a:pos x="66" y="338"/>
                  </a:cxn>
                  <a:cxn ang="0">
                    <a:pos x="119" y="338"/>
                  </a:cxn>
                  <a:cxn ang="0">
                    <a:pos x="126" y="387"/>
                  </a:cxn>
                  <a:cxn ang="0">
                    <a:pos x="150" y="408"/>
                  </a:cxn>
                  <a:cxn ang="0">
                    <a:pos x="191" y="434"/>
                  </a:cxn>
                  <a:cxn ang="0">
                    <a:pos x="212" y="525"/>
                  </a:cxn>
                  <a:cxn ang="0">
                    <a:pos x="249" y="564"/>
                  </a:cxn>
                  <a:cxn ang="0">
                    <a:pos x="273" y="599"/>
                  </a:cxn>
                  <a:cxn ang="0">
                    <a:pos x="321" y="649"/>
                  </a:cxn>
                  <a:cxn ang="0">
                    <a:pos x="393" y="632"/>
                  </a:cxn>
                  <a:cxn ang="0">
                    <a:pos x="445" y="637"/>
                  </a:cxn>
                  <a:cxn ang="0">
                    <a:pos x="479" y="684"/>
                  </a:cxn>
                  <a:cxn ang="0">
                    <a:pos x="559" y="698"/>
                  </a:cxn>
                  <a:cxn ang="0">
                    <a:pos x="598" y="790"/>
                  </a:cxn>
                  <a:cxn ang="0">
                    <a:pos x="648" y="823"/>
                  </a:cxn>
                  <a:cxn ang="0">
                    <a:pos x="689" y="808"/>
                  </a:cxn>
                  <a:cxn ang="0">
                    <a:pos x="729" y="845"/>
                  </a:cxn>
                  <a:cxn ang="0">
                    <a:pos x="779" y="861"/>
                  </a:cxn>
                  <a:cxn ang="0">
                    <a:pos x="838" y="837"/>
                  </a:cxn>
                  <a:cxn ang="0">
                    <a:pos x="858" y="779"/>
                  </a:cxn>
                  <a:cxn ang="0">
                    <a:pos x="819" y="753"/>
                  </a:cxn>
                  <a:cxn ang="0">
                    <a:pos x="815" y="726"/>
                  </a:cxn>
                  <a:cxn ang="0">
                    <a:pos x="782" y="706"/>
                  </a:cxn>
                  <a:cxn ang="0">
                    <a:pos x="791" y="683"/>
                  </a:cxn>
                  <a:cxn ang="0">
                    <a:pos x="776" y="657"/>
                  </a:cxn>
                  <a:cxn ang="0">
                    <a:pos x="773" y="617"/>
                  </a:cxn>
                  <a:cxn ang="0">
                    <a:pos x="804" y="576"/>
                  </a:cxn>
                  <a:cxn ang="0">
                    <a:pos x="756" y="545"/>
                  </a:cxn>
                  <a:cxn ang="0">
                    <a:pos x="709" y="544"/>
                  </a:cxn>
                  <a:cxn ang="0">
                    <a:pos x="669" y="573"/>
                  </a:cxn>
                  <a:cxn ang="0">
                    <a:pos x="624" y="599"/>
                  </a:cxn>
                  <a:cxn ang="0">
                    <a:pos x="584" y="568"/>
                  </a:cxn>
                  <a:cxn ang="0">
                    <a:pos x="557" y="564"/>
                  </a:cxn>
                  <a:cxn ang="0">
                    <a:pos x="522" y="569"/>
                  </a:cxn>
                  <a:cxn ang="0">
                    <a:pos x="485" y="530"/>
                  </a:cxn>
                  <a:cxn ang="0">
                    <a:pos x="501" y="500"/>
                  </a:cxn>
                  <a:cxn ang="0">
                    <a:pos x="479" y="460"/>
                  </a:cxn>
                  <a:cxn ang="0">
                    <a:pos x="507" y="439"/>
                  </a:cxn>
                  <a:cxn ang="0">
                    <a:pos x="518" y="417"/>
                  </a:cxn>
                  <a:cxn ang="0">
                    <a:pos x="489" y="386"/>
                  </a:cxn>
                  <a:cxn ang="0">
                    <a:pos x="461" y="401"/>
                  </a:cxn>
                  <a:cxn ang="0">
                    <a:pos x="449" y="371"/>
                  </a:cxn>
                  <a:cxn ang="0">
                    <a:pos x="440" y="280"/>
                  </a:cxn>
                  <a:cxn ang="0">
                    <a:pos x="396" y="178"/>
                  </a:cxn>
                  <a:cxn ang="0">
                    <a:pos x="385" y="100"/>
                  </a:cxn>
                  <a:cxn ang="0">
                    <a:pos x="361" y="67"/>
                  </a:cxn>
                  <a:cxn ang="0">
                    <a:pos x="371" y="31"/>
                  </a:cxn>
                  <a:cxn ang="0">
                    <a:pos x="349" y="6"/>
                  </a:cxn>
                  <a:cxn ang="0">
                    <a:pos x="319" y="4"/>
                  </a:cxn>
                  <a:cxn ang="0">
                    <a:pos x="308" y="52"/>
                  </a:cxn>
                  <a:cxn ang="0">
                    <a:pos x="274" y="77"/>
                  </a:cxn>
                  <a:cxn ang="0">
                    <a:pos x="237" y="124"/>
                  </a:cxn>
                  <a:cxn ang="0">
                    <a:pos x="193" y="161"/>
                  </a:cxn>
                  <a:cxn ang="0">
                    <a:pos x="148" y="179"/>
                  </a:cxn>
                  <a:cxn ang="0">
                    <a:pos x="91" y="235"/>
                  </a:cxn>
                  <a:cxn ang="0">
                    <a:pos x="13" y="260"/>
                  </a:cxn>
                </a:cxnLst>
                <a:rect l="0" t="0" r="r" b="b"/>
                <a:pathLst>
                  <a:path w="861" h="862">
                    <a:moveTo>
                      <a:pt x="0" y="279"/>
                    </a:moveTo>
                    <a:lnTo>
                      <a:pt x="0" y="279"/>
                    </a:lnTo>
                    <a:lnTo>
                      <a:pt x="7" y="281"/>
                    </a:lnTo>
                    <a:lnTo>
                      <a:pt x="13" y="283"/>
                    </a:lnTo>
                    <a:lnTo>
                      <a:pt x="18" y="287"/>
                    </a:lnTo>
                    <a:lnTo>
                      <a:pt x="21" y="292"/>
                    </a:lnTo>
                    <a:lnTo>
                      <a:pt x="28" y="301"/>
                    </a:lnTo>
                    <a:lnTo>
                      <a:pt x="34" y="311"/>
                    </a:lnTo>
                    <a:lnTo>
                      <a:pt x="40" y="321"/>
                    </a:lnTo>
                    <a:lnTo>
                      <a:pt x="44" y="326"/>
                    </a:lnTo>
                    <a:lnTo>
                      <a:pt x="48" y="329"/>
                    </a:lnTo>
                    <a:lnTo>
                      <a:pt x="53" y="333"/>
                    </a:lnTo>
                    <a:lnTo>
                      <a:pt x="59" y="335"/>
                    </a:lnTo>
                    <a:lnTo>
                      <a:pt x="66" y="338"/>
                    </a:lnTo>
                    <a:lnTo>
                      <a:pt x="74" y="338"/>
                    </a:lnTo>
                    <a:lnTo>
                      <a:pt x="74" y="338"/>
                    </a:lnTo>
                    <a:lnTo>
                      <a:pt x="87" y="338"/>
                    </a:lnTo>
                    <a:lnTo>
                      <a:pt x="98" y="335"/>
                    </a:lnTo>
                    <a:lnTo>
                      <a:pt x="109" y="335"/>
                    </a:lnTo>
                    <a:lnTo>
                      <a:pt x="113" y="336"/>
                    </a:lnTo>
                    <a:lnTo>
                      <a:pt x="119" y="338"/>
                    </a:lnTo>
                    <a:lnTo>
                      <a:pt x="119" y="338"/>
                    </a:lnTo>
                    <a:lnTo>
                      <a:pt x="122" y="343"/>
                    </a:lnTo>
                    <a:lnTo>
                      <a:pt x="126" y="349"/>
                    </a:lnTo>
                    <a:lnTo>
                      <a:pt x="126" y="357"/>
                    </a:lnTo>
                    <a:lnTo>
                      <a:pt x="126" y="364"/>
                    </a:lnTo>
                    <a:lnTo>
                      <a:pt x="126" y="380"/>
                    </a:lnTo>
                    <a:lnTo>
                      <a:pt x="126" y="387"/>
                    </a:lnTo>
                    <a:lnTo>
                      <a:pt x="126" y="393"/>
                    </a:lnTo>
                    <a:lnTo>
                      <a:pt x="126" y="393"/>
                    </a:lnTo>
                    <a:lnTo>
                      <a:pt x="128" y="397"/>
                    </a:lnTo>
                    <a:lnTo>
                      <a:pt x="132" y="400"/>
                    </a:lnTo>
                    <a:lnTo>
                      <a:pt x="135" y="403"/>
                    </a:lnTo>
                    <a:lnTo>
                      <a:pt x="140" y="404"/>
                    </a:lnTo>
                    <a:lnTo>
                      <a:pt x="150" y="408"/>
                    </a:lnTo>
                    <a:lnTo>
                      <a:pt x="162" y="411"/>
                    </a:lnTo>
                    <a:lnTo>
                      <a:pt x="173" y="416"/>
                    </a:lnTo>
                    <a:lnTo>
                      <a:pt x="179" y="418"/>
                    </a:lnTo>
                    <a:lnTo>
                      <a:pt x="182" y="420"/>
                    </a:lnTo>
                    <a:lnTo>
                      <a:pt x="187" y="425"/>
                    </a:lnTo>
                    <a:lnTo>
                      <a:pt x="189" y="430"/>
                    </a:lnTo>
                    <a:lnTo>
                      <a:pt x="191" y="434"/>
                    </a:lnTo>
                    <a:lnTo>
                      <a:pt x="193" y="441"/>
                    </a:lnTo>
                    <a:lnTo>
                      <a:pt x="193" y="441"/>
                    </a:lnTo>
                    <a:lnTo>
                      <a:pt x="193" y="454"/>
                    </a:lnTo>
                    <a:lnTo>
                      <a:pt x="195" y="470"/>
                    </a:lnTo>
                    <a:lnTo>
                      <a:pt x="199" y="488"/>
                    </a:lnTo>
                    <a:lnTo>
                      <a:pt x="205" y="507"/>
                    </a:lnTo>
                    <a:lnTo>
                      <a:pt x="212" y="525"/>
                    </a:lnTo>
                    <a:lnTo>
                      <a:pt x="220" y="541"/>
                    </a:lnTo>
                    <a:lnTo>
                      <a:pt x="225" y="548"/>
                    </a:lnTo>
                    <a:lnTo>
                      <a:pt x="229" y="554"/>
                    </a:lnTo>
                    <a:lnTo>
                      <a:pt x="234" y="558"/>
                    </a:lnTo>
                    <a:lnTo>
                      <a:pt x="240" y="562"/>
                    </a:lnTo>
                    <a:lnTo>
                      <a:pt x="240" y="562"/>
                    </a:lnTo>
                    <a:lnTo>
                      <a:pt x="249" y="564"/>
                    </a:lnTo>
                    <a:lnTo>
                      <a:pt x="257" y="567"/>
                    </a:lnTo>
                    <a:lnTo>
                      <a:pt x="262" y="570"/>
                    </a:lnTo>
                    <a:lnTo>
                      <a:pt x="266" y="575"/>
                    </a:lnTo>
                    <a:lnTo>
                      <a:pt x="269" y="580"/>
                    </a:lnTo>
                    <a:lnTo>
                      <a:pt x="271" y="586"/>
                    </a:lnTo>
                    <a:lnTo>
                      <a:pt x="273" y="599"/>
                    </a:lnTo>
                    <a:lnTo>
                      <a:pt x="273" y="599"/>
                    </a:lnTo>
                    <a:lnTo>
                      <a:pt x="275" y="610"/>
                    </a:lnTo>
                    <a:lnTo>
                      <a:pt x="280" y="619"/>
                    </a:lnTo>
                    <a:lnTo>
                      <a:pt x="286" y="629"/>
                    </a:lnTo>
                    <a:lnTo>
                      <a:pt x="293" y="636"/>
                    </a:lnTo>
                    <a:lnTo>
                      <a:pt x="302" y="641"/>
                    </a:lnTo>
                    <a:lnTo>
                      <a:pt x="311" y="646"/>
                    </a:lnTo>
                    <a:lnTo>
                      <a:pt x="321" y="649"/>
                    </a:lnTo>
                    <a:lnTo>
                      <a:pt x="332" y="651"/>
                    </a:lnTo>
                    <a:lnTo>
                      <a:pt x="332" y="651"/>
                    </a:lnTo>
                    <a:lnTo>
                      <a:pt x="343" y="649"/>
                    </a:lnTo>
                    <a:lnTo>
                      <a:pt x="353" y="647"/>
                    </a:lnTo>
                    <a:lnTo>
                      <a:pt x="373" y="639"/>
                    </a:lnTo>
                    <a:lnTo>
                      <a:pt x="382" y="636"/>
                    </a:lnTo>
                    <a:lnTo>
                      <a:pt x="393" y="632"/>
                    </a:lnTo>
                    <a:lnTo>
                      <a:pt x="404" y="630"/>
                    </a:lnTo>
                    <a:lnTo>
                      <a:pt x="416" y="629"/>
                    </a:lnTo>
                    <a:lnTo>
                      <a:pt x="416" y="629"/>
                    </a:lnTo>
                    <a:lnTo>
                      <a:pt x="425" y="629"/>
                    </a:lnTo>
                    <a:lnTo>
                      <a:pt x="433" y="631"/>
                    </a:lnTo>
                    <a:lnTo>
                      <a:pt x="439" y="633"/>
                    </a:lnTo>
                    <a:lnTo>
                      <a:pt x="445" y="637"/>
                    </a:lnTo>
                    <a:lnTo>
                      <a:pt x="449" y="640"/>
                    </a:lnTo>
                    <a:lnTo>
                      <a:pt x="454" y="645"/>
                    </a:lnTo>
                    <a:lnTo>
                      <a:pt x="460" y="654"/>
                    </a:lnTo>
                    <a:lnTo>
                      <a:pt x="465" y="664"/>
                    </a:lnTo>
                    <a:lnTo>
                      <a:pt x="471" y="675"/>
                    </a:lnTo>
                    <a:lnTo>
                      <a:pt x="475" y="679"/>
                    </a:lnTo>
                    <a:lnTo>
                      <a:pt x="479" y="684"/>
                    </a:lnTo>
                    <a:lnTo>
                      <a:pt x="484" y="687"/>
                    </a:lnTo>
                    <a:lnTo>
                      <a:pt x="489" y="691"/>
                    </a:lnTo>
                    <a:lnTo>
                      <a:pt x="489" y="691"/>
                    </a:lnTo>
                    <a:lnTo>
                      <a:pt x="552" y="691"/>
                    </a:lnTo>
                    <a:lnTo>
                      <a:pt x="552" y="691"/>
                    </a:lnTo>
                    <a:lnTo>
                      <a:pt x="552" y="691"/>
                    </a:lnTo>
                    <a:lnTo>
                      <a:pt x="559" y="698"/>
                    </a:lnTo>
                    <a:lnTo>
                      <a:pt x="564" y="706"/>
                    </a:lnTo>
                    <a:lnTo>
                      <a:pt x="570" y="715"/>
                    </a:lnTo>
                    <a:lnTo>
                      <a:pt x="575" y="725"/>
                    </a:lnTo>
                    <a:lnTo>
                      <a:pt x="582" y="747"/>
                    </a:lnTo>
                    <a:lnTo>
                      <a:pt x="588" y="769"/>
                    </a:lnTo>
                    <a:lnTo>
                      <a:pt x="593" y="779"/>
                    </a:lnTo>
                    <a:lnTo>
                      <a:pt x="598" y="790"/>
                    </a:lnTo>
                    <a:lnTo>
                      <a:pt x="602" y="799"/>
                    </a:lnTo>
                    <a:lnTo>
                      <a:pt x="609" y="807"/>
                    </a:lnTo>
                    <a:lnTo>
                      <a:pt x="616" y="814"/>
                    </a:lnTo>
                    <a:lnTo>
                      <a:pt x="625" y="819"/>
                    </a:lnTo>
                    <a:lnTo>
                      <a:pt x="636" y="822"/>
                    </a:lnTo>
                    <a:lnTo>
                      <a:pt x="648" y="823"/>
                    </a:lnTo>
                    <a:lnTo>
                      <a:pt x="648" y="823"/>
                    </a:lnTo>
                    <a:lnTo>
                      <a:pt x="653" y="822"/>
                    </a:lnTo>
                    <a:lnTo>
                      <a:pt x="657" y="821"/>
                    </a:lnTo>
                    <a:lnTo>
                      <a:pt x="667" y="816"/>
                    </a:lnTo>
                    <a:lnTo>
                      <a:pt x="676" y="810"/>
                    </a:lnTo>
                    <a:lnTo>
                      <a:pt x="682" y="809"/>
                    </a:lnTo>
                    <a:lnTo>
                      <a:pt x="689" y="808"/>
                    </a:lnTo>
                    <a:lnTo>
                      <a:pt x="689" y="808"/>
                    </a:lnTo>
                    <a:lnTo>
                      <a:pt x="694" y="809"/>
                    </a:lnTo>
                    <a:lnTo>
                      <a:pt x="699" y="810"/>
                    </a:lnTo>
                    <a:lnTo>
                      <a:pt x="703" y="814"/>
                    </a:lnTo>
                    <a:lnTo>
                      <a:pt x="708" y="817"/>
                    </a:lnTo>
                    <a:lnTo>
                      <a:pt x="715" y="825"/>
                    </a:lnTo>
                    <a:lnTo>
                      <a:pt x="722" y="836"/>
                    </a:lnTo>
                    <a:lnTo>
                      <a:pt x="729" y="845"/>
                    </a:lnTo>
                    <a:lnTo>
                      <a:pt x="736" y="854"/>
                    </a:lnTo>
                    <a:lnTo>
                      <a:pt x="740" y="858"/>
                    </a:lnTo>
                    <a:lnTo>
                      <a:pt x="746" y="860"/>
                    </a:lnTo>
                    <a:lnTo>
                      <a:pt x="752" y="862"/>
                    </a:lnTo>
                    <a:lnTo>
                      <a:pt x="758" y="862"/>
                    </a:lnTo>
                    <a:lnTo>
                      <a:pt x="758" y="862"/>
                    </a:lnTo>
                    <a:lnTo>
                      <a:pt x="779" y="861"/>
                    </a:lnTo>
                    <a:lnTo>
                      <a:pt x="798" y="859"/>
                    </a:lnTo>
                    <a:lnTo>
                      <a:pt x="807" y="857"/>
                    </a:lnTo>
                    <a:lnTo>
                      <a:pt x="814" y="853"/>
                    </a:lnTo>
                    <a:lnTo>
                      <a:pt x="821" y="850"/>
                    </a:lnTo>
                    <a:lnTo>
                      <a:pt x="828" y="846"/>
                    </a:lnTo>
                    <a:lnTo>
                      <a:pt x="834" y="842"/>
                    </a:lnTo>
                    <a:lnTo>
                      <a:pt x="838" y="837"/>
                    </a:lnTo>
                    <a:lnTo>
                      <a:pt x="847" y="825"/>
                    </a:lnTo>
                    <a:lnTo>
                      <a:pt x="854" y="813"/>
                    </a:lnTo>
                    <a:lnTo>
                      <a:pt x="861" y="797"/>
                    </a:lnTo>
                    <a:lnTo>
                      <a:pt x="861" y="797"/>
                    </a:lnTo>
                    <a:lnTo>
                      <a:pt x="860" y="790"/>
                    </a:lnTo>
                    <a:lnTo>
                      <a:pt x="859" y="784"/>
                    </a:lnTo>
                    <a:lnTo>
                      <a:pt x="858" y="779"/>
                    </a:lnTo>
                    <a:lnTo>
                      <a:pt x="855" y="775"/>
                    </a:lnTo>
                    <a:lnTo>
                      <a:pt x="853" y="771"/>
                    </a:lnTo>
                    <a:lnTo>
                      <a:pt x="850" y="769"/>
                    </a:lnTo>
                    <a:lnTo>
                      <a:pt x="843" y="764"/>
                    </a:lnTo>
                    <a:lnTo>
                      <a:pt x="828" y="759"/>
                    </a:lnTo>
                    <a:lnTo>
                      <a:pt x="822" y="755"/>
                    </a:lnTo>
                    <a:lnTo>
                      <a:pt x="819" y="753"/>
                    </a:lnTo>
                    <a:lnTo>
                      <a:pt x="816" y="749"/>
                    </a:lnTo>
                    <a:lnTo>
                      <a:pt x="816" y="749"/>
                    </a:lnTo>
                    <a:lnTo>
                      <a:pt x="815" y="746"/>
                    </a:lnTo>
                    <a:lnTo>
                      <a:pt x="815" y="744"/>
                    </a:lnTo>
                    <a:lnTo>
                      <a:pt x="816" y="737"/>
                    </a:lnTo>
                    <a:lnTo>
                      <a:pt x="816" y="730"/>
                    </a:lnTo>
                    <a:lnTo>
                      <a:pt x="815" y="726"/>
                    </a:lnTo>
                    <a:lnTo>
                      <a:pt x="813" y="724"/>
                    </a:lnTo>
                    <a:lnTo>
                      <a:pt x="813" y="724"/>
                    </a:lnTo>
                    <a:lnTo>
                      <a:pt x="811" y="720"/>
                    </a:lnTo>
                    <a:lnTo>
                      <a:pt x="806" y="717"/>
                    </a:lnTo>
                    <a:lnTo>
                      <a:pt x="796" y="713"/>
                    </a:lnTo>
                    <a:lnTo>
                      <a:pt x="785" y="708"/>
                    </a:lnTo>
                    <a:lnTo>
                      <a:pt x="782" y="706"/>
                    </a:lnTo>
                    <a:lnTo>
                      <a:pt x="781" y="702"/>
                    </a:lnTo>
                    <a:lnTo>
                      <a:pt x="781" y="702"/>
                    </a:lnTo>
                    <a:lnTo>
                      <a:pt x="781" y="699"/>
                    </a:lnTo>
                    <a:lnTo>
                      <a:pt x="782" y="697"/>
                    </a:lnTo>
                    <a:lnTo>
                      <a:pt x="785" y="691"/>
                    </a:lnTo>
                    <a:lnTo>
                      <a:pt x="790" y="685"/>
                    </a:lnTo>
                    <a:lnTo>
                      <a:pt x="791" y="683"/>
                    </a:lnTo>
                    <a:lnTo>
                      <a:pt x="791" y="679"/>
                    </a:lnTo>
                    <a:lnTo>
                      <a:pt x="791" y="679"/>
                    </a:lnTo>
                    <a:lnTo>
                      <a:pt x="790" y="672"/>
                    </a:lnTo>
                    <a:lnTo>
                      <a:pt x="787" y="668"/>
                    </a:lnTo>
                    <a:lnTo>
                      <a:pt x="784" y="663"/>
                    </a:lnTo>
                    <a:lnTo>
                      <a:pt x="781" y="660"/>
                    </a:lnTo>
                    <a:lnTo>
                      <a:pt x="776" y="657"/>
                    </a:lnTo>
                    <a:lnTo>
                      <a:pt x="773" y="654"/>
                    </a:lnTo>
                    <a:lnTo>
                      <a:pt x="770" y="649"/>
                    </a:lnTo>
                    <a:lnTo>
                      <a:pt x="769" y="644"/>
                    </a:lnTo>
                    <a:lnTo>
                      <a:pt x="769" y="644"/>
                    </a:lnTo>
                    <a:lnTo>
                      <a:pt x="773" y="617"/>
                    </a:lnTo>
                    <a:lnTo>
                      <a:pt x="773" y="617"/>
                    </a:lnTo>
                    <a:lnTo>
                      <a:pt x="773" y="617"/>
                    </a:lnTo>
                    <a:lnTo>
                      <a:pt x="792" y="599"/>
                    </a:lnTo>
                    <a:lnTo>
                      <a:pt x="801" y="590"/>
                    </a:lnTo>
                    <a:lnTo>
                      <a:pt x="805" y="586"/>
                    </a:lnTo>
                    <a:lnTo>
                      <a:pt x="806" y="585"/>
                    </a:lnTo>
                    <a:lnTo>
                      <a:pt x="806" y="585"/>
                    </a:lnTo>
                    <a:lnTo>
                      <a:pt x="806" y="579"/>
                    </a:lnTo>
                    <a:lnTo>
                      <a:pt x="804" y="576"/>
                    </a:lnTo>
                    <a:lnTo>
                      <a:pt x="801" y="571"/>
                    </a:lnTo>
                    <a:lnTo>
                      <a:pt x="799" y="568"/>
                    </a:lnTo>
                    <a:lnTo>
                      <a:pt x="791" y="560"/>
                    </a:lnTo>
                    <a:lnTo>
                      <a:pt x="783" y="554"/>
                    </a:lnTo>
                    <a:lnTo>
                      <a:pt x="773" y="549"/>
                    </a:lnTo>
                    <a:lnTo>
                      <a:pt x="764" y="547"/>
                    </a:lnTo>
                    <a:lnTo>
                      <a:pt x="756" y="545"/>
                    </a:lnTo>
                    <a:lnTo>
                      <a:pt x="751" y="544"/>
                    </a:lnTo>
                    <a:lnTo>
                      <a:pt x="751" y="544"/>
                    </a:lnTo>
                    <a:lnTo>
                      <a:pt x="724" y="544"/>
                    </a:lnTo>
                    <a:lnTo>
                      <a:pt x="724" y="544"/>
                    </a:lnTo>
                    <a:lnTo>
                      <a:pt x="717" y="545"/>
                    </a:lnTo>
                    <a:lnTo>
                      <a:pt x="712" y="545"/>
                    </a:lnTo>
                    <a:lnTo>
                      <a:pt x="709" y="544"/>
                    </a:lnTo>
                    <a:lnTo>
                      <a:pt x="708" y="542"/>
                    </a:lnTo>
                    <a:lnTo>
                      <a:pt x="707" y="540"/>
                    </a:lnTo>
                    <a:lnTo>
                      <a:pt x="707" y="537"/>
                    </a:lnTo>
                    <a:lnTo>
                      <a:pt x="707" y="537"/>
                    </a:lnTo>
                    <a:lnTo>
                      <a:pt x="698" y="544"/>
                    </a:lnTo>
                    <a:lnTo>
                      <a:pt x="689" y="552"/>
                    </a:lnTo>
                    <a:lnTo>
                      <a:pt x="669" y="573"/>
                    </a:lnTo>
                    <a:lnTo>
                      <a:pt x="659" y="583"/>
                    </a:lnTo>
                    <a:lnTo>
                      <a:pt x="649" y="592"/>
                    </a:lnTo>
                    <a:lnTo>
                      <a:pt x="639" y="596"/>
                    </a:lnTo>
                    <a:lnTo>
                      <a:pt x="634" y="599"/>
                    </a:lnTo>
                    <a:lnTo>
                      <a:pt x="630" y="599"/>
                    </a:lnTo>
                    <a:lnTo>
                      <a:pt x="630" y="599"/>
                    </a:lnTo>
                    <a:lnTo>
                      <a:pt x="624" y="599"/>
                    </a:lnTo>
                    <a:lnTo>
                      <a:pt x="618" y="598"/>
                    </a:lnTo>
                    <a:lnTo>
                      <a:pt x="614" y="595"/>
                    </a:lnTo>
                    <a:lnTo>
                      <a:pt x="609" y="593"/>
                    </a:lnTo>
                    <a:lnTo>
                      <a:pt x="602" y="587"/>
                    </a:lnTo>
                    <a:lnTo>
                      <a:pt x="596" y="580"/>
                    </a:lnTo>
                    <a:lnTo>
                      <a:pt x="591" y="573"/>
                    </a:lnTo>
                    <a:lnTo>
                      <a:pt x="584" y="568"/>
                    </a:lnTo>
                    <a:lnTo>
                      <a:pt x="580" y="565"/>
                    </a:lnTo>
                    <a:lnTo>
                      <a:pt x="576" y="563"/>
                    </a:lnTo>
                    <a:lnTo>
                      <a:pt x="572" y="562"/>
                    </a:lnTo>
                    <a:lnTo>
                      <a:pt x="567" y="562"/>
                    </a:lnTo>
                    <a:lnTo>
                      <a:pt x="567" y="562"/>
                    </a:lnTo>
                    <a:lnTo>
                      <a:pt x="562" y="562"/>
                    </a:lnTo>
                    <a:lnTo>
                      <a:pt x="557" y="564"/>
                    </a:lnTo>
                    <a:lnTo>
                      <a:pt x="550" y="568"/>
                    </a:lnTo>
                    <a:lnTo>
                      <a:pt x="542" y="571"/>
                    </a:lnTo>
                    <a:lnTo>
                      <a:pt x="539" y="572"/>
                    </a:lnTo>
                    <a:lnTo>
                      <a:pt x="533" y="573"/>
                    </a:lnTo>
                    <a:lnTo>
                      <a:pt x="533" y="573"/>
                    </a:lnTo>
                    <a:lnTo>
                      <a:pt x="529" y="572"/>
                    </a:lnTo>
                    <a:lnTo>
                      <a:pt x="522" y="569"/>
                    </a:lnTo>
                    <a:lnTo>
                      <a:pt x="504" y="560"/>
                    </a:lnTo>
                    <a:lnTo>
                      <a:pt x="489" y="550"/>
                    </a:lnTo>
                    <a:lnTo>
                      <a:pt x="485" y="546"/>
                    </a:lnTo>
                    <a:lnTo>
                      <a:pt x="483" y="544"/>
                    </a:lnTo>
                    <a:lnTo>
                      <a:pt x="483" y="544"/>
                    </a:lnTo>
                    <a:lnTo>
                      <a:pt x="484" y="535"/>
                    </a:lnTo>
                    <a:lnTo>
                      <a:pt x="485" y="530"/>
                    </a:lnTo>
                    <a:lnTo>
                      <a:pt x="488" y="525"/>
                    </a:lnTo>
                    <a:lnTo>
                      <a:pt x="492" y="522"/>
                    </a:lnTo>
                    <a:lnTo>
                      <a:pt x="495" y="518"/>
                    </a:lnTo>
                    <a:lnTo>
                      <a:pt x="498" y="514"/>
                    </a:lnTo>
                    <a:lnTo>
                      <a:pt x="500" y="508"/>
                    </a:lnTo>
                    <a:lnTo>
                      <a:pt x="501" y="500"/>
                    </a:lnTo>
                    <a:lnTo>
                      <a:pt x="501" y="500"/>
                    </a:lnTo>
                    <a:lnTo>
                      <a:pt x="500" y="492"/>
                    </a:lnTo>
                    <a:lnTo>
                      <a:pt x="498" y="486"/>
                    </a:lnTo>
                    <a:lnTo>
                      <a:pt x="494" y="481"/>
                    </a:lnTo>
                    <a:lnTo>
                      <a:pt x="489" y="477"/>
                    </a:lnTo>
                    <a:lnTo>
                      <a:pt x="483" y="469"/>
                    </a:lnTo>
                    <a:lnTo>
                      <a:pt x="480" y="464"/>
                    </a:lnTo>
                    <a:lnTo>
                      <a:pt x="479" y="460"/>
                    </a:lnTo>
                    <a:lnTo>
                      <a:pt x="479" y="460"/>
                    </a:lnTo>
                    <a:lnTo>
                      <a:pt x="479" y="456"/>
                    </a:lnTo>
                    <a:lnTo>
                      <a:pt x="480" y="454"/>
                    </a:lnTo>
                    <a:lnTo>
                      <a:pt x="485" y="449"/>
                    </a:lnTo>
                    <a:lnTo>
                      <a:pt x="492" y="446"/>
                    </a:lnTo>
                    <a:lnTo>
                      <a:pt x="499" y="442"/>
                    </a:lnTo>
                    <a:lnTo>
                      <a:pt x="507" y="439"/>
                    </a:lnTo>
                    <a:lnTo>
                      <a:pt x="512" y="435"/>
                    </a:lnTo>
                    <a:lnTo>
                      <a:pt x="515" y="433"/>
                    </a:lnTo>
                    <a:lnTo>
                      <a:pt x="517" y="430"/>
                    </a:lnTo>
                    <a:lnTo>
                      <a:pt x="518" y="426"/>
                    </a:lnTo>
                    <a:lnTo>
                      <a:pt x="519" y="423"/>
                    </a:lnTo>
                    <a:lnTo>
                      <a:pt x="519" y="423"/>
                    </a:lnTo>
                    <a:lnTo>
                      <a:pt x="518" y="417"/>
                    </a:lnTo>
                    <a:lnTo>
                      <a:pt x="516" y="411"/>
                    </a:lnTo>
                    <a:lnTo>
                      <a:pt x="511" y="404"/>
                    </a:lnTo>
                    <a:lnTo>
                      <a:pt x="507" y="399"/>
                    </a:lnTo>
                    <a:lnTo>
                      <a:pt x="502" y="394"/>
                    </a:lnTo>
                    <a:lnTo>
                      <a:pt x="498" y="389"/>
                    </a:lnTo>
                    <a:lnTo>
                      <a:pt x="493" y="387"/>
                    </a:lnTo>
                    <a:lnTo>
                      <a:pt x="489" y="386"/>
                    </a:lnTo>
                    <a:lnTo>
                      <a:pt x="489" y="386"/>
                    </a:lnTo>
                    <a:lnTo>
                      <a:pt x="486" y="386"/>
                    </a:lnTo>
                    <a:lnTo>
                      <a:pt x="483" y="388"/>
                    </a:lnTo>
                    <a:lnTo>
                      <a:pt x="477" y="393"/>
                    </a:lnTo>
                    <a:lnTo>
                      <a:pt x="470" y="399"/>
                    </a:lnTo>
                    <a:lnTo>
                      <a:pt x="465" y="400"/>
                    </a:lnTo>
                    <a:lnTo>
                      <a:pt x="461" y="401"/>
                    </a:lnTo>
                    <a:lnTo>
                      <a:pt x="461" y="401"/>
                    </a:lnTo>
                    <a:lnTo>
                      <a:pt x="457" y="400"/>
                    </a:lnTo>
                    <a:lnTo>
                      <a:pt x="454" y="397"/>
                    </a:lnTo>
                    <a:lnTo>
                      <a:pt x="453" y="395"/>
                    </a:lnTo>
                    <a:lnTo>
                      <a:pt x="451" y="392"/>
                    </a:lnTo>
                    <a:lnTo>
                      <a:pt x="450" y="381"/>
                    </a:lnTo>
                    <a:lnTo>
                      <a:pt x="449" y="371"/>
                    </a:lnTo>
                    <a:lnTo>
                      <a:pt x="449" y="371"/>
                    </a:lnTo>
                    <a:lnTo>
                      <a:pt x="449" y="338"/>
                    </a:lnTo>
                    <a:lnTo>
                      <a:pt x="449" y="338"/>
                    </a:lnTo>
                    <a:lnTo>
                      <a:pt x="449" y="321"/>
                    </a:lnTo>
                    <a:lnTo>
                      <a:pt x="447" y="306"/>
                    </a:lnTo>
                    <a:lnTo>
                      <a:pt x="445" y="293"/>
                    </a:lnTo>
                    <a:lnTo>
                      <a:pt x="440" y="280"/>
                    </a:lnTo>
                    <a:lnTo>
                      <a:pt x="437" y="268"/>
                    </a:lnTo>
                    <a:lnTo>
                      <a:pt x="431" y="258"/>
                    </a:lnTo>
                    <a:lnTo>
                      <a:pt x="420" y="236"/>
                    </a:lnTo>
                    <a:lnTo>
                      <a:pt x="409" y="214"/>
                    </a:lnTo>
                    <a:lnTo>
                      <a:pt x="404" y="203"/>
                    </a:lnTo>
                    <a:lnTo>
                      <a:pt x="400" y="190"/>
                    </a:lnTo>
                    <a:lnTo>
                      <a:pt x="396" y="178"/>
                    </a:lnTo>
                    <a:lnTo>
                      <a:pt x="394" y="163"/>
                    </a:lnTo>
                    <a:lnTo>
                      <a:pt x="392" y="147"/>
                    </a:lnTo>
                    <a:lnTo>
                      <a:pt x="391" y="128"/>
                    </a:lnTo>
                    <a:lnTo>
                      <a:pt x="391" y="128"/>
                    </a:lnTo>
                    <a:lnTo>
                      <a:pt x="389" y="120"/>
                    </a:lnTo>
                    <a:lnTo>
                      <a:pt x="387" y="110"/>
                    </a:lnTo>
                    <a:lnTo>
                      <a:pt x="385" y="100"/>
                    </a:lnTo>
                    <a:lnTo>
                      <a:pt x="384" y="91"/>
                    </a:lnTo>
                    <a:lnTo>
                      <a:pt x="384" y="91"/>
                    </a:lnTo>
                    <a:lnTo>
                      <a:pt x="380" y="88"/>
                    </a:lnTo>
                    <a:lnTo>
                      <a:pt x="377" y="84"/>
                    </a:lnTo>
                    <a:lnTo>
                      <a:pt x="367" y="76"/>
                    </a:lnTo>
                    <a:lnTo>
                      <a:pt x="364" y="72"/>
                    </a:lnTo>
                    <a:lnTo>
                      <a:pt x="361" y="67"/>
                    </a:lnTo>
                    <a:lnTo>
                      <a:pt x="358" y="61"/>
                    </a:lnTo>
                    <a:lnTo>
                      <a:pt x="357" y="56"/>
                    </a:lnTo>
                    <a:lnTo>
                      <a:pt x="357" y="56"/>
                    </a:lnTo>
                    <a:lnTo>
                      <a:pt x="358" y="50"/>
                    </a:lnTo>
                    <a:lnTo>
                      <a:pt x="359" y="46"/>
                    </a:lnTo>
                    <a:lnTo>
                      <a:pt x="365" y="38"/>
                    </a:lnTo>
                    <a:lnTo>
                      <a:pt x="371" y="31"/>
                    </a:lnTo>
                    <a:lnTo>
                      <a:pt x="374" y="27"/>
                    </a:lnTo>
                    <a:lnTo>
                      <a:pt x="377" y="22"/>
                    </a:lnTo>
                    <a:lnTo>
                      <a:pt x="377" y="22"/>
                    </a:lnTo>
                    <a:lnTo>
                      <a:pt x="370" y="20"/>
                    </a:lnTo>
                    <a:lnTo>
                      <a:pt x="364" y="16"/>
                    </a:lnTo>
                    <a:lnTo>
                      <a:pt x="354" y="10"/>
                    </a:lnTo>
                    <a:lnTo>
                      <a:pt x="349" y="6"/>
                    </a:lnTo>
                    <a:lnTo>
                      <a:pt x="344" y="3"/>
                    </a:lnTo>
                    <a:lnTo>
                      <a:pt x="339" y="0"/>
                    </a:lnTo>
                    <a:lnTo>
                      <a:pt x="332" y="0"/>
                    </a:lnTo>
                    <a:lnTo>
                      <a:pt x="332" y="0"/>
                    </a:lnTo>
                    <a:lnTo>
                      <a:pt x="327" y="0"/>
                    </a:lnTo>
                    <a:lnTo>
                      <a:pt x="323" y="2"/>
                    </a:lnTo>
                    <a:lnTo>
                      <a:pt x="319" y="4"/>
                    </a:lnTo>
                    <a:lnTo>
                      <a:pt x="317" y="6"/>
                    </a:lnTo>
                    <a:lnTo>
                      <a:pt x="316" y="10"/>
                    </a:lnTo>
                    <a:lnTo>
                      <a:pt x="313" y="13"/>
                    </a:lnTo>
                    <a:lnTo>
                      <a:pt x="312" y="22"/>
                    </a:lnTo>
                    <a:lnTo>
                      <a:pt x="311" y="41"/>
                    </a:lnTo>
                    <a:lnTo>
                      <a:pt x="309" y="49"/>
                    </a:lnTo>
                    <a:lnTo>
                      <a:pt x="308" y="52"/>
                    </a:lnTo>
                    <a:lnTo>
                      <a:pt x="307" y="56"/>
                    </a:lnTo>
                    <a:lnTo>
                      <a:pt x="307" y="56"/>
                    </a:lnTo>
                    <a:lnTo>
                      <a:pt x="301" y="63"/>
                    </a:lnTo>
                    <a:lnTo>
                      <a:pt x="294" y="67"/>
                    </a:lnTo>
                    <a:lnTo>
                      <a:pt x="287" y="72"/>
                    </a:lnTo>
                    <a:lnTo>
                      <a:pt x="281" y="75"/>
                    </a:lnTo>
                    <a:lnTo>
                      <a:pt x="274" y="77"/>
                    </a:lnTo>
                    <a:lnTo>
                      <a:pt x="269" y="81"/>
                    </a:lnTo>
                    <a:lnTo>
                      <a:pt x="263" y="86"/>
                    </a:lnTo>
                    <a:lnTo>
                      <a:pt x="258" y="91"/>
                    </a:lnTo>
                    <a:lnTo>
                      <a:pt x="258" y="91"/>
                    </a:lnTo>
                    <a:lnTo>
                      <a:pt x="251" y="100"/>
                    </a:lnTo>
                    <a:lnTo>
                      <a:pt x="244" y="112"/>
                    </a:lnTo>
                    <a:lnTo>
                      <a:pt x="237" y="124"/>
                    </a:lnTo>
                    <a:lnTo>
                      <a:pt x="229" y="135"/>
                    </a:lnTo>
                    <a:lnTo>
                      <a:pt x="221" y="145"/>
                    </a:lnTo>
                    <a:lnTo>
                      <a:pt x="217" y="150"/>
                    </a:lnTo>
                    <a:lnTo>
                      <a:pt x="212" y="153"/>
                    </a:lnTo>
                    <a:lnTo>
                      <a:pt x="206" y="157"/>
                    </a:lnTo>
                    <a:lnTo>
                      <a:pt x="199" y="159"/>
                    </a:lnTo>
                    <a:lnTo>
                      <a:pt x="193" y="161"/>
                    </a:lnTo>
                    <a:lnTo>
                      <a:pt x="185" y="161"/>
                    </a:lnTo>
                    <a:lnTo>
                      <a:pt x="185" y="161"/>
                    </a:lnTo>
                    <a:lnTo>
                      <a:pt x="179" y="163"/>
                    </a:lnTo>
                    <a:lnTo>
                      <a:pt x="172" y="164"/>
                    </a:lnTo>
                    <a:lnTo>
                      <a:pt x="165" y="166"/>
                    </a:lnTo>
                    <a:lnTo>
                      <a:pt x="159" y="170"/>
                    </a:lnTo>
                    <a:lnTo>
                      <a:pt x="148" y="179"/>
                    </a:lnTo>
                    <a:lnTo>
                      <a:pt x="137" y="189"/>
                    </a:lnTo>
                    <a:lnTo>
                      <a:pt x="119" y="211"/>
                    </a:lnTo>
                    <a:lnTo>
                      <a:pt x="111" y="221"/>
                    </a:lnTo>
                    <a:lnTo>
                      <a:pt x="104" y="228"/>
                    </a:lnTo>
                    <a:lnTo>
                      <a:pt x="104" y="228"/>
                    </a:lnTo>
                    <a:lnTo>
                      <a:pt x="98" y="232"/>
                    </a:lnTo>
                    <a:lnTo>
                      <a:pt x="91" y="235"/>
                    </a:lnTo>
                    <a:lnTo>
                      <a:pt x="78" y="239"/>
                    </a:lnTo>
                    <a:lnTo>
                      <a:pt x="48" y="244"/>
                    </a:lnTo>
                    <a:lnTo>
                      <a:pt x="34" y="248"/>
                    </a:lnTo>
                    <a:lnTo>
                      <a:pt x="28" y="250"/>
                    </a:lnTo>
                    <a:lnTo>
                      <a:pt x="22" y="252"/>
                    </a:lnTo>
                    <a:lnTo>
                      <a:pt x="18" y="256"/>
                    </a:lnTo>
                    <a:lnTo>
                      <a:pt x="13" y="260"/>
                    </a:lnTo>
                    <a:lnTo>
                      <a:pt x="11" y="266"/>
                    </a:lnTo>
                    <a:lnTo>
                      <a:pt x="8" y="272"/>
                    </a:lnTo>
                    <a:lnTo>
                      <a:pt x="8" y="272"/>
                    </a:lnTo>
                    <a:lnTo>
                      <a:pt x="0" y="279"/>
                    </a:lnTo>
                    <a:lnTo>
                      <a:pt x="0" y="27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8" name="Freeform 63"/>
              <p:cNvSpPr>
                <a:spLocks noChangeAspect="1"/>
              </p:cNvSpPr>
              <p:nvPr/>
            </p:nvSpPr>
            <p:spPr bwMode="auto">
              <a:xfrm>
                <a:off x="1424284" y="3780193"/>
                <a:ext cx="494554" cy="306148"/>
              </a:xfrm>
              <a:custGeom>
                <a:avLst/>
                <a:gdLst/>
                <a:ahLst/>
                <a:cxnLst>
                  <a:cxn ang="0">
                    <a:pos x="278" y="422"/>
                  </a:cxn>
                  <a:cxn ang="0">
                    <a:pos x="302" y="404"/>
                  </a:cxn>
                  <a:cxn ang="0">
                    <a:pos x="333" y="384"/>
                  </a:cxn>
                  <a:cxn ang="0">
                    <a:pos x="340" y="368"/>
                  </a:cxn>
                  <a:cxn ang="0">
                    <a:pos x="347" y="328"/>
                  </a:cxn>
                  <a:cxn ang="0">
                    <a:pos x="361" y="315"/>
                  </a:cxn>
                  <a:cxn ang="0">
                    <a:pos x="386" y="311"/>
                  </a:cxn>
                  <a:cxn ang="0">
                    <a:pos x="371" y="264"/>
                  </a:cxn>
                  <a:cxn ang="0">
                    <a:pos x="374" y="244"/>
                  </a:cxn>
                  <a:cxn ang="0">
                    <a:pos x="394" y="217"/>
                  </a:cxn>
                  <a:cxn ang="0">
                    <a:pos x="445" y="201"/>
                  </a:cxn>
                  <a:cxn ang="0">
                    <a:pos x="463" y="206"/>
                  </a:cxn>
                  <a:cxn ang="0">
                    <a:pos x="488" y="223"/>
                  </a:cxn>
                  <a:cxn ang="0">
                    <a:pos x="489" y="213"/>
                  </a:cxn>
                  <a:cxn ang="0">
                    <a:pos x="517" y="177"/>
                  </a:cxn>
                  <a:cxn ang="0">
                    <a:pos x="547" y="164"/>
                  </a:cxn>
                  <a:cxn ang="0">
                    <a:pos x="564" y="172"/>
                  </a:cxn>
                  <a:cxn ang="0">
                    <a:pos x="580" y="179"/>
                  </a:cxn>
                  <a:cxn ang="0">
                    <a:pos x="604" y="166"/>
                  </a:cxn>
                  <a:cxn ang="0">
                    <a:pos x="624" y="161"/>
                  </a:cxn>
                  <a:cxn ang="0">
                    <a:pos x="610" y="126"/>
                  </a:cxn>
                  <a:cxn ang="0">
                    <a:pos x="562" y="62"/>
                  </a:cxn>
                  <a:cxn ang="0">
                    <a:pos x="515" y="53"/>
                  </a:cxn>
                  <a:cxn ang="0">
                    <a:pos x="501" y="46"/>
                  </a:cxn>
                  <a:cxn ang="0">
                    <a:pos x="489" y="12"/>
                  </a:cxn>
                  <a:cxn ang="0">
                    <a:pos x="476" y="0"/>
                  </a:cxn>
                  <a:cxn ang="0">
                    <a:pos x="462" y="1"/>
                  </a:cxn>
                  <a:cxn ang="0">
                    <a:pos x="433" y="24"/>
                  </a:cxn>
                  <a:cxn ang="0">
                    <a:pos x="404" y="35"/>
                  </a:cxn>
                  <a:cxn ang="0">
                    <a:pos x="355" y="32"/>
                  </a:cxn>
                  <a:cxn ang="0">
                    <a:pos x="301" y="28"/>
                  </a:cxn>
                  <a:cxn ang="0">
                    <a:pos x="295" y="58"/>
                  </a:cxn>
                  <a:cxn ang="0">
                    <a:pos x="267" y="76"/>
                  </a:cxn>
                  <a:cxn ang="0">
                    <a:pos x="248" y="72"/>
                  </a:cxn>
                  <a:cxn ang="0">
                    <a:pos x="233" y="55"/>
                  </a:cxn>
                  <a:cxn ang="0">
                    <a:pos x="219" y="51"/>
                  </a:cxn>
                  <a:cxn ang="0">
                    <a:pos x="194" y="76"/>
                  </a:cxn>
                  <a:cxn ang="0">
                    <a:pos x="179" y="88"/>
                  </a:cxn>
                  <a:cxn ang="0">
                    <a:pos x="164" y="115"/>
                  </a:cxn>
                  <a:cxn ang="0">
                    <a:pos x="133" y="134"/>
                  </a:cxn>
                  <a:cxn ang="0">
                    <a:pos x="53" y="153"/>
                  </a:cxn>
                  <a:cxn ang="0">
                    <a:pos x="11" y="172"/>
                  </a:cxn>
                  <a:cxn ang="0">
                    <a:pos x="0" y="194"/>
                  </a:cxn>
                  <a:cxn ang="0">
                    <a:pos x="2" y="217"/>
                  </a:cxn>
                  <a:cxn ang="0">
                    <a:pos x="16" y="231"/>
                  </a:cxn>
                  <a:cxn ang="0">
                    <a:pos x="29" y="249"/>
                  </a:cxn>
                  <a:cxn ang="0">
                    <a:pos x="19" y="262"/>
                  </a:cxn>
                  <a:cxn ang="0">
                    <a:pos x="20" y="276"/>
                  </a:cxn>
                  <a:cxn ang="0">
                    <a:pos x="42" y="293"/>
                  </a:cxn>
                  <a:cxn ang="0">
                    <a:pos x="76" y="300"/>
                  </a:cxn>
                  <a:cxn ang="0">
                    <a:pos x="96" y="311"/>
                  </a:cxn>
                  <a:cxn ang="0">
                    <a:pos x="109" y="351"/>
                  </a:cxn>
                  <a:cxn ang="0">
                    <a:pos x="111" y="398"/>
                  </a:cxn>
                  <a:cxn ang="0">
                    <a:pos x="128" y="430"/>
                  </a:cxn>
                  <a:cxn ang="0">
                    <a:pos x="150" y="439"/>
                  </a:cxn>
                  <a:cxn ang="0">
                    <a:pos x="183" y="427"/>
                  </a:cxn>
                  <a:cxn ang="0">
                    <a:pos x="234" y="401"/>
                  </a:cxn>
                  <a:cxn ang="0">
                    <a:pos x="248" y="404"/>
                  </a:cxn>
                  <a:cxn ang="0">
                    <a:pos x="275" y="432"/>
                  </a:cxn>
                </a:cxnLst>
                <a:rect l="0" t="0" r="r" b="b"/>
                <a:pathLst>
                  <a:path w="624" h="439">
                    <a:moveTo>
                      <a:pt x="275" y="429"/>
                    </a:moveTo>
                    <a:lnTo>
                      <a:pt x="275" y="429"/>
                    </a:lnTo>
                    <a:lnTo>
                      <a:pt x="277" y="425"/>
                    </a:lnTo>
                    <a:lnTo>
                      <a:pt x="278" y="422"/>
                    </a:lnTo>
                    <a:lnTo>
                      <a:pt x="280" y="418"/>
                    </a:lnTo>
                    <a:lnTo>
                      <a:pt x="283" y="415"/>
                    </a:lnTo>
                    <a:lnTo>
                      <a:pt x="293" y="409"/>
                    </a:lnTo>
                    <a:lnTo>
                      <a:pt x="302" y="404"/>
                    </a:lnTo>
                    <a:lnTo>
                      <a:pt x="312" y="399"/>
                    </a:lnTo>
                    <a:lnTo>
                      <a:pt x="323" y="393"/>
                    </a:lnTo>
                    <a:lnTo>
                      <a:pt x="329" y="387"/>
                    </a:lnTo>
                    <a:lnTo>
                      <a:pt x="333" y="384"/>
                    </a:lnTo>
                    <a:lnTo>
                      <a:pt x="334" y="381"/>
                    </a:lnTo>
                    <a:lnTo>
                      <a:pt x="334" y="381"/>
                    </a:lnTo>
                    <a:lnTo>
                      <a:pt x="338" y="374"/>
                    </a:lnTo>
                    <a:lnTo>
                      <a:pt x="340" y="368"/>
                    </a:lnTo>
                    <a:lnTo>
                      <a:pt x="342" y="355"/>
                    </a:lnTo>
                    <a:lnTo>
                      <a:pt x="343" y="343"/>
                    </a:lnTo>
                    <a:lnTo>
                      <a:pt x="344" y="332"/>
                    </a:lnTo>
                    <a:lnTo>
                      <a:pt x="347" y="328"/>
                    </a:lnTo>
                    <a:lnTo>
                      <a:pt x="348" y="324"/>
                    </a:lnTo>
                    <a:lnTo>
                      <a:pt x="351" y="321"/>
                    </a:lnTo>
                    <a:lnTo>
                      <a:pt x="355" y="317"/>
                    </a:lnTo>
                    <a:lnTo>
                      <a:pt x="361" y="315"/>
                    </a:lnTo>
                    <a:lnTo>
                      <a:pt x="367" y="313"/>
                    </a:lnTo>
                    <a:lnTo>
                      <a:pt x="375" y="311"/>
                    </a:lnTo>
                    <a:lnTo>
                      <a:pt x="386" y="311"/>
                    </a:lnTo>
                    <a:lnTo>
                      <a:pt x="386" y="311"/>
                    </a:lnTo>
                    <a:lnTo>
                      <a:pt x="384" y="303"/>
                    </a:lnTo>
                    <a:lnTo>
                      <a:pt x="378" y="287"/>
                    </a:lnTo>
                    <a:lnTo>
                      <a:pt x="373" y="272"/>
                    </a:lnTo>
                    <a:lnTo>
                      <a:pt x="371" y="264"/>
                    </a:lnTo>
                    <a:lnTo>
                      <a:pt x="371" y="264"/>
                    </a:lnTo>
                    <a:lnTo>
                      <a:pt x="371" y="256"/>
                    </a:lnTo>
                    <a:lnTo>
                      <a:pt x="372" y="249"/>
                    </a:lnTo>
                    <a:lnTo>
                      <a:pt x="374" y="244"/>
                    </a:lnTo>
                    <a:lnTo>
                      <a:pt x="378" y="237"/>
                    </a:lnTo>
                    <a:lnTo>
                      <a:pt x="380" y="231"/>
                    </a:lnTo>
                    <a:lnTo>
                      <a:pt x="385" y="226"/>
                    </a:lnTo>
                    <a:lnTo>
                      <a:pt x="394" y="217"/>
                    </a:lnTo>
                    <a:lnTo>
                      <a:pt x="405" y="210"/>
                    </a:lnTo>
                    <a:lnTo>
                      <a:pt x="418" y="206"/>
                    </a:lnTo>
                    <a:lnTo>
                      <a:pt x="431" y="202"/>
                    </a:lnTo>
                    <a:lnTo>
                      <a:pt x="445" y="201"/>
                    </a:lnTo>
                    <a:lnTo>
                      <a:pt x="445" y="201"/>
                    </a:lnTo>
                    <a:lnTo>
                      <a:pt x="451" y="202"/>
                    </a:lnTo>
                    <a:lnTo>
                      <a:pt x="457" y="203"/>
                    </a:lnTo>
                    <a:lnTo>
                      <a:pt x="463" y="206"/>
                    </a:lnTo>
                    <a:lnTo>
                      <a:pt x="468" y="209"/>
                    </a:lnTo>
                    <a:lnTo>
                      <a:pt x="478" y="217"/>
                    </a:lnTo>
                    <a:lnTo>
                      <a:pt x="488" y="223"/>
                    </a:lnTo>
                    <a:lnTo>
                      <a:pt x="488" y="223"/>
                    </a:lnTo>
                    <a:lnTo>
                      <a:pt x="488" y="219"/>
                    </a:lnTo>
                    <a:lnTo>
                      <a:pt x="488" y="219"/>
                    </a:lnTo>
                    <a:lnTo>
                      <a:pt x="488" y="219"/>
                    </a:lnTo>
                    <a:lnTo>
                      <a:pt x="489" y="213"/>
                    </a:lnTo>
                    <a:lnTo>
                      <a:pt x="494" y="203"/>
                    </a:lnTo>
                    <a:lnTo>
                      <a:pt x="500" y="194"/>
                    </a:lnTo>
                    <a:lnTo>
                      <a:pt x="508" y="185"/>
                    </a:lnTo>
                    <a:lnTo>
                      <a:pt x="517" y="177"/>
                    </a:lnTo>
                    <a:lnTo>
                      <a:pt x="527" y="171"/>
                    </a:lnTo>
                    <a:lnTo>
                      <a:pt x="538" y="166"/>
                    </a:lnTo>
                    <a:lnTo>
                      <a:pt x="542" y="165"/>
                    </a:lnTo>
                    <a:lnTo>
                      <a:pt x="547" y="164"/>
                    </a:lnTo>
                    <a:lnTo>
                      <a:pt x="547" y="164"/>
                    </a:lnTo>
                    <a:lnTo>
                      <a:pt x="553" y="165"/>
                    </a:lnTo>
                    <a:lnTo>
                      <a:pt x="556" y="166"/>
                    </a:lnTo>
                    <a:lnTo>
                      <a:pt x="564" y="172"/>
                    </a:lnTo>
                    <a:lnTo>
                      <a:pt x="571" y="177"/>
                    </a:lnTo>
                    <a:lnTo>
                      <a:pt x="576" y="179"/>
                    </a:lnTo>
                    <a:lnTo>
                      <a:pt x="580" y="179"/>
                    </a:lnTo>
                    <a:lnTo>
                      <a:pt x="580" y="179"/>
                    </a:lnTo>
                    <a:lnTo>
                      <a:pt x="585" y="178"/>
                    </a:lnTo>
                    <a:lnTo>
                      <a:pt x="591" y="177"/>
                    </a:lnTo>
                    <a:lnTo>
                      <a:pt x="600" y="170"/>
                    </a:lnTo>
                    <a:lnTo>
                      <a:pt x="604" y="166"/>
                    </a:lnTo>
                    <a:lnTo>
                      <a:pt x="610" y="164"/>
                    </a:lnTo>
                    <a:lnTo>
                      <a:pt x="617" y="162"/>
                    </a:lnTo>
                    <a:lnTo>
                      <a:pt x="624" y="161"/>
                    </a:lnTo>
                    <a:lnTo>
                      <a:pt x="624" y="161"/>
                    </a:lnTo>
                    <a:lnTo>
                      <a:pt x="624" y="142"/>
                    </a:lnTo>
                    <a:lnTo>
                      <a:pt x="624" y="142"/>
                    </a:lnTo>
                    <a:lnTo>
                      <a:pt x="624" y="142"/>
                    </a:lnTo>
                    <a:lnTo>
                      <a:pt x="610" y="126"/>
                    </a:lnTo>
                    <a:lnTo>
                      <a:pt x="588" y="101"/>
                    </a:lnTo>
                    <a:lnTo>
                      <a:pt x="570" y="76"/>
                    </a:lnTo>
                    <a:lnTo>
                      <a:pt x="564" y="66"/>
                    </a:lnTo>
                    <a:lnTo>
                      <a:pt x="562" y="62"/>
                    </a:lnTo>
                    <a:lnTo>
                      <a:pt x="562" y="62"/>
                    </a:lnTo>
                    <a:lnTo>
                      <a:pt x="548" y="61"/>
                    </a:lnTo>
                    <a:lnTo>
                      <a:pt x="531" y="57"/>
                    </a:lnTo>
                    <a:lnTo>
                      <a:pt x="515" y="53"/>
                    </a:lnTo>
                    <a:lnTo>
                      <a:pt x="508" y="49"/>
                    </a:lnTo>
                    <a:lnTo>
                      <a:pt x="503" y="47"/>
                    </a:lnTo>
                    <a:lnTo>
                      <a:pt x="503" y="47"/>
                    </a:lnTo>
                    <a:lnTo>
                      <a:pt x="501" y="46"/>
                    </a:lnTo>
                    <a:lnTo>
                      <a:pt x="499" y="42"/>
                    </a:lnTo>
                    <a:lnTo>
                      <a:pt x="496" y="36"/>
                    </a:lnTo>
                    <a:lnTo>
                      <a:pt x="492" y="20"/>
                    </a:lnTo>
                    <a:lnTo>
                      <a:pt x="489" y="12"/>
                    </a:lnTo>
                    <a:lnTo>
                      <a:pt x="486" y="5"/>
                    </a:lnTo>
                    <a:lnTo>
                      <a:pt x="483" y="3"/>
                    </a:lnTo>
                    <a:lnTo>
                      <a:pt x="479" y="1"/>
                    </a:lnTo>
                    <a:lnTo>
                      <a:pt x="476" y="0"/>
                    </a:lnTo>
                    <a:lnTo>
                      <a:pt x="470" y="0"/>
                    </a:lnTo>
                    <a:lnTo>
                      <a:pt x="470" y="0"/>
                    </a:lnTo>
                    <a:lnTo>
                      <a:pt x="466" y="0"/>
                    </a:lnTo>
                    <a:lnTo>
                      <a:pt x="462" y="1"/>
                    </a:lnTo>
                    <a:lnTo>
                      <a:pt x="455" y="5"/>
                    </a:lnTo>
                    <a:lnTo>
                      <a:pt x="448" y="11"/>
                    </a:lnTo>
                    <a:lnTo>
                      <a:pt x="441" y="18"/>
                    </a:lnTo>
                    <a:lnTo>
                      <a:pt x="433" y="24"/>
                    </a:lnTo>
                    <a:lnTo>
                      <a:pt x="425" y="30"/>
                    </a:lnTo>
                    <a:lnTo>
                      <a:pt x="415" y="34"/>
                    </a:lnTo>
                    <a:lnTo>
                      <a:pt x="410" y="35"/>
                    </a:lnTo>
                    <a:lnTo>
                      <a:pt x="404" y="35"/>
                    </a:lnTo>
                    <a:lnTo>
                      <a:pt x="404" y="35"/>
                    </a:lnTo>
                    <a:lnTo>
                      <a:pt x="388" y="35"/>
                    </a:lnTo>
                    <a:lnTo>
                      <a:pt x="371" y="33"/>
                    </a:lnTo>
                    <a:lnTo>
                      <a:pt x="355" y="32"/>
                    </a:lnTo>
                    <a:lnTo>
                      <a:pt x="341" y="28"/>
                    </a:lnTo>
                    <a:lnTo>
                      <a:pt x="341" y="28"/>
                    </a:lnTo>
                    <a:lnTo>
                      <a:pt x="301" y="28"/>
                    </a:lnTo>
                    <a:lnTo>
                      <a:pt x="301" y="28"/>
                    </a:lnTo>
                    <a:lnTo>
                      <a:pt x="301" y="28"/>
                    </a:lnTo>
                    <a:lnTo>
                      <a:pt x="301" y="40"/>
                    </a:lnTo>
                    <a:lnTo>
                      <a:pt x="298" y="50"/>
                    </a:lnTo>
                    <a:lnTo>
                      <a:pt x="295" y="58"/>
                    </a:lnTo>
                    <a:lnTo>
                      <a:pt x="290" y="65"/>
                    </a:lnTo>
                    <a:lnTo>
                      <a:pt x="283" y="70"/>
                    </a:lnTo>
                    <a:lnTo>
                      <a:pt x="277" y="73"/>
                    </a:lnTo>
                    <a:lnTo>
                      <a:pt x="267" y="76"/>
                    </a:lnTo>
                    <a:lnTo>
                      <a:pt x="257" y="77"/>
                    </a:lnTo>
                    <a:lnTo>
                      <a:pt x="257" y="77"/>
                    </a:lnTo>
                    <a:lnTo>
                      <a:pt x="251" y="76"/>
                    </a:lnTo>
                    <a:lnTo>
                      <a:pt x="248" y="72"/>
                    </a:lnTo>
                    <a:lnTo>
                      <a:pt x="244" y="69"/>
                    </a:lnTo>
                    <a:lnTo>
                      <a:pt x="241" y="63"/>
                    </a:lnTo>
                    <a:lnTo>
                      <a:pt x="237" y="58"/>
                    </a:lnTo>
                    <a:lnTo>
                      <a:pt x="233" y="55"/>
                    </a:lnTo>
                    <a:lnTo>
                      <a:pt x="229" y="51"/>
                    </a:lnTo>
                    <a:lnTo>
                      <a:pt x="224" y="50"/>
                    </a:lnTo>
                    <a:lnTo>
                      <a:pt x="224" y="50"/>
                    </a:lnTo>
                    <a:lnTo>
                      <a:pt x="219" y="51"/>
                    </a:lnTo>
                    <a:lnTo>
                      <a:pt x="214" y="55"/>
                    </a:lnTo>
                    <a:lnTo>
                      <a:pt x="205" y="65"/>
                    </a:lnTo>
                    <a:lnTo>
                      <a:pt x="199" y="71"/>
                    </a:lnTo>
                    <a:lnTo>
                      <a:pt x="194" y="76"/>
                    </a:lnTo>
                    <a:lnTo>
                      <a:pt x="188" y="79"/>
                    </a:lnTo>
                    <a:lnTo>
                      <a:pt x="180" y="80"/>
                    </a:lnTo>
                    <a:lnTo>
                      <a:pt x="180" y="80"/>
                    </a:lnTo>
                    <a:lnTo>
                      <a:pt x="179" y="88"/>
                    </a:lnTo>
                    <a:lnTo>
                      <a:pt x="176" y="96"/>
                    </a:lnTo>
                    <a:lnTo>
                      <a:pt x="173" y="103"/>
                    </a:lnTo>
                    <a:lnTo>
                      <a:pt x="168" y="109"/>
                    </a:lnTo>
                    <a:lnTo>
                      <a:pt x="164" y="115"/>
                    </a:lnTo>
                    <a:lnTo>
                      <a:pt x="159" y="119"/>
                    </a:lnTo>
                    <a:lnTo>
                      <a:pt x="153" y="124"/>
                    </a:lnTo>
                    <a:lnTo>
                      <a:pt x="147" y="127"/>
                    </a:lnTo>
                    <a:lnTo>
                      <a:pt x="133" y="134"/>
                    </a:lnTo>
                    <a:lnTo>
                      <a:pt x="118" y="139"/>
                    </a:lnTo>
                    <a:lnTo>
                      <a:pt x="102" y="143"/>
                    </a:lnTo>
                    <a:lnTo>
                      <a:pt x="86" y="146"/>
                    </a:lnTo>
                    <a:lnTo>
                      <a:pt x="53" y="153"/>
                    </a:lnTo>
                    <a:lnTo>
                      <a:pt x="39" y="156"/>
                    </a:lnTo>
                    <a:lnTo>
                      <a:pt x="27" y="162"/>
                    </a:lnTo>
                    <a:lnTo>
                      <a:pt x="15" y="168"/>
                    </a:lnTo>
                    <a:lnTo>
                      <a:pt x="11" y="172"/>
                    </a:lnTo>
                    <a:lnTo>
                      <a:pt x="7" y="177"/>
                    </a:lnTo>
                    <a:lnTo>
                      <a:pt x="4" y="181"/>
                    </a:lnTo>
                    <a:lnTo>
                      <a:pt x="2" y="187"/>
                    </a:lnTo>
                    <a:lnTo>
                      <a:pt x="0" y="194"/>
                    </a:lnTo>
                    <a:lnTo>
                      <a:pt x="0" y="201"/>
                    </a:lnTo>
                    <a:lnTo>
                      <a:pt x="0" y="201"/>
                    </a:lnTo>
                    <a:lnTo>
                      <a:pt x="0" y="210"/>
                    </a:lnTo>
                    <a:lnTo>
                      <a:pt x="2" y="217"/>
                    </a:lnTo>
                    <a:lnTo>
                      <a:pt x="4" y="222"/>
                    </a:lnTo>
                    <a:lnTo>
                      <a:pt x="7" y="226"/>
                    </a:lnTo>
                    <a:lnTo>
                      <a:pt x="12" y="229"/>
                    </a:lnTo>
                    <a:lnTo>
                      <a:pt x="16" y="231"/>
                    </a:lnTo>
                    <a:lnTo>
                      <a:pt x="29" y="234"/>
                    </a:lnTo>
                    <a:lnTo>
                      <a:pt x="29" y="234"/>
                    </a:lnTo>
                    <a:lnTo>
                      <a:pt x="29" y="249"/>
                    </a:lnTo>
                    <a:lnTo>
                      <a:pt x="29" y="249"/>
                    </a:lnTo>
                    <a:lnTo>
                      <a:pt x="29" y="249"/>
                    </a:lnTo>
                    <a:lnTo>
                      <a:pt x="26" y="254"/>
                    </a:lnTo>
                    <a:lnTo>
                      <a:pt x="22" y="259"/>
                    </a:lnTo>
                    <a:lnTo>
                      <a:pt x="19" y="262"/>
                    </a:lnTo>
                    <a:lnTo>
                      <a:pt x="18" y="268"/>
                    </a:lnTo>
                    <a:lnTo>
                      <a:pt x="18" y="268"/>
                    </a:lnTo>
                    <a:lnTo>
                      <a:pt x="19" y="272"/>
                    </a:lnTo>
                    <a:lnTo>
                      <a:pt x="20" y="276"/>
                    </a:lnTo>
                    <a:lnTo>
                      <a:pt x="22" y="280"/>
                    </a:lnTo>
                    <a:lnTo>
                      <a:pt x="26" y="284"/>
                    </a:lnTo>
                    <a:lnTo>
                      <a:pt x="33" y="290"/>
                    </a:lnTo>
                    <a:lnTo>
                      <a:pt x="42" y="293"/>
                    </a:lnTo>
                    <a:lnTo>
                      <a:pt x="52" y="297"/>
                    </a:lnTo>
                    <a:lnTo>
                      <a:pt x="61" y="299"/>
                    </a:lnTo>
                    <a:lnTo>
                      <a:pt x="76" y="300"/>
                    </a:lnTo>
                    <a:lnTo>
                      <a:pt x="76" y="300"/>
                    </a:lnTo>
                    <a:lnTo>
                      <a:pt x="83" y="301"/>
                    </a:lnTo>
                    <a:lnTo>
                      <a:pt x="88" y="303"/>
                    </a:lnTo>
                    <a:lnTo>
                      <a:pt x="92" y="307"/>
                    </a:lnTo>
                    <a:lnTo>
                      <a:pt x="96" y="311"/>
                    </a:lnTo>
                    <a:lnTo>
                      <a:pt x="99" y="316"/>
                    </a:lnTo>
                    <a:lnTo>
                      <a:pt x="102" y="322"/>
                    </a:lnTo>
                    <a:lnTo>
                      <a:pt x="105" y="336"/>
                    </a:lnTo>
                    <a:lnTo>
                      <a:pt x="109" y="351"/>
                    </a:lnTo>
                    <a:lnTo>
                      <a:pt x="110" y="366"/>
                    </a:lnTo>
                    <a:lnTo>
                      <a:pt x="110" y="389"/>
                    </a:lnTo>
                    <a:lnTo>
                      <a:pt x="110" y="389"/>
                    </a:lnTo>
                    <a:lnTo>
                      <a:pt x="111" y="398"/>
                    </a:lnTo>
                    <a:lnTo>
                      <a:pt x="113" y="407"/>
                    </a:lnTo>
                    <a:lnTo>
                      <a:pt x="117" y="416"/>
                    </a:lnTo>
                    <a:lnTo>
                      <a:pt x="122" y="424"/>
                    </a:lnTo>
                    <a:lnTo>
                      <a:pt x="128" y="430"/>
                    </a:lnTo>
                    <a:lnTo>
                      <a:pt x="135" y="436"/>
                    </a:lnTo>
                    <a:lnTo>
                      <a:pt x="142" y="438"/>
                    </a:lnTo>
                    <a:lnTo>
                      <a:pt x="150" y="439"/>
                    </a:lnTo>
                    <a:lnTo>
                      <a:pt x="150" y="439"/>
                    </a:lnTo>
                    <a:lnTo>
                      <a:pt x="156" y="439"/>
                    </a:lnTo>
                    <a:lnTo>
                      <a:pt x="160" y="438"/>
                    </a:lnTo>
                    <a:lnTo>
                      <a:pt x="172" y="433"/>
                    </a:lnTo>
                    <a:lnTo>
                      <a:pt x="183" y="427"/>
                    </a:lnTo>
                    <a:lnTo>
                      <a:pt x="196" y="420"/>
                    </a:lnTo>
                    <a:lnTo>
                      <a:pt x="207" y="413"/>
                    </a:lnTo>
                    <a:lnTo>
                      <a:pt x="221" y="406"/>
                    </a:lnTo>
                    <a:lnTo>
                      <a:pt x="234" y="401"/>
                    </a:lnTo>
                    <a:lnTo>
                      <a:pt x="240" y="400"/>
                    </a:lnTo>
                    <a:lnTo>
                      <a:pt x="247" y="400"/>
                    </a:lnTo>
                    <a:lnTo>
                      <a:pt x="247" y="400"/>
                    </a:lnTo>
                    <a:lnTo>
                      <a:pt x="248" y="404"/>
                    </a:lnTo>
                    <a:lnTo>
                      <a:pt x="251" y="408"/>
                    </a:lnTo>
                    <a:lnTo>
                      <a:pt x="260" y="418"/>
                    </a:lnTo>
                    <a:lnTo>
                      <a:pt x="275" y="432"/>
                    </a:lnTo>
                    <a:lnTo>
                      <a:pt x="275" y="432"/>
                    </a:lnTo>
                    <a:lnTo>
                      <a:pt x="275" y="429"/>
                    </a:lnTo>
                    <a:lnTo>
                      <a:pt x="275" y="42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79" name="Freeform 64"/>
              <p:cNvSpPr>
                <a:spLocks noChangeAspect="1"/>
              </p:cNvSpPr>
              <p:nvPr/>
            </p:nvSpPr>
            <p:spPr bwMode="auto">
              <a:xfrm>
                <a:off x="1520975" y="3575631"/>
                <a:ext cx="499309" cy="247701"/>
              </a:xfrm>
              <a:custGeom>
                <a:avLst/>
                <a:gdLst/>
                <a:ahLst/>
                <a:cxnLst>
                  <a:cxn ang="0">
                    <a:pos x="599" y="167"/>
                  </a:cxn>
                  <a:cxn ang="0">
                    <a:pos x="556" y="195"/>
                  </a:cxn>
                  <a:cxn ang="0">
                    <a:pos x="527" y="200"/>
                  </a:cxn>
                  <a:cxn ang="0">
                    <a:pos x="492" y="195"/>
                  </a:cxn>
                  <a:cxn ang="0">
                    <a:pos x="439" y="162"/>
                  </a:cxn>
                  <a:cxn ang="0">
                    <a:pos x="426" y="144"/>
                  </a:cxn>
                  <a:cxn ang="0">
                    <a:pos x="351" y="86"/>
                  </a:cxn>
                  <a:cxn ang="0">
                    <a:pos x="309" y="45"/>
                  </a:cxn>
                  <a:cxn ang="0">
                    <a:pos x="299" y="17"/>
                  </a:cxn>
                  <a:cxn ang="0">
                    <a:pos x="290" y="0"/>
                  </a:cxn>
                  <a:cxn ang="0">
                    <a:pos x="276" y="22"/>
                  </a:cxn>
                  <a:cxn ang="0">
                    <a:pos x="265" y="30"/>
                  </a:cxn>
                  <a:cxn ang="0">
                    <a:pos x="227" y="14"/>
                  </a:cxn>
                  <a:cxn ang="0">
                    <a:pos x="205" y="13"/>
                  </a:cxn>
                  <a:cxn ang="0">
                    <a:pos x="180" y="27"/>
                  </a:cxn>
                  <a:cxn ang="0">
                    <a:pos x="154" y="33"/>
                  </a:cxn>
                  <a:cxn ang="0">
                    <a:pos x="121" y="76"/>
                  </a:cxn>
                  <a:cxn ang="0">
                    <a:pos x="62" y="92"/>
                  </a:cxn>
                  <a:cxn ang="0">
                    <a:pos x="55" y="114"/>
                  </a:cxn>
                  <a:cxn ang="0">
                    <a:pos x="30" y="129"/>
                  </a:cxn>
                  <a:cxn ang="0">
                    <a:pos x="6" y="139"/>
                  </a:cxn>
                  <a:cxn ang="0">
                    <a:pos x="0" y="154"/>
                  </a:cxn>
                  <a:cxn ang="0">
                    <a:pos x="17" y="173"/>
                  </a:cxn>
                  <a:cxn ang="0">
                    <a:pos x="61" y="190"/>
                  </a:cxn>
                  <a:cxn ang="0">
                    <a:pos x="85" y="189"/>
                  </a:cxn>
                  <a:cxn ang="0">
                    <a:pos x="111" y="162"/>
                  </a:cxn>
                  <a:cxn ang="0">
                    <a:pos x="121" y="199"/>
                  </a:cxn>
                  <a:cxn ang="0">
                    <a:pos x="131" y="215"/>
                  </a:cxn>
                  <a:cxn ang="0">
                    <a:pos x="169" y="237"/>
                  </a:cxn>
                  <a:cxn ang="0">
                    <a:pos x="175" y="253"/>
                  </a:cxn>
                  <a:cxn ang="0">
                    <a:pos x="161" y="250"/>
                  </a:cxn>
                  <a:cxn ang="0">
                    <a:pos x="167" y="277"/>
                  </a:cxn>
                  <a:cxn ang="0">
                    <a:pos x="195" y="289"/>
                  </a:cxn>
                  <a:cxn ang="0">
                    <a:pos x="225" y="299"/>
                  </a:cxn>
                  <a:cxn ang="0">
                    <a:pos x="235" y="323"/>
                  </a:cxn>
                  <a:cxn ang="0">
                    <a:pos x="283" y="330"/>
                  </a:cxn>
                  <a:cxn ang="0">
                    <a:pos x="304" y="325"/>
                  </a:cxn>
                  <a:cxn ang="0">
                    <a:pos x="334" y="300"/>
                  </a:cxn>
                  <a:cxn ang="0">
                    <a:pos x="349" y="295"/>
                  </a:cxn>
                  <a:cxn ang="0">
                    <a:pos x="365" y="300"/>
                  </a:cxn>
                  <a:cxn ang="0">
                    <a:pos x="378" y="337"/>
                  </a:cxn>
                  <a:cxn ang="0">
                    <a:pos x="387" y="344"/>
                  </a:cxn>
                  <a:cxn ang="0">
                    <a:pos x="441" y="357"/>
                  </a:cxn>
                  <a:cxn ang="0">
                    <a:pos x="459" y="342"/>
                  </a:cxn>
                  <a:cxn ang="0">
                    <a:pos x="471" y="326"/>
                  </a:cxn>
                  <a:cxn ang="0">
                    <a:pos x="485" y="313"/>
                  </a:cxn>
                  <a:cxn ang="0">
                    <a:pos x="531" y="315"/>
                  </a:cxn>
                  <a:cxn ang="0">
                    <a:pos x="577" y="314"/>
                  </a:cxn>
                  <a:cxn ang="0">
                    <a:pos x="599" y="298"/>
                  </a:cxn>
                  <a:cxn ang="0">
                    <a:pos x="603" y="246"/>
                  </a:cxn>
                  <a:cxn ang="0">
                    <a:pos x="628" y="152"/>
                  </a:cxn>
                  <a:cxn ang="0">
                    <a:pos x="628" y="136"/>
                  </a:cxn>
                </a:cxnLst>
                <a:rect l="0" t="0" r="r" b="b"/>
                <a:pathLst>
                  <a:path w="632" h="357">
                    <a:moveTo>
                      <a:pt x="628" y="136"/>
                    </a:moveTo>
                    <a:lnTo>
                      <a:pt x="628" y="136"/>
                    </a:lnTo>
                    <a:lnTo>
                      <a:pt x="609" y="158"/>
                    </a:lnTo>
                    <a:lnTo>
                      <a:pt x="599" y="167"/>
                    </a:lnTo>
                    <a:lnTo>
                      <a:pt x="589" y="176"/>
                    </a:lnTo>
                    <a:lnTo>
                      <a:pt x="578" y="183"/>
                    </a:lnTo>
                    <a:lnTo>
                      <a:pt x="567" y="190"/>
                    </a:lnTo>
                    <a:lnTo>
                      <a:pt x="556" y="195"/>
                    </a:lnTo>
                    <a:lnTo>
                      <a:pt x="543" y="198"/>
                    </a:lnTo>
                    <a:lnTo>
                      <a:pt x="543" y="198"/>
                    </a:lnTo>
                    <a:lnTo>
                      <a:pt x="535" y="200"/>
                    </a:lnTo>
                    <a:lnTo>
                      <a:pt x="527" y="200"/>
                    </a:lnTo>
                    <a:lnTo>
                      <a:pt x="518" y="200"/>
                    </a:lnTo>
                    <a:lnTo>
                      <a:pt x="509" y="199"/>
                    </a:lnTo>
                    <a:lnTo>
                      <a:pt x="500" y="197"/>
                    </a:lnTo>
                    <a:lnTo>
                      <a:pt x="492" y="195"/>
                    </a:lnTo>
                    <a:lnTo>
                      <a:pt x="474" y="188"/>
                    </a:lnTo>
                    <a:lnTo>
                      <a:pt x="458" y="178"/>
                    </a:lnTo>
                    <a:lnTo>
                      <a:pt x="444" y="168"/>
                    </a:lnTo>
                    <a:lnTo>
                      <a:pt x="439" y="162"/>
                    </a:lnTo>
                    <a:lnTo>
                      <a:pt x="434" y="157"/>
                    </a:lnTo>
                    <a:lnTo>
                      <a:pt x="429" y="150"/>
                    </a:lnTo>
                    <a:lnTo>
                      <a:pt x="426" y="144"/>
                    </a:lnTo>
                    <a:lnTo>
                      <a:pt x="426" y="144"/>
                    </a:lnTo>
                    <a:lnTo>
                      <a:pt x="411" y="130"/>
                    </a:lnTo>
                    <a:lnTo>
                      <a:pt x="396" y="117"/>
                    </a:lnTo>
                    <a:lnTo>
                      <a:pt x="366" y="97"/>
                    </a:lnTo>
                    <a:lnTo>
                      <a:pt x="351" y="86"/>
                    </a:lnTo>
                    <a:lnTo>
                      <a:pt x="336" y="75"/>
                    </a:lnTo>
                    <a:lnTo>
                      <a:pt x="322" y="61"/>
                    </a:lnTo>
                    <a:lnTo>
                      <a:pt x="309" y="45"/>
                    </a:lnTo>
                    <a:lnTo>
                      <a:pt x="309" y="45"/>
                    </a:lnTo>
                    <a:lnTo>
                      <a:pt x="305" y="39"/>
                    </a:lnTo>
                    <a:lnTo>
                      <a:pt x="303" y="33"/>
                    </a:lnTo>
                    <a:lnTo>
                      <a:pt x="301" y="22"/>
                    </a:lnTo>
                    <a:lnTo>
                      <a:pt x="299" y="17"/>
                    </a:lnTo>
                    <a:lnTo>
                      <a:pt x="298" y="12"/>
                    </a:lnTo>
                    <a:lnTo>
                      <a:pt x="295" y="6"/>
                    </a:lnTo>
                    <a:lnTo>
                      <a:pt x="290" y="0"/>
                    </a:lnTo>
                    <a:lnTo>
                      <a:pt x="290" y="0"/>
                    </a:lnTo>
                    <a:lnTo>
                      <a:pt x="287" y="4"/>
                    </a:lnTo>
                    <a:lnTo>
                      <a:pt x="283" y="8"/>
                    </a:lnTo>
                    <a:lnTo>
                      <a:pt x="279" y="17"/>
                    </a:lnTo>
                    <a:lnTo>
                      <a:pt x="276" y="22"/>
                    </a:lnTo>
                    <a:lnTo>
                      <a:pt x="273" y="27"/>
                    </a:lnTo>
                    <a:lnTo>
                      <a:pt x="269" y="29"/>
                    </a:lnTo>
                    <a:lnTo>
                      <a:pt x="265" y="30"/>
                    </a:lnTo>
                    <a:lnTo>
                      <a:pt x="265" y="30"/>
                    </a:lnTo>
                    <a:lnTo>
                      <a:pt x="258" y="29"/>
                    </a:lnTo>
                    <a:lnTo>
                      <a:pt x="251" y="27"/>
                    </a:lnTo>
                    <a:lnTo>
                      <a:pt x="240" y="21"/>
                    </a:lnTo>
                    <a:lnTo>
                      <a:pt x="227" y="14"/>
                    </a:lnTo>
                    <a:lnTo>
                      <a:pt x="220" y="13"/>
                    </a:lnTo>
                    <a:lnTo>
                      <a:pt x="213" y="12"/>
                    </a:lnTo>
                    <a:lnTo>
                      <a:pt x="213" y="12"/>
                    </a:lnTo>
                    <a:lnTo>
                      <a:pt x="205" y="13"/>
                    </a:lnTo>
                    <a:lnTo>
                      <a:pt x="197" y="15"/>
                    </a:lnTo>
                    <a:lnTo>
                      <a:pt x="191" y="18"/>
                    </a:lnTo>
                    <a:lnTo>
                      <a:pt x="185" y="22"/>
                    </a:lnTo>
                    <a:lnTo>
                      <a:pt x="180" y="27"/>
                    </a:lnTo>
                    <a:lnTo>
                      <a:pt x="173" y="30"/>
                    </a:lnTo>
                    <a:lnTo>
                      <a:pt x="165" y="32"/>
                    </a:lnTo>
                    <a:lnTo>
                      <a:pt x="154" y="33"/>
                    </a:lnTo>
                    <a:lnTo>
                      <a:pt x="154" y="33"/>
                    </a:lnTo>
                    <a:lnTo>
                      <a:pt x="150" y="46"/>
                    </a:lnTo>
                    <a:lnTo>
                      <a:pt x="142" y="58"/>
                    </a:lnTo>
                    <a:lnTo>
                      <a:pt x="133" y="68"/>
                    </a:lnTo>
                    <a:lnTo>
                      <a:pt x="121" y="76"/>
                    </a:lnTo>
                    <a:lnTo>
                      <a:pt x="108" y="83"/>
                    </a:lnTo>
                    <a:lnTo>
                      <a:pt x="93" y="89"/>
                    </a:lnTo>
                    <a:lnTo>
                      <a:pt x="78" y="91"/>
                    </a:lnTo>
                    <a:lnTo>
                      <a:pt x="62" y="92"/>
                    </a:lnTo>
                    <a:lnTo>
                      <a:pt x="62" y="92"/>
                    </a:lnTo>
                    <a:lnTo>
                      <a:pt x="61" y="101"/>
                    </a:lnTo>
                    <a:lnTo>
                      <a:pt x="59" y="108"/>
                    </a:lnTo>
                    <a:lnTo>
                      <a:pt x="55" y="114"/>
                    </a:lnTo>
                    <a:lnTo>
                      <a:pt x="51" y="119"/>
                    </a:lnTo>
                    <a:lnTo>
                      <a:pt x="46" y="122"/>
                    </a:lnTo>
                    <a:lnTo>
                      <a:pt x="40" y="125"/>
                    </a:lnTo>
                    <a:lnTo>
                      <a:pt x="30" y="129"/>
                    </a:lnTo>
                    <a:lnTo>
                      <a:pt x="19" y="132"/>
                    </a:lnTo>
                    <a:lnTo>
                      <a:pt x="14" y="135"/>
                    </a:lnTo>
                    <a:lnTo>
                      <a:pt x="9" y="137"/>
                    </a:lnTo>
                    <a:lnTo>
                      <a:pt x="6" y="139"/>
                    </a:lnTo>
                    <a:lnTo>
                      <a:pt x="2" y="144"/>
                    </a:lnTo>
                    <a:lnTo>
                      <a:pt x="0" y="148"/>
                    </a:lnTo>
                    <a:lnTo>
                      <a:pt x="0" y="154"/>
                    </a:lnTo>
                    <a:lnTo>
                      <a:pt x="0" y="154"/>
                    </a:lnTo>
                    <a:lnTo>
                      <a:pt x="0" y="158"/>
                    </a:lnTo>
                    <a:lnTo>
                      <a:pt x="2" y="160"/>
                    </a:lnTo>
                    <a:lnTo>
                      <a:pt x="8" y="167"/>
                    </a:lnTo>
                    <a:lnTo>
                      <a:pt x="17" y="173"/>
                    </a:lnTo>
                    <a:lnTo>
                      <a:pt x="28" y="178"/>
                    </a:lnTo>
                    <a:lnTo>
                      <a:pt x="39" y="184"/>
                    </a:lnTo>
                    <a:lnTo>
                      <a:pt x="51" y="188"/>
                    </a:lnTo>
                    <a:lnTo>
                      <a:pt x="61" y="190"/>
                    </a:lnTo>
                    <a:lnTo>
                      <a:pt x="70" y="191"/>
                    </a:lnTo>
                    <a:lnTo>
                      <a:pt x="70" y="191"/>
                    </a:lnTo>
                    <a:lnTo>
                      <a:pt x="78" y="191"/>
                    </a:lnTo>
                    <a:lnTo>
                      <a:pt x="85" y="189"/>
                    </a:lnTo>
                    <a:lnTo>
                      <a:pt x="91" y="185"/>
                    </a:lnTo>
                    <a:lnTo>
                      <a:pt x="96" y="181"/>
                    </a:lnTo>
                    <a:lnTo>
                      <a:pt x="103" y="172"/>
                    </a:lnTo>
                    <a:lnTo>
                      <a:pt x="111" y="162"/>
                    </a:lnTo>
                    <a:lnTo>
                      <a:pt x="111" y="162"/>
                    </a:lnTo>
                    <a:lnTo>
                      <a:pt x="115" y="174"/>
                    </a:lnTo>
                    <a:lnTo>
                      <a:pt x="118" y="188"/>
                    </a:lnTo>
                    <a:lnTo>
                      <a:pt x="121" y="199"/>
                    </a:lnTo>
                    <a:lnTo>
                      <a:pt x="122" y="205"/>
                    </a:lnTo>
                    <a:lnTo>
                      <a:pt x="126" y="209"/>
                    </a:lnTo>
                    <a:lnTo>
                      <a:pt x="126" y="209"/>
                    </a:lnTo>
                    <a:lnTo>
                      <a:pt x="131" y="215"/>
                    </a:lnTo>
                    <a:lnTo>
                      <a:pt x="138" y="221"/>
                    </a:lnTo>
                    <a:lnTo>
                      <a:pt x="154" y="228"/>
                    </a:lnTo>
                    <a:lnTo>
                      <a:pt x="161" y="232"/>
                    </a:lnTo>
                    <a:lnTo>
                      <a:pt x="169" y="237"/>
                    </a:lnTo>
                    <a:lnTo>
                      <a:pt x="175" y="243"/>
                    </a:lnTo>
                    <a:lnTo>
                      <a:pt x="180" y="250"/>
                    </a:lnTo>
                    <a:lnTo>
                      <a:pt x="180" y="250"/>
                    </a:lnTo>
                    <a:lnTo>
                      <a:pt x="175" y="253"/>
                    </a:lnTo>
                    <a:lnTo>
                      <a:pt x="170" y="254"/>
                    </a:lnTo>
                    <a:lnTo>
                      <a:pt x="167" y="253"/>
                    </a:lnTo>
                    <a:lnTo>
                      <a:pt x="161" y="250"/>
                    </a:lnTo>
                    <a:lnTo>
                      <a:pt x="161" y="250"/>
                    </a:lnTo>
                    <a:lnTo>
                      <a:pt x="161" y="272"/>
                    </a:lnTo>
                    <a:lnTo>
                      <a:pt x="161" y="272"/>
                    </a:lnTo>
                    <a:lnTo>
                      <a:pt x="161" y="272"/>
                    </a:lnTo>
                    <a:lnTo>
                      <a:pt x="167" y="277"/>
                    </a:lnTo>
                    <a:lnTo>
                      <a:pt x="172" y="281"/>
                    </a:lnTo>
                    <a:lnTo>
                      <a:pt x="177" y="283"/>
                    </a:lnTo>
                    <a:lnTo>
                      <a:pt x="183" y="285"/>
                    </a:lnTo>
                    <a:lnTo>
                      <a:pt x="195" y="289"/>
                    </a:lnTo>
                    <a:lnTo>
                      <a:pt x="205" y="291"/>
                    </a:lnTo>
                    <a:lnTo>
                      <a:pt x="215" y="293"/>
                    </a:lnTo>
                    <a:lnTo>
                      <a:pt x="220" y="296"/>
                    </a:lnTo>
                    <a:lnTo>
                      <a:pt x="225" y="299"/>
                    </a:lnTo>
                    <a:lnTo>
                      <a:pt x="228" y="304"/>
                    </a:lnTo>
                    <a:lnTo>
                      <a:pt x="231" y="308"/>
                    </a:lnTo>
                    <a:lnTo>
                      <a:pt x="234" y="315"/>
                    </a:lnTo>
                    <a:lnTo>
                      <a:pt x="235" y="323"/>
                    </a:lnTo>
                    <a:lnTo>
                      <a:pt x="235" y="323"/>
                    </a:lnTo>
                    <a:lnTo>
                      <a:pt x="259" y="328"/>
                    </a:lnTo>
                    <a:lnTo>
                      <a:pt x="272" y="330"/>
                    </a:lnTo>
                    <a:lnTo>
                      <a:pt x="283" y="330"/>
                    </a:lnTo>
                    <a:lnTo>
                      <a:pt x="283" y="330"/>
                    </a:lnTo>
                    <a:lnTo>
                      <a:pt x="289" y="330"/>
                    </a:lnTo>
                    <a:lnTo>
                      <a:pt x="294" y="329"/>
                    </a:lnTo>
                    <a:lnTo>
                      <a:pt x="304" y="325"/>
                    </a:lnTo>
                    <a:lnTo>
                      <a:pt x="312" y="319"/>
                    </a:lnTo>
                    <a:lnTo>
                      <a:pt x="320" y="313"/>
                    </a:lnTo>
                    <a:lnTo>
                      <a:pt x="327" y="306"/>
                    </a:lnTo>
                    <a:lnTo>
                      <a:pt x="334" y="300"/>
                    </a:lnTo>
                    <a:lnTo>
                      <a:pt x="341" y="296"/>
                    </a:lnTo>
                    <a:lnTo>
                      <a:pt x="345" y="295"/>
                    </a:lnTo>
                    <a:lnTo>
                      <a:pt x="349" y="295"/>
                    </a:lnTo>
                    <a:lnTo>
                      <a:pt x="349" y="295"/>
                    </a:lnTo>
                    <a:lnTo>
                      <a:pt x="355" y="295"/>
                    </a:lnTo>
                    <a:lnTo>
                      <a:pt x="358" y="296"/>
                    </a:lnTo>
                    <a:lnTo>
                      <a:pt x="362" y="298"/>
                    </a:lnTo>
                    <a:lnTo>
                      <a:pt x="365" y="300"/>
                    </a:lnTo>
                    <a:lnTo>
                      <a:pt x="368" y="307"/>
                    </a:lnTo>
                    <a:lnTo>
                      <a:pt x="371" y="315"/>
                    </a:lnTo>
                    <a:lnTo>
                      <a:pt x="375" y="331"/>
                    </a:lnTo>
                    <a:lnTo>
                      <a:pt x="378" y="337"/>
                    </a:lnTo>
                    <a:lnTo>
                      <a:pt x="380" y="341"/>
                    </a:lnTo>
                    <a:lnTo>
                      <a:pt x="382" y="342"/>
                    </a:lnTo>
                    <a:lnTo>
                      <a:pt x="382" y="342"/>
                    </a:lnTo>
                    <a:lnTo>
                      <a:pt x="387" y="344"/>
                    </a:lnTo>
                    <a:lnTo>
                      <a:pt x="394" y="348"/>
                    </a:lnTo>
                    <a:lnTo>
                      <a:pt x="410" y="352"/>
                    </a:lnTo>
                    <a:lnTo>
                      <a:pt x="427" y="356"/>
                    </a:lnTo>
                    <a:lnTo>
                      <a:pt x="441" y="357"/>
                    </a:lnTo>
                    <a:lnTo>
                      <a:pt x="441" y="357"/>
                    </a:lnTo>
                    <a:lnTo>
                      <a:pt x="443" y="353"/>
                    </a:lnTo>
                    <a:lnTo>
                      <a:pt x="448" y="350"/>
                    </a:lnTo>
                    <a:lnTo>
                      <a:pt x="459" y="342"/>
                    </a:lnTo>
                    <a:lnTo>
                      <a:pt x="459" y="342"/>
                    </a:lnTo>
                    <a:lnTo>
                      <a:pt x="463" y="338"/>
                    </a:lnTo>
                    <a:lnTo>
                      <a:pt x="466" y="335"/>
                    </a:lnTo>
                    <a:lnTo>
                      <a:pt x="471" y="326"/>
                    </a:lnTo>
                    <a:lnTo>
                      <a:pt x="473" y="321"/>
                    </a:lnTo>
                    <a:lnTo>
                      <a:pt x="477" y="318"/>
                    </a:lnTo>
                    <a:lnTo>
                      <a:pt x="480" y="314"/>
                    </a:lnTo>
                    <a:lnTo>
                      <a:pt x="485" y="313"/>
                    </a:lnTo>
                    <a:lnTo>
                      <a:pt x="485" y="313"/>
                    </a:lnTo>
                    <a:lnTo>
                      <a:pt x="496" y="312"/>
                    </a:lnTo>
                    <a:lnTo>
                      <a:pt x="512" y="314"/>
                    </a:lnTo>
                    <a:lnTo>
                      <a:pt x="531" y="315"/>
                    </a:lnTo>
                    <a:lnTo>
                      <a:pt x="550" y="316"/>
                    </a:lnTo>
                    <a:lnTo>
                      <a:pt x="559" y="316"/>
                    </a:lnTo>
                    <a:lnTo>
                      <a:pt x="569" y="315"/>
                    </a:lnTo>
                    <a:lnTo>
                      <a:pt x="577" y="314"/>
                    </a:lnTo>
                    <a:lnTo>
                      <a:pt x="585" y="312"/>
                    </a:lnTo>
                    <a:lnTo>
                      <a:pt x="590" y="308"/>
                    </a:lnTo>
                    <a:lnTo>
                      <a:pt x="595" y="304"/>
                    </a:lnTo>
                    <a:lnTo>
                      <a:pt x="599" y="298"/>
                    </a:lnTo>
                    <a:lnTo>
                      <a:pt x="600" y="290"/>
                    </a:lnTo>
                    <a:lnTo>
                      <a:pt x="600" y="290"/>
                    </a:lnTo>
                    <a:lnTo>
                      <a:pt x="600" y="267"/>
                    </a:lnTo>
                    <a:lnTo>
                      <a:pt x="603" y="246"/>
                    </a:lnTo>
                    <a:lnTo>
                      <a:pt x="608" y="228"/>
                    </a:lnTo>
                    <a:lnTo>
                      <a:pt x="612" y="209"/>
                    </a:lnTo>
                    <a:lnTo>
                      <a:pt x="624" y="173"/>
                    </a:lnTo>
                    <a:lnTo>
                      <a:pt x="628" y="152"/>
                    </a:lnTo>
                    <a:lnTo>
                      <a:pt x="632" y="129"/>
                    </a:lnTo>
                    <a:lnTo>
                      <a:pt x="632" y="129"/>
                    </a:lnTo>
                    <a:lnTo>
                      <a:pt x="628" y="136"/>
                    </a:lnTo>
                    <a:lnTo>
                      <a:pt x="628" y="13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0" name="Freeform 65"/>
              <p:cNvSpPr>
                <a:spLocks noChangeAspect="1"/>
              </p:cNvSpPr>
              <p:nvPr/>
            </p:nvSpPr>
            <p:spPr bwMode="auto">
              <a:xfrm>
                <a:off x="1371975" y="3482395"/>
                <a:ext cx="271054" cy="215695"/>
              </a:xfrm>
              <a:custGeom>
                <a:avLst/>
                <a:gdLst/>
                <a:ahLst/>
                <a:cxnLst>
                  <a:cxn ang="0">
                    <a:pos x="187" y="280"/>
                  </a:cxn>
                  <a:cxn ang="0">
                    <a:pos x="196" y="269"/>
                  </a:cxn>
                  <a:cxn ang="0">
                    <a:pos x="217" y="261"/>
                  </a:cxn>
                  <a:cxn ang="0">
                    <a:pos x="238" y="251"/>
                  </a:cxn>
                  <a:cxn ang="0">
                    <a:pos x="248" y="233"/>
                  </a:cxn>
                  <a:cxn ang="0">
                    <a:pos x="265" y="223"/>
                  </a:cxn>
                  <a:cxn ang="0">
                    <a:pos x="308" y="208"/>
                  </a:cxn>
                  <a:cxn ang="0">
                    <a:pos x="337" y="178"/>
                  </a:cxn>
                  <a:cxn ang="0">
                    <a:pos x="336" y="165"/>
                  </a:cxn>
                  <a:cxn ang="0">
                    <a:pos x="321" y="160"/>
                  </a:cxn>
                  <a:cxn ang="0">
                    <a:pos x="307" y="144"/>
                  </a:cxn>
                  <a:cxn ang="0">
                    <a:pos x="292" y="95"/>
                  </a:cxn>
                  <a:cxn ang="0">
                    <a:pos x="278" y="48"/>
                  </a:cxn>
                  <a:cxn ang="0">
                    <a:pos x="261" y="30"/>
                  </a:cxn>
                  <a:cxn ang="0">
                    <a:pos x="246" y="26"/>
                  </a:cxn>
                  <a:cxn ang="0">
                    <a:pos x="241" y="28"/>
                  </a:cxn>
                  <a:cxn ang="0">
                    <a:pos x="232" y="40"/>
                  </a:cxn>
                  <a:cxn ang="0">
                    <a:pos x="226" y="40"/>
                  </a:cxn>
                  <a:cxn ang="0">
                    <a:pos x="213" y="34"/>
                  </a:cxn>
                  <a:cxn ang="0">
                    <a:pos x="194" y="12"/>
                  </a:cxn>
                  <a:cxn ang="0">
                    <a:pos x="179" y="2"/>
                  </a:cxn>
                  <a:cxn ang="0">
                    <a:pos x="169" y="0"/>
                  </a:cxn>
                  <a:cxn ang="0">
                    <a:pos x="147" y="3"/>
                  </a:cxn>
                  <a:cxn ang="0">
                    <a:pos x="142" y="0"/>
                  </a:cxn>
                  <a:cxn ang="0">
                    <a:pos x="129" y="10"/>
                  </a:cxn>
                  <a:cxn ang="0">
                    <a:pos x="95" y="11"/>
                  </a:cxn>
                  <a:cxn ang="0">
                    <a:pos x="94" y="27"/>
                  </a:cxn>
                  <a:cxn ang="0">
                    <a:pos x="84" y="48"/>
                  </a:cxn>
                  <a:cxn ang="0">
                    <a:pos x="64" y="68"/>
                  </a:cxn>
                  <a:cxn ang="0">
                    <a:pos x="59" y="81"/>
                  </a:cxn>
                  <a:cxn ang="0">
                    <a:pos x="59" y="94"/>
                  </a:cxn>
                  <a:cxn ang="0">
                    <a:pos x="66" y="108"/>
                  </a:cxn>
                  <a:cxn ang="0">
                    <a:pos x="79" y="114"/>
                  </a:cxn>
                  <a:cxn ang="0">
                    <a:pos x="84" y="132"/>
                  </a:cxn>
                  <a:cxn ang="0">
                    <a:pos x="80" y="149"/>
                  </a:cxn>
                  <a:cxn ang="0">
                    <a:pos x="64" y="169"/>
                  </a:cxn>
                  <a:cxn ang="0">
                    <a:pos x="26" y="196"/>
                  </a:cxn>
                  <a:cxn ang="0">
                    <a:pos x="8" y="218"/>
                  </a:cxn>
                  <a:cxn ang="0">
                    <a:pos x="0" y="249"/>
                  </a:cxn>
                  <a:cxn ang="0">
                    <a:pos x="3" y="268"/>
                  </a:cxn>
                  <a:cxn ang="0">
                    <a:pos x="18" y="295"/>
                  </a:cxn>
                  <a:cxn ang="0">
                    <a:pos x="36" y="308"/>
                  </a:cxn>
                  <a:cxn ang="0">
                    <a:pos x="46" y="308"/>
                  </a:cxn>
                  <a:cxn ang="0">
                    <a:pos x="66" y="299"/>
                  </a:cxn>
                  <a:cxn ang="0">
                    <a:pos x="86" y="280"/>
                  </a:cxn>
                  <a:cxn ang="0">
                    <a:pos x="102" y="276"/>
                  </a:cxn>
                  <a:cxn ang="0">
                    <a:pos x="123" y="277"/>
                  </a:cxn>
                  <a:cxn ang="0">
                    <a:pos x="172" y="286"/>
                  </a:cxn>
                  <a:cxn ang="0">
                    <a:pos x="187" y="286"/>
                  </a:cxn>
                </a:cxnLst>
                <a:rect l="0" t="0" r="r" b="b"/>
                <a:pathLst>
                  <a:path w="341" h="309">
                    <a:moveTo>
                      <a:pt x="187" y="286"/>
                    </a:moveTo>
                    <a:lnTo>
                      <a:pt x="187" y="286"/>
                    </a:lnTo>
                    <a:lnTo>
                      <a:pt x="187" y="280"/>
                    </a:lnTo>
                    <a:lnTo>
                      <a:pt x="189" y="276"/>
                    </a:lnTo>
                    <a:lnTo>
                      <a:pt x="193" y="271"/>
                    </a:lnTo>
                    <a:lnTo>
                      <a:pt x="196" y="269"/>
                    </a:lnTo>
                    <a:lnTo>
                      <a:pt x="201" y="267"/>
                    </a:lnTo>
                    <a:lnTo>
                      <a:pt x="206" y="264"/>
                    </a:lnTo>
                    <a:lnTo>
                      <a:pt x="217" y="261"/>
                    </a:lnTo>
                    <a:lnTo>
                      <a:pt x="227" y="257"/>
                    </a:lnTo>
                    <a:lnTo>
                      <a:pt x="233" y="254"/>
                    </a:lnTo>
                    <a:lnTo>
                      <a:pt x="238" y="251"/>
                    </a:lnTo>
                    <a:lnTo>
                      <a:pt x="242" y="246"/>
                    </a:lnTo>
                    <a:lnTo>
                      <a:pt x="246" y="240"/>
                    </a:lnTo>
                    <a:lnTo>
                      <a:pt x="248" y="233"/>
                    </a:lnTo>
                    <a:lnTo>
                      <a:pt x="249" y="224"/>
                    </a:lnTo>
                    <a:lnTo>
                      <a:pt x="249" y="224"/>
                    </a:lnTo>
                    <a:lnTo>
                      <a:pt x="265" y="223"/>
                    </a:lnTo>
                    <a:lnTo>
                      <a:pt x="280" y="221"/>
                    </a:lnTo>
                    <a:lnTo>
                      <a:pt x="295" y="215"/>
                    </a:lnTo>
                    <a:lnTo>
                      <a:pt x="308" y="208"/>
                    </a:lnTo>
                    <a:lnTo>
                      <a:pt x="320" y="200"/>
                    </a:lnTo>
                    <a:lnTo>
                      <a:pt x="329" y="190"/>
                    </a:lnTo>
                    <a:lnTo>
                      <a:pt x="337" y="178"/>
                    </a:lnTo>
                    <a:lnTo>
                      <a:pt x="341" y="165"/>
                    </a:lnTo>
                    <a:lnTo>
                      <a:pt x="341" y="165"/>
                    </a:lnTo>
                    <a:lnTo>
                      <a:pt x="336" y="165"/>
                    </a:lnTo>
                    <a:lnTo>
                      <a:pt x="330" y="163"/>
                    </a:lnTo>
                    <a:lnTo>
                      <a:pt x="325" y="162"/>
                    </a:lnTo>
                    <a:lnTo>
                      <a:pt x="321" y="160"/>
                    </a:lnTo>
                    <a:lnTo>
                      <a:pt x="317" y="156"/>
                    </a:lnTo>
                    <a:lnTo>
                      <a:pt x="314" y="153"/>
                    </a:lnTo>
                    <a:lnTo>
                      <a:pt x="307" y="144"/>
                    </a:lnTo>
                    <a:lnTo>
                      <a:pt x="302" y="133"/>
                    </a:lnTo>
                    <a:lnTo>
                      <a:pt x="299" y="122"/>
                    </a:lnTo>
                    <a:lnTo>
                      <a:pt x="292" y="95"/>
                    </a:lnTo>
                    <a:lnTo>
                      <a:pt x="286" y="70"/>
                    </a:lnTo>
                    <a:lnTo>
                      <a:pt x="283" y="58"/>
                    </a:lnTo>
                    <a:lnTo>
                      <a:pt x="278" y="48"/>
                    </a:lnTo>
                    <a:lnTo>
                      <a:pt x="272" y="39"/>
                    </a:lnTo>
                    <a:lnTo>
                      <a:pt x="265" y="32"/>
                    </a:lnTo>
                    <a:lnTo>
                      <a:pt x="261" y="30"/>
                    </a:lnTo>
                    <a:lnTo>
                      <a:pt x="256" y="27"/>
                    </a:lnTo>
                    <a:lnTo>
                      <a:pt x="252" y="26"/>
                    </a:lnTo>
                    <a:lnTo>
                      <a:pt x="246" y="26"/>
                    </a:lnTo>
                    <a:lnTo>
                      <a:pt x="246" y="26"/>
                    </a:lnTo>
                    <a:lnTo>
                      <a:pt x="244" y="26"/>
                    </a:lnTo>
                    <a:lnTo>
                      <a:pt x="241" y="28"/>
                    </a:lnTo>
                    <a:lnTo>
                      <a:pt x="237" y="33"/>
                    </a:lnTo>
                    <a:lnTo>
                      <a:pt x="234" y="39"/>
                    </a:lnTo>
                    <a:lnTo>
                      <a:pt x="232" y="40"/>
                    </a:lnTo>
                    <a:lnTo>
                      <a:pt x="231" y="41"/>
                    </a:lnTo>
                    <a:lnTo>
                      <a:pt x="231" y="41"/>
                    </a:lnTo>
                    <a:lnTo>
                      <a:pt x="226" y="40"/>
                    </a:lnTo>
                    <a:lnTo>
                      <a:pt x="222" y="39"/>
                    </a:lnTo>
                    <a:lnTo>
                      <a:pt x="217" y="37"/>
                    </a:lnTo>
                    <a:lnTo>
                      <a:pt x="213" y="34"/>
                    </a:lnTo>
                    <a:lnTo>
                      <a:pt x="207" y="27"/>
                    </a:lnTo>
                    <a:lnTo>
                      <a:pt x="200" y="20"/>
                    </a:lnTo>
                    <a:lnTo>
                      <a:pt x="194" y="12"/>
                    </a:lnTo>
                    <a:lnTo>
                      <a:pt x="187" y="7"/>
                    </a:lnTo>
                    <a:lnTo>
                      <a:pt x="183" y="4"/>
                    </a:lnTo>
                    <a:lnTo>
                      <a:pt x="179" y="2"/>
                    </a:lnTo>
                    <a:lnTo>
                      <a:pt x="175" y="1"/>
                    </a:lnTo>
                    <a:lnTo>
                      <a:pt x="169" y="0"/>
                    </a:lnTo>
                    <a:lnTo>
                      <a:pt x="169" y="0"/>
                    </a:lnTo>
                    <a:lnTo>
                      <a:pt x="161" y="1"/>
                    </a:lnTo>
                    <a:lnTo>
                      <a:pt x="153" y="3"/>
                    </a:lnTo>
                    <a:lnTo>
                      <a:pt x="147" y="3"/>
                    </a:lnTo>
                    <a:lnTo>
                      <a:pt x="145" y="2"/>
                    </a:lnTo>
                    <a:lnTo>
                      <a:pt x="142" y="0"/>
                    </a:lnTo>
                    <a:lnTo>
                      <a:pt x="142" y="0"/>
                    </a:lnTo>
                    <a:lnTo>
                      <a:pt x="138" y="4"/>
                    </a:lnTo>
                    <a:lnTo>
                      <a:pt x="132" y="8"/>
                    </a:lnTo>
                    <a:lnTo>
                      <a:pt x="129" y="10"/>
                    </a:lnTo>
                    <a:lnTo>
                      <a:pt x="125" y="11"/>
                    </a:lnTo>
                    <a:lnTo>
                      <a:pt x="125" y="11"/>
                    </a:lnTo>
                    <a:lnTo>
                      <a:pt x="95" y="11"/>
                    </a:lnTo>
                    <a:lnTo>
                      <a:pt x="95" y="11"/>
                    </a:lnTo>
                    <a:lnTo>
                      <a:pt x="95" y="20"/>
                    </a:lnTo>
                    <a:lnTo>
                      <a:pt x="94" y="27"/>
                    </a:lnTo>
                    <a:lnTo>
                      <a:pt x="92" y="34"/>
                    </a:lnTo>
                    <a:lnTo>
                      <a:pt x="89" y="40"/>
                    </a:lnTo>
                    <a:lnTo>
                      <a:pt x="84" y="48"/>
                    </a:lnTo>
                    <a:lnTo>
                      <a:pt x="77" y="55"/>
                    </a:lnTo>
                    <a:lnTo>
                      <a:pt x="70" y="61"/>
                    </a:lnTo>
                    <a:lnTo>
                      <a:pt x="64" y="68"/>
                    </a:lnTo>
                    <a:lnTo>
                      <a:pt x="62" y="72"/>
                    </a:lnTo>
                    <a:lnTo>
                      <a:pt x="61" y="77"/>
                    </a:lnTo>
                    <a:lnTo>
                      <a:pt x="59" y="81"/>
                    </a:lnTo>
                    <a:lnTo>
                      <a:pt x="58" y="88"/>
                    </a:lnTo>
                    <a:lnTo>
                      <a:pt x="58" y="88"/>
                    </a:lnTo>
                    <a:lnTo>
                      <a:pt x="59" y="94"/>
                    </a:lnTo>
                    <a:lnTo>
                      <a:pt x="61" y="100"/>
                    </a:lnTo>
                    <a:lnTo>
                      <a:pt x="63" y="104"/>
                    </a:lnTo>
                    <a:lnTo>
                      <a:pt x="66" y="108"/>
                    </a:lnTo>
                    <a:lnTo>
                      <a:pt x="70" y="110"/>
                    </a:lnTo>
                    <a:lnTo>
                      <a:pt x="74" y="112"/>
                    </a:lnTo>
                    <a:lnTo>
                      <a:pt x="79" y="114"/>
                    </a:lnTo>
                    <a:lnTo>
                      <a:pt x="84" y="114"/>
                    </a:lnTo>
                    <a:lnTo>
                      <a:pt x="84" y="114"/>
                    </a:lnTo>
                    <a:lnTo>
                      <a:pt x="84" y="132"/>
                    </a:lnTo>
                    <a:lnTo>
                      <a:pt x="84" y="132"/>
                    </a:lnTo>
                    <a:lnTo>
                      <a:pt x="84" y="141"/>
                    </a:lnTo>
                    <a:lnTo>
                      <a:pt x="80" y="149"/>
                    </a:lnTo>
                    <a:lnTo>
                      <a:pt x="77" y="156"/>
                    </a:lnTo>
                    <a:lnTo>
                      <a:pt x="71" y="163"/>
                    </a:lnTo>
                    <a:lnTo>
                      <a:pt x="64" y="169"/>
                    </a:lnTo>
                    <a:lnTo>
                      <a:pt x="57" y="175"/>
                    </a:lnTo>
                    <a:lnTo>
                      <a:pt x="42" y="185"/>
                    </a:lnTo>
                    <a:lnTo>
                      <a:pt x="26" y="196"/>
                    </a:lnTo>
                    <a:lnTo>
                      <a:pt x="19" y="203"/>
                    </a:lnTo>
                    <a:lnTo>
                      <a:pt x="13" y="210"/>
                    </a:lnTo>
                    <a:lnTo>
                      <a:pt x="8" y="218"/>
                    </a:lnTo>
                    <a:lnTo>
                      <a:pt x="4" y="228"/>
                    </a:lnTo>
                    <a:lnTo>
                      <a:pt x="1" y="238"/>
                    </a:lnTo>
                    <a:lnTo>
                      <a:pt x="0" y="249"/>
                    </a:lnTo>
                    <a:lnTo>
                      <a:pt x="0" y="249"/>
                    </a:lnTo>
                    <a:lnTo>
                      <a:pt x="1" y="259"/>
                    </a:lnTo>
                    <a:lnTo>
                      <a:pt x="3" y="268"/>
                    </a:lnTo>
                    <a:lnTo>
                      <a:pt x="7" y="278"/>
                    </a:lnTo>
                    <a:lnTo>
                      <a:pt x="12" y="287"/>
                    </a:lnTo>
                    <a:lnTo>
                      <a:pt x="18" y="295"/>
                    </a:lnTo>
                    <a:lnTo>
                      <a:pt x="25" y="302"/>
                    </a:lnTo>
                    <a:lnTo>
                      <a:pt x="32" y="307"/>
                    </a:lnTo>
                    <a:lnTo>
                      <a:pt x="36" y="308"/>
                    </a:lnTo>
                    <a:lnTo>
                      <a:pt x="40" y="309"/>
                    </a:lnTo>
                    <a:lnTo>
                      <a:pt x="40" y="309"/>
                    </a:lnTo>
                    <a:lnTo>
                      <a:pt x="46" y="308"/>
                    </a:lnTo>
                    <a:lnTo>
                      <a:pt x="50" y="307"/>
                    </a:lnTo>
                    <a:lnTo>
                      <a:pt x="58" y="304"/>
                    </a:lnTo>
                    <a:lnTo>
                      <a:pt x="66" y="299"/>
                    </a:lnTo>
                    <a:lnTo>
                      <a:pt x="72" y="292"/>
                    </a:lnTo>
                    <a:lnTo>
                      <a:pt x="79" y="286"/>
                    </a:lnTo>
                    <a:lnTo>
                      <a:pt x="86" y="280"/>
                    </a:lnTo>
                    <a:lnTo>
                      <a:pt x="94" y="277"/>
                    </a:lnTo>
                    <a:lnTo>
                      <a:pt x="97" y="276"/>
                    </a:lnTo>
                    <a:lnTo>
                      <a:pt x="102" y="276"/>
                    </a:lnTo>
                    <a:lnTo>
                      <a:pt x="102" y="276"/>
                    </a:lnTo>
                    <a:lnTo>
                      <a:pt x="114" y="276"/>
                    </a:lnTo>
                    <a:lnTo>
                      <a:pt x="123" y="277"/>
                    </a:lnTo>
                    <a:lnTo>
                      <a:pt x="142" y="282"/>
                    </a:lnTo>
                    <a:lnTo>
                      <a:pt x="163" y="285"/>
                    </a:lnTo>
                    <a:lnTo>
                      <a:pt x="172" y="286"/>
                    </a:lnTo>
                    <a:lnTo>
                      <a:pt x="184" y="286"/>
                    </a:lnTo>
                    <a:lnTo>
                      <a:pt x="184" y="286"/>
                    </a:lnTo>
                    <a:lnTo>
                      <a:pt x="187" y="286"/>
                    </a:lnTo>
                    <a:lnTo>
                      <a:pt x="187" y="28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1" name="Freeform 66"/>
              <p:cNvSpPr>
                <a:spLocks noChangeAspect="1"/>
              </p:cNvSpPr>
              <p:nvPr/>
            </p:nvSpPr>
            <p:spPr bwMode="auto">
              <a:xfrm>
                <a:off x="972528" y="3333496"/>
                <a:ext cx="511990" cy="307539"/>
              </a:xfrm>
              <a:custGeom>
                <a:avLst/>
                <a:gdLst/>
                <a:ahLst/>
                <a:cxnLst>
                  <a:cxn ang="0">
                    <a:pos x="18" y="134"/>
                  </a:cxn>
                  <a:cxn ang="0">
                    <a:pos x="67" y="89"/>
                  </a:cxn>
                  <a:cxn ang="0">
                    <a:pos x="69" y="56"/>
                  </a:cxn>
                  <a:cxn ang="0">
                    <a:pos x="80" y="1"/>
                  </a:cxn>
                  <a:cxn ang="0">
                    <a:pos x="102" y="1"/>
                  </a:cxn>
                  <a:cxn ang="0">
                    <a:pos x="128" y="28"/>
                  </a:cxn>
                  <a:cxn ang="0">
                    <a:pos x="172" y="42"/>
                  </a:cxn>
                  <a:cxn ang="0">
                    <a:pos x="240" y="50"/>
                  </a:cxn>
                  <a:cxn ang="0">
                    <a:pos x="274" y="72"/>
                  </a:cxn>
                  <a:cxn ang="0">
                    <a:pos x="290" y="81"/>
                  </a:cxn>
                  <a:cxn ang="0">
                    <a:pos x="343" y="63"/>
                  </a:cxn>
                  <a:cxn ang="0">
                    <a:pos x="385" y="46"/>
                  </a:cxn>
                  <a:cxn ang="0">
                    <a:pos x="409" y="54"/>
                  </a:cxn>
                  <a:cxn ang="0">
                    <a:pos x="426" y="92"/>
                  </a:cxn>
                  <a:cxn ang="0">
                    <a:pos x="437" y="100"/>
                  </a:cxn>
                  <a:cxn ang="0">
                    <a:pos x="459" y="89"/>
                  </a:cxn>
                  <a:cxn ang="0">
                    <a:pos x="474" y="110"/>
                  </a:cxn>
                  <a:cxn ang="0">
                    <a:pos x="487" y="114"/>
                  </a:cxn>
                  <a:cxn ang="0">
                    <a:pos x="503" y="103"/>
                  </a:cxn>
                  <a:cxn ang="0">
                    <a:pos x="537" y="124"/>
                  </a:cxn>
                  <a:cxn ang="0">
                    <a:pos x="569" y="140"/>
                  </a:cxn>
                  <a:cxn ang="0">
                    <a:pos x="575" y="157"/>
                  </a:cxn>
                  <a:cxn ang="0">
                    <a:pos x="592" y="156"/>
                  </a:cxn>
                  <a:cxn ang="0">
                    <a:pos x="620" y="140"/>
                  </a:cxn>
                  <a:cxn ang="0">
                    <a:pos x="634" y="147"/>
                  </a:cxn>
                  <a:cxn ang="0">
                    <a:pos x="638" y="200"/>
                  </a:cxn>
                  <a:cxn ang="0">
                    <a:pos x="645" y="214"/>
                  </a:cxn>
                  <a:cxn ang="0">
                    <a:pos x="628" y="225"/>
                  </a:cxn>
                  <a:cxn ang="0">
                    <a:pos x="597" y="241"/>
                  </a:cxn>
                  <a:cxn ang="0">
                    <a:pos x="573" y="275"/>
                  </a:cxn>
                  <a:cxn ang="0">
                    <a:pos x="561" y="302"/>
                  </a:cxn>
                  <a:cxn ang="0">
                    <a:pos x="569" y="322"/>
                  </a:cxn>
                  <a:cxn ang="0">
                    <a:pos x="587" y="328"/>
                  </a:cxn>
                  <a:cxn ang="0">
                    <a:pos x="581" y="368"/>
                  </a:cxn>
                  <a:cxn ang="0">
                    <a:pos x="538" y="402"/>
                  </a:cxn>
                  <a:cxn ang="0">
                    <a:pos x="506" y="442"/>
                  </a:cxn>
                  <a:cxn ang="0">
                    <a:pos x="481" y="400"/>
                  </a:cxn>
                  <a:cxn ang="0">
                    <a:pos x="443" y="391"/>
                  </a:cxn>
                  <a:cxn ang="0">
                    <a:pos x="411" y="405"/>
                  </a:cxn>
                  <a:cxn ang="0">
                    <a:pos x="397" y="397"/>
                  </a:cxn>
                  <a:cxn ang="0">
                    <a:pos x="378" y="379"/>
                  </a:cxn>
                  <a:cxn ang="0">
                    <a:pos x="337" y="369"/>
                  </a:cxn>
                  <a:cxn ang="0">
                    <a:pos x="321" y="347"/>
                  </a:cxn>
                  <a:cxn ang="0">
                    <a:pos x="299" y="340"/>
                  </a:cxn>
                  <a:cxn ang="0">
                    <a:pos x="253" y="350"/>
                  </a:cxn>
                  <a:cxn ang="0">
                    <a:pos x="224" y="338"/>
                  </a:cxn>
                  <a:cxn ang="0">
                    <a:pos x="195" y="291"/>
                  </a:cxn>
                  <a:cxn ang="0">
                    <a:pos x="157" y="272"/>
                  </a:cxn>
                  <a:cxn ang="0">
                    <a:pos x="116" y="271"/>
                  </a:cxn>
                  <a:cxn ang="0">
                    <a:pos x="60" y="231"/>
                  </a:cxn>
                  <a:cxn ang="0">
                    <a:pos x="0" y="140"/>
                  </a:cxn>
                </a:cxnLst>
                <a:rect l="0" t="0" r="r" b="b"/>
                <a:pathLst>
                  <a:path w="645" h="442">
                    <a:moveTo>
                      <a:pt x="0" y="140"/>
                    </a:moveTo>
                    <a:lnTo>
                      <a:pt x="0" y="140"/>
                    </a:lnTo>
                    <a:lnTo>
                      <a:pt x="3" y="140"/>
                    </a:lnTo>
                    <a:lnTo>
                      <a:pt x="8" y="139"/>
                    </a:lnTo>
                    <a:lnTo>
                      <a:pt x="18" y="134"/>
                    </a:lnTo>
                    <a:lnTo>
                      <a:pt x="30" y="126"/>
                    </a:lnTo>
                    <a:lnTo>
                      <a:pt x="41" y="118"/>
                    </a:lnTo>
                    <a:lnTo>
                      <a:pt x="52" y="108"/>
                    </a:lnTo>
                    <a:lnTo>
                      <a:pt x="61" y="99"/>
                    </a:lnTo>
                    <a:lnTo>
                      <a:pt x="67" y="89"/>
                    </a:lnTo>
                    <a:lnTo>
                      <a:pt x="69" y="85"/>
                    </a:lnTo>
                    <a:lnTo>
                      <a:pt x="69" y="81"/>
                    </a:lnTo>
                    <a:lnTo>
                      <a:pt x="69" y="81"/>
                    </a:lnTo>
                    <a:lnTo>
                      <a:pt x="69" y="56"/>
                    </a:lnTo>
                    <a:lnTo>
                      <a:pt x="69" y="56"/>
                    </a:lnTo>
                    <a:lnTo>
                      <a:pt x="70" y="45"/>
                    </a:lnTo>
                    <a:lnTo>
                      <a:pt x="73" y="31"/>
                    </a:lnTo>
                    <a:lnTo>
                      <a:pt x="77" y="17"/>
                    </a:lnTo>
                    <a:lnTo>
                      <a:pt x="80" y="1"/>
                    </a:lnTo>
                    <a:lnTo>
                      <a:pt x="80" y="1"/>
                    </a:lnTo>
                    <a:lnTo>
                      <a:pt x="86" y="1"/>
                    </a:lnTo>
                    <a:lnTo>
                      <a:pt x="92" y="0"/>
                    </a:lnTo>
                    <a:lnTo>
                      <a:pt x="96" y="0"/>
                    </a:lnTo>
                    <a:lnTo>
                      <a:pt x="102" y="1"/>
                    </a:lnTo>
                    <a:lnTo>
                      <a:pt x="102" y="1"/>
                    </a:lnTo>
                    <a:lnTo>
                      <a:pt x="110" y="4"/>
                    </a:lnTo>
                    <a:lnTo>
                      <a:pt x="115" y="9"/>
                    </a:lnTo>
                    <a:lnTo>
                      <a:pt x="118" y="13"/>
                    </a:lnTo>
                    <a:lnTo>
                      <a:pt x="122" y="19"/>
                    </a:lnTo>
                    <a:lnTo>
                      <a:pt x="128" y="28"/>
                    </a:lnTo>
                    <a:lnTo>
                      <a:pt x="131" y="32"/>
                    </a:lnTo>
                    <a:lnTo>
                      <a:pt x="136" y="34"/>
                    </a:lnTo>
                    <a:lnTo>
                      <a:pt x="136" y="34"/>
                    </a:lnTo>
                    <a:lnTo>
                      <a:pt x="155" y="40"/>
                    </a:lnTo>
                    <a:lnTo>
                      <a:pt x="172" y="42"/>
                    </a:lnTo>
                    <a:lnTo>
                      <a:pt x="187" y="45"/>
                    </a:lnTo>
                    <a:lnTo>
                      <a:pt x="200" y="45"/>
                    </a:lnTo>
                    <a:lnTo>
                      <a:pt x="213" y="46"/>
                    </a:lnTo>
                    <a:lnTo>
                      <a:pt x="226" y="47"/>
                    </a:lnTo>
                    <a:lnTo>
                      <a:pt x="240" y="50"/>
                    </a:lnTo>
                    <a:lnTo>
                      <a:pt x="256" y="56"/>
                    </a:lnTo>
                    <a:lnTo>
                      <a:pt x="256" y="56"/>
                    </a:lnTo>
                    <a:lnTo>
                      <a:pt x="262" y="60"/>
                    </a:lnTo>
                    <a:lnTo>
                      <a:pt x="266" y="63"/>
                    </a:lnTo>
                    <a:lnTo>
                      <a:pt x="274" y="72"/>
                    </a:lnTo>
                    <a:lnTo>
                      <a:pt x="277" y="76"/>
                    </a:lnTo>
                    <a:lnTo>
                      <a:pt x="281" y="79"/>
                    </a:lnTo>
                    <a:lnTo>
                      <a:pt x="284" y="81"/>
                    </a:lnTo>
                    <a:lnTo>
                      <a:pt x="290" y="81"/>
                    </a:lnTo>
                    <a:lnTo>
                      <a:pt x="290" y="81"/>
                    </a:lnTo>
                    <a:lnTo>
                      <a:pt x="297" y="81"/>
                    </a:lnTo>
                    <a:lnTo>
                      <a:pt x="305" y="80"/>
                    </a:lnTo>
                    <a:lnTo>
                      <a:pt x="319" y="76"/>
                    </a:lnTo>
                    <a:lnTo>
                      <a:pt x="331" y="70"/>
                    </a:lnTo>
                    <a:lnTo>
                      <a:pt x="343" y="63"/>
                    </a:lnTo>
                    <a:lnTo>
                      <a:pt x="354" y="57"/>
                    </a:lnTo>
                    <a:lnTo>
                      <a:pt x="366" y="51"/>
                    </a:lnTo>
                    <a:lnTo>
                      <a:pt x="376" y="47"/>
                    </a:lnTo>
                    <a:lnTo>
                      <a:pt x="381" y="46"/>
                    </a:lnTo>
                    <a:lnTo>
                      <a:pt x="385" y="46"/>
                    </a:lnTo>
                    <a:lnTo>
                      <a:pt x="385" y="46"/>
                    </a:lnTo>
                    <a:lnTo>
                      <a:pt x="393" y="46"/>
                    </a:lnTo>
                    <a:lnTo>
                      <a:pt x="399" y="48"/>
                    </a:lnTo>
                    <a:lnTo>
                      <a:pt x="405" y="50"/>
                    </a:lnTo>
                    <a:lnTo>
                      <a:pt x="409" y="54"/>
                    </a:lnTo>
                    <a:lnTo>
                      <a:pt x="413" y="58"/>
                    </a:lnTo>
                    <a:lnTo>
                      <a:pt x="415" y="63"/>
                    </a:lnTo>
                    <a:lnTo>
                      <a:pt x="420" y="72"/>
                    </a:lnTo>
                    <a:lnTo>
                      <a:pt x="422" y="83"/>
                    </a:lnTo>
                    <a:lnTo>
                      <a:pt x="426" y="92"/>
                    </a:lnTo>
                    <a:lnTo>
                      <a:pt x="428" y="95"/>
                    </a:lnTo>
                    <a:lnTo>
                      <a:pt x="430" y="97"/>
                    </a:lnTo>
                    <a:lnTo>
                      <a:pt x="432" y="100"/>
                    </a:lnTo>
                    <a:lnTo>
                      <a:pt x="437" y="100"/>
                    </a:lnTo>
                    <a:lnTo>
                      <a:pt x="437" y="100"/>
                    </a:lnTo>
                    <a:lnTo>
                      <a:pt x="439" y="100"/>
                    </a:lnTo>
                    <a:lnTo>
                      <a:pt x="443" y="99"/>
                    </a:lnTo>
                    <a:lnTo>
                      <a:pt x="450" y="94"/>
                    </a:lnTo>
                    <a:lnTo>
                      <a:pt x="457" y="91"/>
                    </a:lnTo>
                    <a:lnTo>
                      <a:pt x="459" y="89"/>
                    </a:lnTo>
                    <a:lnTo>
                      <a:pt x="462" y="88"/>
                    </a:lnTo>
                    <a:lnTo>
                      <a:pt x="462" y="88"/>
                    </a:lnTo>
                    <a:lnTo>
                      <a:pt x="466" y="99"/>
                    </a:lnTo>
                    <a:lnTo>
                      <a:pt x="470" y="107"/>
                    </a:lnTo>
                    <a:lnTo>
                      <a:pt x="474" y="110"/>
                    </a:lnTo>
                    <a:lnTo>
                      <a:pt x="477" y="112"/>
                    </a:lnTo>
                    <a:lnTo>
                      <a:pt x="481" y="114"/>
                    </a:lnTo>
                    <a:lnTo>
                      <a:pt x="484" y="115"/>
                    </a:lnTo>
                    <a:lnTo>
                      <a:pt x="484" y="115"/>
                    </a:lnTo>
                    <a:lnTo>
                      <a:pt x="487" y="114"/>
                    </a:lnTo>
                    <a:lnTo>
                      <a:pt x="489" y="112"/>
                    </a:lnTo>
                    <a:lnTo>
                      <a:pt x="493" y="109"/>
                    </a:lnTo>
                    <a:lnTo>
                      <a:pt x="498" y="106"/>
                    </a:lnTo>
                    <a:lnTo>
                      <a:pt x="500" y="104"/>
                    </a:lnTo>
                    <a:lnTo>
                      <a:pt x="503" y="103"/>
                    </a:lnTo>
                    <a:lnTo>
                      <a:pt x="503" y="103"/>
                    </a:lnTo>
                    <a:lnTo>
                      <a:pt x="510" y="104"/>
                    </a:lnTo>
                    <a:lnTo>
                      <a:pt x="516" y="108"/>
                    </a:lnTo>
                    <a:lnTo>
                      <a:pt x="530" y="118"/>
                    </a:lnTo>
                    <a:lnTo>
                      <a:pt x="537" y="124"/>
                    </a:lnTo>
                    <a:lnTo>
                      <a:pt x="546" y="129"/>
                    </a:lnTo>
                    <a:lnTo>
                      <a:pt x="556" y="132"/>
                    </a:lnTo>
                    <a:lnTo>
                      <a:pt x="566" y="133"/>
                    </a:lnTo>
                    <a:lnTo>
                      <a:pt x="566" y="133"/>
                    </a:lnTo>
                    <a:lnTo>
                      <a:pt x="569" y="140"/>
                    </a:lnTo>
                    <a:lnTo>
                      <a:pt x="569" y="140"/>
                    </a:lnTo>
                    <a:lnTo>
                      <a:pt x="569" y="140"/>
                    </a:lnTo>
                    <a:lnTo>
                      <a:pt x="569" y="148"/>
                    </a:lnTo>
                    <a:lnTo>
                      <a:pt x="572" y="154"/>
                    </a:lnTo>
                    <a:lnTo>
                      <a:pt x="575" y="157"/>
                    </a:lnTo>
                    <a:lnTo>
                      <a:pt x="577" y="158"/>
                    </a:lnTo>
                    <a:lnTo>
                      <a:pt x="580" y="158"/>
                    </a:lnTo>
                    <a:lnTo>
                      <a:pt x="580" y="158"/>
                    </a:lnTo>
                    <a:lnTo>
                      <a:pt x="587" y="158"/>
                    </a:lnTo>
                    <a:lnTo>
                      <a:pt x="592" y="156"/>
                    </a:lnTo>
                    <a:lnTo>
                      <a:pt x="597" y="153"/>
                    </a:lnTo>
                    <a:lnTo>
                      <a:pt x="602" y="149"/>
                    </a:lnTo>
                    <a:lnTo>
                      <a:pt x="610" y="144"/>
                    </a:lnTo>
                    <a:lnTo>
                      <a:pt x="614" y="141"/>
                    </a:lnTo>
                    <a:lnTo>
                      <a:pt x="620" y="140"/>
                    </a:lnTo>
                    <a:lnTo>
                      <a:pt x="620" y="140"/>
                    </a:lnTo>
                    <a:lnTo>
                      <a:pt x="625" y="141"/>
                    </a:lnTo>
                    <a:lnTo>
                      <a:pt x="628" y="142"/>
                    </a:lnTo>
                    <a:lnTo>
                      <a:pt x="632" y="145"/>
                    </a:lnTo>
                    <a:lnTo>
                      <a:pt x="634" y="147"/>
                    </a:lnTo>
                    <a:lnTo>
                      <a:pt x="636" y="154"/>
                    </a:lnTo>
                    <a:lnTo>
                      <a:pt x="637" y="163"/>
                    </a:lnTo>
                    <a:lnTo>
                      <a:pt x="637" y="183"/>
                    </a:lnTo>
                    <a:lnTo>
                      <a:pt x="638" y="192"/>
                    </a:lnTo>
                    <a:lnTo>
                      <a:pt x="638" y="200"/>
                    </a:lnTo>
                    <a:lnTo>
                      <a:pt x="638" y="200"/>
                    </a:lnTo>
                    <a:lnTo>
                      <a:pt x="640" y="205"/>
                    </a:lnTo>
                    <a:lnTo>
                      <a:pt x="641" y="209"/>
                    </a:lnTo>
                    <a:lnTo>
                      <a:pt x="643" y="213"/>
                    </a:lnTo>
                    <a:lnTo>
                      <a:pt x="645" y="214"/>
                    </a:lnTo>
                    <a:lnTo>
                      <a:pt x="645" y="214"/>
                    </a:lnTo>
                    <a:lnTo>
                      <a:pt x="641" y="218"/>
                    </a:lnTo>
                    <a:lnTo>
                      <a:pt x="635" y="222"/>
                    </a:lnTo>
                    <a:lnTo>
                      <a:pt x="632" y="224"/>
                    </a:lnTo>
                    <a:lnTo>
                      <a:pt x="628" y="225"/>
                    </a:lnTo>
                    <a:lnTo>
                      <a:pt x="628" y="225"/>
                    </a:lnTo>
                    <a:lnTo>
                      <a:pt x="598" y="225"/>
                    </a:lnTo>
                    <a:lnTo>
                      <a:pt x="598" y="225"/>
                    </a:lnTo>
                    <a:lnTo>
                      <a:pt x="598" y="234"/>
                    </a:lnTo>
                    <a:lnTo>
                      <a:pt x="597" y="241"/>
                    </a:lnTo>
                    <a:lnTo>
                      <a:pt x="595" y="248"/>
                    </a:lnTo>
                    <a:lnTo>
                      <a:pt x="592" y="254"/>
                    </a:lnTo>
                    <a:lnTo>
                      <a:pt x="587" y="262"/>
                    </a:lnTo>
                    <a:lnTo>
                      <a:pt x="580" y="269"/>
                    </a:lnTo>
                    <a:lnTo>
                      <a:pt x="573" y="275"/>
                    </a:lnTo>
                    <a:lnTo>
                      <a:pt x="567" y="282"/>
                    </a:lnTo>
                    <a:lnTo>
                      <a:pt x="565" y="286"/>
                    </a:lnTo>
                    <a:lnTo>
                      <a:pt x="564" y="291"/>
                    </a:lnTo>
                    <a:lnTo>
                      <a:pt x="562" y="295"/>
                    </a:lnTo>
                    <a:lnTo>
                      <a:pt x="561" y="302"/>
                    </a:lnTo>
                    <a:lnTo>
                      <a:pt x="561" y="302"/>
                    </a:lnTo>
                    <a:lnTo>
                      <a:pt x="562" y="308"/>
                    </a:lnTo>
                    <a:lnTo>
                      <a:pt x="564" y="314"/>
                    </a:lnTo>
                    <a:lnTo>
                      <a:pt x="566" y="318"/>
                    </a:lnTo>
                    <a:lnTo>
                      <a:pt x="569" y="322"/>
                    </a:lnTo>
                    <a:lnTo>
                      <a:pt x="573" y="324"/>
                    </a:lnTo>
                    <a:lnTo>
                      <a:pt x="577" y="326"/>
                    </a:lnTo>
                    <a:lnTo>
                      <a:pt x="582" y="328"/>
                    </a:lnTo>
                    <a:lnTo>
                      <a:pt x="587" y="328"/>
                    </a:lnTo>
                    <a:lnTo>
                      <a:pt x="587" y="328"/>
                    </a:lnTo>
                    <a:lnTo>
                      <a:pt x="587" y="346"/>
                    </a:lnTo>
                    <a:lnTo>
                      <a:pt x="587" y="346"/>
                    </a:lnTo>
                    <a:lnTo>
                      <a:pt x="587" y="354"/>
                    </a:lnTo>
                    <a:lnTo>
                      <a:pt x="584" y="361"/>
                    </a:lnTo>
                    <a:lnTo>
                      <a:pt x="581" y="368"/>
                    </a:lnTo>
                    <a:lnTo>
                      <a:pt x="576" y="374"/>
                    </a:lnTo>
                    <a:lnTo>
                      <a:pt x="572" y="378"/>
                    </a:lnTo>
                    <a:lnTo>
                      <a:pt x="566" y="383"/>
                    </a:lnTo>
                    <a:lnTo>
                      <a:pt x="552" y="392"/>
                    </a:lnTo>
                    <a:lnTo>
                      <a:pt x="538" y="402"/>
                    </a:lnTo>
                    <a:lnTo>
                      <a:pt x="526" y="413"/>
                    </a:lnTo>
                    <a:lnTo>
                      <a:pt x="520" y="419"/>
                    </a:lnTo>
                    <a:lnTo>
                      <a:pt x="514" y="425"/>
                    </a:lnTo>
                    <a:lnTo>
                      <a:pt x="510" y="434"/>
                    </a:lnTo>
                    <a:lnTo>
                      <a:pt x="506" y="442"/>
                    </a:lnTo>
                    <a:lnTo>
                      <a:pt x="506" y="442"/>
                    </a:lnTo>
                    <a:lnTo>
                      <a:pt x="498" y="423"/>
                    </a:lnTo>
                    <a:lnTo>
                      <a:pt x="493" y="414"/>
                    </a:lnTo>
                    <a:lnTo>
                      <a:pt x="488" y="407"/>
                    </a:lnTo>
                    <a:lnTo>
                      <a:pt x="481" y="400"/>
                    </a:lnTo>
                    <a:lnTo>
                      <a:pt x="473" y="394"/>
                    </a:lnTo>
                    <a:lnTo>
                      <a:pt x="461" y="392"/>
                    </a:lnTo>
                    <a:lnTo>
                      <a:pt x="447" y="391"/>
                    </a:lnTo>
                    <a:lnTo>
                      <a:pt x="447" y="391"/>
                    </a:lnTo>
                    <a:lnTo>
                      <a:pt x="443" y="391"/>
                    </a:lnTo>
                    <a:lnTo>
                      <a:pt x="437" y="393"/>
                    </a:lnTo>
                    <a:lnTo>
                      <a:pt x="428" y="398"/>
                    </a:lnTo>
                    <a:lnTo>
                      <a:pt x="419" y="402"/>
                    </a:lnTo>
                    <a:lnTo>
                      <a:pt x="415" y="405"/>
                    </a:lnTo>
                    <a:lnTo>
                      <a:pt x="411" y="405"/>
                    </a:lnTo>
                    <a:lnTo>
                      <a:pt x="411" y="405"/>
                    </a:lnTo>
                    <a:lnTo>
                      <a:pt x="406" y="405"/>
                    </a:lnTo>
                    <a:lnTo>
                      <a:pt x="403" y="402"/>
                    </a:lnTo>
                    <a:lnTo>
                      <a:pt x="399" y="400"/>
                    </a:lnTo>
                    <a:lnTo>
                      <a:pt x="397" y="397"/>
                    </a:lnTo>
                    <a:lnTo>
                      <a:pt x="392" y="390"/>
                    </a:lnTo>
                    <a:lnTo>
                      <a:pt x="389" y="386"/>
                    </a:lnTo>
                    <a:lnTo>
                      <a:pt x="385" y="383"/>
                    </a:lnTo>
                    <a:lnTo>
                      <a:pt x="385" y="383"/>
                    </a:lnTo>
                    <a:lnTo>
                      <a:pt x="378" y="379"/>
                    </a:lnTo>
                    <a:lnTo>
                      <a:pt x="371" y="377"/>
                    </a:lnTo>
                    <a:lnTo>
                      <a:pt x="360" y="374"/>
                    </a:lnTo>
                    <a:lnTo>
                      <a:pt x="350" y="373"/>
                    </a:lnTo>
                    <a:lnTo>
                      <a:pt x="340" y="370"/>
                    </a:lnTo>
                    <a:lnTo>
                      <a:pt x="337" y="369"/>
                    </a:lnTo>
                    <a:lnTo>
                      <a:pt x="333" y="367"/>
                    </a:lnTo>
                    <a:lnTo>
                      <a:pt x="330" y="364"/>
                    </a:lnTo>
                    <a:lnTo>
                      <a:pt x="327" y="360"/>
                    </a:lnTo>
                    <a:lnTo>
                      <a:pt x="324" y="354"/>
                    </a:lnTo>
                    <a:lnTo>
                      <a:pt x="321" y="347"/>
                    </a:lnTo>
                    <a:lnTo>
                      <a:pt x="315" y="328"/>
                    </a:lnTo>
                    <a:lnTo>
                      <a:pt x="315" y="328"/>
                    </a:lnTo>
                    <a:lnTo>
                      <a:pt x="310" y="330"/>
                    </a:lnTo>
                    <a:lnTo>
                      <a:pt x="306" y="333"/>
                    </a:lnTo>
                    <a:lnTo>
                      <a:pt x="299" y="340"/>
                    </a:lnTo>
                    <a:lnTo>
                      <a:pt x="293" y="347"/>
                    </a:lnTo>
                    <a:lnTo>
                      <a:pt x="290" y="350"/>
                    </a:lnTo>
                    <a:lnTo>
                      <a:pt x="286" y="350"/>
                    </a:lnTo>
                    <a:lnTo>
                      <a:pt x="286" y="350"/>
                    </a:lnTo>
                    <a:lnTo>
                      <a:pt x="253" y="350"/>
                    </a:lnTo>
                    <a:lnTo>
                      <a:pt x="253" y="350"/>
                    </a:lnTo>
                    <a:lnTo>
                      <a:pt x="244" y="350"/>
                    </a:lnTo>
                    <a:lnTo>
                      <a:pt x="236" y="346"/>
                    </a:lnTo>
                    <a:lnTo>
                      <a:pt x="229" y="343"/>
                    </a:lnTo>
                    <a:lnTo>
                      <a:pt x="224" y="338"/>
                    </a:lnTo>
                    <a:lnTo>
                      <a:pt x="218" y="332"/>
                    </a:lnTo>
                    <a:lnTo>
                      <a:pt x="215" y="325"/>
                    </a:lnTo>
                    <a:lnTo>
                      <a:pt x="208" y="312"/>
                    </a:lnTo>
                    <a:lnTo>
                      <a:pt x="200" y="298"/>
                    </a:lnTo>
                    <a:lnTo>
                      <a:pt x="195" y="291"/>
                    </a:lnTo>
                    <a:lnTo>
                      <a:pt x="191" y="285"/>
                    </a:lnTo>
                    <a:lnTo>
                      <a:pt x="185" y="280"/>
                    </a:lnTo>
                    <a:lnTo>
                      <a:pt x="177" y="276"/>
                    </a:lnTo>
                    <a:lnTo>
                      <a:pt x="168" y="274"/>
                    </a:lnTo>
                    <a:lnTo>
                      <a:pt x="157" y="272"/>
                    </a:lnTo>
                    <a:lnTo>
                      <a:pt x="157" y="272"/>
                    </a:lnTo>
                    <a:lnTo>
                      <a:pt x="128" y="272"/>
                    </a:lnTo>
                    <a:lnTo>
                      <a:pt x="128" y="272"/>
                    </a:lnTo>
                    <a:lnTo>
                      <a:pt x="122" y="272"/>
                    </a:lnTo>
                    <a:lnTo>
                      <a:pt x="116" y="271"/>
                    </a:lnTo>
                    <a:lnTo>
                      <a:pt x="104" y="267"/>
                    </a:lnTo>
                    <a:lnTo>
                      <a:pt x="93" y="261"/>
                    </a:lnTo>
                    <a:lnTo>
                      <a:pt x="81" y="252"/>
                    </a:lnTo>
                    <a:lnTo>
                      <a:pt x="70" y="242"/>
                    </a:lnTo>
                    <a:lnTo>
                      <a:pt x="60" y="231"/>
                    </a:lnTo>
                    <a:lnTo>
                      <a:pt x="50" y="219"/>
                    </a:lnTo>
                    <a:lnTo>
                      <a:pt x="40" y="207"/>
                    </a:lnTo>
                    <a:lnTo>
                      <a:pt x="24" y="183"/>
                    </a:lnTo>
                    <a:lnTo>
                      <a:pt x="11" y="161"/>
                    </a:lnTo>
                    <a:lnTo>
                      <a:pt x="0" y="140"/>
                    </a:lnTo>
                    <a:lnTo>
                      <a:pt x="0" y="140"/>
                    </a:lnTo>
                    <a:lnTo>
                      <a:pt x="0" y="14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2" name="Freeform 67"/>
              <p:cNvSpPr>
                <a:spLocks noChangeAspect="1"/>
              </p:cNvSpPr>
              <p:nvPr/>
            </p:nvSpPr>
            <p:spPr bwMode="auto">
              <a:xfrm>
                <a:off x="812432" y="3419774"/>
                <a:ext cx="348724" cy="244918"/>
              </a:xfrm>
              <a:custGeom>
                <a:avLst/>
                <a:gdLst/>
                <a:ahLst/>
                <a:cxnLst>
                  <a:cxn ang="0">
                    <a:pos x="199" y="17"/>
                  </a:cxn>
                  <a:cxn ang="0">
                    <a:pos x="186" y="2"/>
                  </a:cxn>
                  <a:cxn ang="0">
                    <a:pos x="181" y="0"/>
                  </a:cxn>
                  <a:cxn ang="0">
                    <a:pos x="172" y="4"/>
                  </a:cxn>
                  <a:cxn ang="0">
                    <a:pos x="162" y="10"/>
                  </a:cxn>
                  <a:cxn ang="0">
                    <a:pos x="156" y="21"/>
                  </a:cxn>
                  <a:cxn ang="0">
                    <a:pos x="137" y="31"/>
                  </a:cxn>
                  <a:cxn ang="0">
                    <a:pos x="121" y="39"/>
                  </a:cxn>
                  <a:cxn ang="0">
                    <a:pos x="107" y="60"/>
                  </a:cxn>
                  <a:cxn ang="0">
                    <a:pos x="92" y="82"/>
                  </a:cxn>
                  <a:cxn ang="0">
                    <a:pos x="75" y="90"/>
                  </a:cxn>
                  <a:cxn ang="0">
                    <a:pos x="55" y="91"/>
                  </a:cxn>
                  <a:cxn ang="0">
                    <a:pos x="36" y="163"/>
                  </a:cxn>
                  <a:cxn ang="0">
                    <a:pos x="29" y="194"/>
                  </a:cxn>
                  <a:cxn ang="0">
                    <a:pos x="35" y="217"/>
                  </a:cxn>
                  <a:cxn ang="0">
                    <a:pos x="34" y="235"/>
                  </a:cxn>
                  <a:cxn ang="0">
                    <a:pos x="27" y="240"/>
                  </a:cxn>
                  <a:cxn ang="0">
                    <a:pos x="7" y="241"/>
                  </a:cxn>
                  <a:cxn ang="0">
                    <a:pos x="0" y="246"/>
                  </a:cxn>
                  <a:cxn ang="0">
                    <a:pos x="9" y="263"/>
                  </a:cxn>
                  <a:cxn ang="0">
                    <a:pos x="26" y="283"/>
                  </a:cxn>
                  <a:cxn ang="0">
                    <a:pos x="30" y="300"/>
                  </a:cxn>
                  <a:cxn ang="0">
                    <a:pos x="26" y="315"/>
                  </a:cxn>
                  <a:cxn ang="0">
                    <a:pos x="22" y="330"/>
                  </a:cxn>
                  <a:cxn ang="0">
                    <a:pos x="29" y="345"/>
                  </a:cxn>
                  <a:cxn ang="0">
                    <a:pos x="46" y="348"/>
                  </a:cxn>
                  <a:cxn ang="0">
                    <a:pos x="70" y="347"/>
                  </a:cxn>
                  <a:cxn ang="0">
                    <a:pos x="105" y="340"/>
                  </a:cxn>
                  <a:cxn ang="0">
                    <a:pos x="182" y="306"/>
                  </a:cxn>
                  <a:cxn ang="0">
                    <a:pos x="213" y="293"/>
                  </a:cxn>
                  <a:cxn ang="0">
                    <a:pos x="234" y="331"/>
                  </a:cxn>
                  <a:cxn ang="0">
                    <a:pos x="243" y="340"/>
                  </a:cxn>
                  <a:cxn ang="0">
                    <a:pos x="257" y="330"/>
                  </a:cxn>
                  <a:cxn ang="0">
                    <a:pos x="267" y="337"/>
                  </a:cxn>
                  <a:cxn ang="0">
                    <a:pos x="283" y="352"/>
                  </a:cxn>
                  <a:cxn ang="0">
                    <a:pos x="293" y="352"/>
                  </a:cxn>
                  <a:cxn ang="0">
                    <a:pos x="302" y="344"/>
                  </a:cxn>
                  <a:cxn ang="0">
                    <a:pos x="312" y="334"/>
                  </a:cxn>
                  <a:cxn ang="0">
                    <a:pos x="340" y="327"/>
                  </a:cxn>
                  <a:cxn ang="0">
                    <a:pos x="367" y="312"/>
                  </a:cxn>
                  <a:cxn ang="0">
                    <a:pos x="388" y="292"/>
                  </a:cxn>
                  <a:cxn ang="0">
                    <a:pos x="425" y="243"/>
                  </a:cxn>
                  <a:cxn ang="0">
                    <a:pos x="441" y="223"/>
                  </a:cxn>
                  <a:cxn ang="0">
                    <a:pos x="425" y="212"/>
                  </a:cxn>
                  <a:cxn ang="0">
                    <a:pos x="408" y="182"/>
                  </a:cxn>
                  <a:cxn ang="0">
                    <a:pos x="391" y="160"/>
                  </a:cxn>
                  <a:cxn ang="0">
                    <a:pos x="370" y="151"/>
                  </a:cxn>
                  <a:cxn ang="0">
                    <a:pos x="331" y="149"/>
                  </a:cxn>
                  <a:cxn ang="0">
                    <a:pos x="309" y="145"/>
                  </a:cxn>
                  <a:cxn ang="0">
                    <a:pos x="280" y="124"/>
                  </a:cxn>
                  <a:cxn ang="0">
                    <a:pos x="255" y="92"/>
                  </a:cxn>
                  <a:cxn ang="0">
                    <a:pos x="210" y="25"/>
                  </a:cxn>
                  <a:cxn ang="0">
                    <a:pos x="195" y="10"/>
                  </a:cxn>
                </a:cxnLst>
                <a:rect l="0" t="0" r="r" b="b"/>
                <a:pathLst>
                  <a:path w="441" h="352">
                    <a:moveTo>
                      <a:pt x="203" y="17"/>
                    </a:moveTo>
                    <a:lnTo>
                      <a:pt x="203" y="17"/>
                    </a:lnTo>
                    <a:lnTo>
                      <a:pt x="199" y="17"/>
                    </a:lnTo>
                    <a:lnTo>
                      <a:pt x="196" y="15"/>
                    </a:lnTo>
                    <a:lnTo>
                      <a:pt x="190" y="8"/>
                    </a:lnTo>
                    <a:lnTo>
                      <a:pt x="186" y="2"/>
                    </a:lnTo>
                    <a:lnTo>
                      <a:pt x="183" y="0"/>
                    </a:lnTo>
                    <a:lnTo>
                      <a:pt x="181" y="0"/>
                    </a:lnTo>
                    <a:lnTo>
                      <a:pt x="181" y="0"/>
                    </a:lnTo>
                    <a:lnTo>
                      <a:pt x="177" y="0"/>
                    </a:lnTo>
                    <a:lnTo>
                      <a:pt x="175" y="1"/>
                    </a:lnTo>
                    <a:lnTo>
                      <a:pt x="172" y="4"/>
                    </a:lnTo>
                    <a:lnTo>
                      <a:pt x="167" y="8"/>
                    </a:lnTo>
                    <a:lnTo>
                      <a:pt x="165" y="9"/>
                    </a:lnTo>
                    <a:lnTo>
                      <a:pt x="162" y="10"/>
                    </a:lnTo>
                    <a:lnTo>
                      <a:pt x="162" y="10"/>
                    </a:lnTo>
                    <a:lnTo>
                      <a:pt x="159" y="16"/>
                    </a:lnTo>
                    <a:lnTo>
                      <a:pt x="156" y="21"/>
                    </a:lnTo>
                    <a:lnTo>
                      <a:pt x="152" y="24"/>
                    </a:lnTo>
                    <a:lnTo>
                      <a:pt x="148" y="27"/>
                    </a:lnTo>
                    <a:lnTo>
                      <a:pt x="137" y="31"/>
                    </a:lnTo>
                    <a:lnTo>
                      <a:pt x="125" y="35"/>
                    </a:lnTo>
                    <a:lnTo>
                      <a:pt x="125" y="35"/>
                    </a:lnTo>
                    <a:lnTo>
                      <a:pt x="121" y="39"/>
                    </a:lnTo>
                    <a:lnTo>
                      <a:pt x="118" y="42"/>
                    </a:lnTo>
                    <a:lnTo>
                      <a:pt x="112" y="50"/>
                    </a:lnTo>
                    <a:lnTo>
                      <a:pt x="107" y="60"/>
                    </a:lnTo>
                    <a:lnTo>
                      <a:pt x="103" y="69"/>
                    </a:lnTo>
                    <a:lnTo>
                      <a:pt x="97" y="77"/>
                    </a:lnTo>
                    <a:lnTo>
                      <a:pt x="92" y="82"/>
                    </a:lnTo>
                    <a:lnTo>
                      <a:pt x="88" y="85"/>
                    </a:lnTo>
                    <a:lnTo>
                      <a:pt x="82" y="87"/>
                    </a:lnTo>
                    <a:lnTo>
                      <a:pt x="75" y="90"/>
                    </a:lnTo>
                    <a:lnTo>
                      <a:pt x="66" y="91"/>
                    </a:lnTo>
                    <a:lnTo>
                      <a:pt x="55" y="91"/>
                    </a:lnTo>
                    <a:lnTo>
                      <a:pt x="55" y="91"/>
                    </a:lnTo>
                    <a:lnTo>
                      <a:pt x="50" y="118"/>
                    </a:lnTo>
                    <a:lnTo>
                      <a:pt x="43" y="141"/>
                    </a:lnTo>
                    <a:lnTo>
                      <a:pt x="36" y="163"/>
                    </a:lnTo>
                    <a:lnTo>
                      <a:pt x="30" y="186"/>
                    </a:lnTo>
                    <a:lnTo>
                      <a:pt x="30" y="186"/>
                    </a:lnTo>
                    <a:lnTo>
                      <a:pt x="29" y="194"/>
                    </a:lnTo>
                    <a:lnTo>
                      <a:pt x="30" y="200"/>
                    </a:lnTo>
                    <a:lnTo>
                      <a:pt x="34" y="212"/>
                    </a:lnTo>
                    <a:lnTo>
                      <a:pt x="35" y="217"/>
                    </a:lnTo>
                    <a:lnTo>
                      <a:pt x="36" y="222"/>
                    </a:lnTo>
                    <a:lnTo>
                      <a:pt x="35" y="228"/>
                    </a:lnTo>
                    <a:lnTo>
                      <a:pt x="34" y="235"/>
                    </a:lnTo>
                    <a:lnTo>
                      <a:pt x="34" y="235"/>
                    </a:lnTo>
                    <a:lnTo>
                      <a:pt x="30" y="238"/>
                    </a:lnTo>
                    <a:lnTo>
                      <a:pt x="27" y="240"/>
                    </a:lnTo>
                    <a:lnTo>
                      <a:pt x="22" y="241"/>
                    </a:lnTo>
                    <a:lnTo>
                      <a:pt x="16" y="241"/>
                    </a:lnTo>
                    <a:lnTo>
                      <a:pt x="7" y="241"/>
                    </a:lnTo>
                    <a:lnTo>
                      <a:pt x="0" y="241"/>
                    </a:lnTo>
                    <a:lnTo>
                      <a:pt x="0" y="241"/>
                    </a:lnTo>
                    <a:lnTo>
                      <a:pt x="0" y="246"/>
                    </a:lnTo>
                    <a:lnTo>
                      <a:pt x="1" y="251"/>
                    </a:lnTo>
                    <a:lnTo>
                      <a:pt x="5" y="258"/>
                    </a:lnTo>
                    <a:lnTo>
                      <a:pt x="9" y="263"/>
                    </a:lnTo>
                    <a:lnTo>
                      <a:pt x="15" y="269"/>
                    </a:lnTo>
                    <a:lnTo>
                      <a:pt x="21" y="276"/>
                    </a:lnTo>
                    <a:lnTo>
                      <a:pt x="26" y="283"/>
                    </a:lnTo>
                    <a:lnTo>
                      <a:pt x="29" y="291"/>
                    </a:lnTo>
                    <a:lnTo>
                      <a:pt x="29" y="296"/>
                    </a:lnTo>
                    <a:lnTo>
                      <a:pt x="30" y="300"/>
                    </a:lnTo>
                    <a:lnTo>
                      <a:pt x="30" y="300"/>
                    </a:lnTo>
                    <a:lnTo>
                      <a:pt x="29" y="308"/>
                    </a:lnTo>
                    <a:lnTo>
                      <a:pt x="26" y="315"/>
                    </a:lnTo>
                    <a:lnTo>
                      <a:pt x="23" y="322"/>
                    </a:lnTo>
                    <a:lnTo>
                      <a:pt x="22" y="330"/>
                    </a:lnTo>
                    <a:lnTo>
                      <a:pt x="22" y="330"/>
                    </a:lnTo>
                    <a:lnTo>
                      <a:pt x="23" y="337"/>
                    </a:lnTo>
                    <a:lnTo>
                      <a:pt x="26" y="342"/>
                    </a:lnTo>
                    <a:lnTo>
                      <a:pt x="29" y="345"/>
                    </a:lnTo>
                    <a:lnTo>
                      <a:pt x="34" y="347"/>
                    </a:lnTo>
                    <a:lnTo>
                      <a:pt x="39" y="348"/>
                    </a:lnTo>
                    <a:lnTo>
                      <a:pt x="46" y="348"/>
                    </a:lnTo>
                    <a:lnTo>
                      <a:pt x="59" y="348"/>
                    </a:lnTo>
                    <a:lnTo>
                      <a:pt x="59" y="348"/>
                    </a:lnTo>
                    <a:lnTo>
                      <a:pt x="70" y="347"/>
                    </a:lnTo>
                    <a:lnTo>
                      <a:pt x="82" y="346"/>
                    </a:lnTo>
                    <a:lnTo>
                      <a:pt x="93" y="344"/>
                    </a:lnTo>
                    <a:lnTo>
                      <a:pt x="105" y="340"/>
                    </a:lnTo>
                    <a:lnTo>
                      <a:pt x="126" y="334"/>
                    </a:lnTo>
                    <a:lnTo>
                      <a:pt x="146" y="324"/>
                    </a:lnTo>
                    <a:lnTo>
                      <a:pt x="182" y="306"/>
                    </a:lnTo>
                    <a:lnTo>
                      <a:pt x="198" y="299"/>
                    </a:lnTo>
                    <a:lnTo>
                      <a:pt x="213" y="293"/>
                    </a:lnTo>
                    <a:lnTo>
                      <a:pt x="213" y="293"/>
                    </a:lnTo>
                    <a:lnTo>
                      <a:pt x="220" y="307"/>
                    </a:lnTo>
                    <a:lnTo>
                      <a:pt x="227" y="320"/>
                    </a:lnTo>
                    <a:lnTo>
                      <a:pt x="234" y="331"/>
                    </a:lnTo>
                    <a:lnTo>
                      <a:pt x="237" y="337"/>
                    </a:lnTo>
                    <a:lnTo>
                      <a:pt x="243" y="340"/>
                    </a:lnTo>
                    <a:lnTo>
                      <a:pt x="243" y="340"/>
                    </a:lnTo>
                    <a:lnTo>
                      <a:pt x="248" y="338"/>
                    </a:lnTo>
                    <a:lnTo>
                      <a:pt x="251" y="336"/>
                    </a:lnTo>
                    <a:lnTo>
                      <a:pt x="257" y="330"/>
                    </a:lnTo>
                    <a:lnTo>
                      <a:pt x="257" y="330"/>
                    </a:lnTo>
                    <a:lnTo>
                      <a:pt x="263" y="332"/>
                    </a:lnTo>
                    <a:lnTo>
                      <a:pt x="267" y="337"/>
                    </a:lnTo>
                    <a:lnTo>
                      <a:pt x="274" y="344"/>
                    </a:lnTo>
                    <a:lnTo>
                      <a:pt x="280" y="350"/>
                    </a:lnTo>
                    <a:lnTo>
                      <a:pt x="283" y="352"/>
                    </a:lnTo>
                    <a:lnTo>
                      <a:pt x="287" y="352"/>
                    </a:lnTo>
                    <a:lnTo>
                      <a:pt x="287" y="352"/>
                    </a:lnTo>
                    <a:lnTo>
                      <a:pt x="293" y="352"/>
                    </a:lnTo>
                    <a:lnTo>
                      <a:pt x="297" y="350"/>
                    </a:lnTo>
                    <a:lnTo>
                      <a:pt x="299" y="347"/>
                    </a:lnTo>
                    <a:lnTo>
                      <a:pt x="302" y="344"/>
                    </a:lnTo>
                    <a:lnTo>
                      <a:pt x="305" y="338"/>
                    </a:lnTo>
                    <a:lnTo>
                      <a:pt x="309" y="336"/>
                    </a:lnTo>
                    <a:lnTo>
                      <a:pt x="312" y="334"/>
                    </a:lnTo>
                    <a:lnTo>
                      <a:pt x="312" y="334"/>
                    </a:lnTo>
                    <a:lnTo>
                      <a:pt x="327" y="330"/>
                    </a:lnTo>
                    <a:lnTo>
                      <a:pt x="340" y="327"/>
                    </a:lnTo>
                    <a:lnTo>
                      <a:pt x="350" y="322"/>
                    </a:lnTo>
                    <a:lnTo>
                      <a:pt x="359" y="317"/>
                    </a:lnTo>
                    <a:lnTo>
                      <a:pt x="367" y="312"/>
                    </a:lnTo>
                    <a:lnTo>
                      <a:pt x="375" y="306"/>
                    </a:lnTo>
                    <a:lnTo>
                      <a:pt x="382" y="299"/>
                    </a:lnTo>
                    <a:lnTo>
                      <a:pt x="388" y="292"/>
                    </a:lnTo>
                    <a:lnTo>
                      <a:pt x="400" y="277"/>
                    </a:lnTo>
                    <a:lnTo>
                      <a:pt x="411" y="260"/>
                    </a:lnTo>
                    <a:lnTo>
                      <a:pt x="425" y="243"/>
                    </a:lnTo>
                    <a:lnTo>
                      <a:pt x="433" y="233"/>
                    </a:lnTo>
                    <a:lnTo>
                      <a:pt x="441" y="223"/>
                    </a:lnTo>
                    <a:lnTo>
                      <a:pt x="441" y="223"/>
                    </a:lnTo>
                    <a:lnTo>
                      <a:pt x="435" y="220"/>
                    </a:lnTo>
                    <a:lnTo>
                      <a:pt x="429" y="216"/>
                    </a:lnTo>
                    <a:lnTo>
                      <a:pt x="425" y="212"/>
                    </a:lnTo>
                    <a:lnTo>
                      <a:pt x="421" y="206"/>
                    </a:lnTo>
                    <a:lnTo>
                      <a:pt x="415" y="193"/>
                    </a:lnTo>
                    <a:lnTo>
                      <a:pt x="408" y="182"/>
                    </a:lnTo>
                    <a:lnTo>
                      <a:pt x="401" y="169"/>
                    </a:lnTo>
                    <a:lnTo>
                      <a:pt x="396" y="164"/>
                    </a:lnTo>
                    <a:lnTo>
                      <a:pt x="391" y="160"/>
                    </a:lnTo>
                    <a:lnTo>
                      <a:pt x="385" y="155"/>
                    </a:lnTo>
                    <a:lnTo>
                      <a:pt x="378" y="153"/>
                    </a:lnTo>
                    <a:lnTo>
                      <a:pt x="370" y="151"/>
                    </a:lnTo>
                    <a:lnTo>
                      <a:pt x="360" y="149"/>
                    </a:lnTo>
                    <a:lnTo>
                      <a:pt x="360" y="149"/>
                    </a:lnTo>
                    <a:lnTo>
                      <a:pt x="331" y="149"/>
                    </a:lnTo>
                    <a:lnTo>
                      <a:pt x="331" y="149"/>
                    </a:lnTo>
                    <a:lnTo>
                      <a:pt x="319" y="148"/>
                    </a:lnTo>
                    <a:lnTo>
                      <a:pt x="309" y="145"/>
                    </a:lnTo>
                    <a:lnTo>
                      <a:pt x="298" y="140"/>
                    </a:lnTo>
                    <a:lnTo>
                      <a:pt x="289" y="132"/>
                    </a:lnTo>
                    <a:lnTo>
                      <a:pt x="280" y="124"/>
                    </a:lnTo>
                    <a:lnTo>
                      <a:pt x="271" y="115"/>
                    </a:lnTo>
                    <a:lnTo>
                      <a:pt x="263" y="103"/>
                    </a:lnTo>
                    <a:lnTo>
                      <a:pt x="255" y="92"/>
                    </a:lnTo>
                    <a:lnTo>
                      <a:pt x="240" y="69"/>
                    </a:lnTo>
                    <a:lnTo>
                      <a:pt x="225" y="46"/>
                    </a:lnTo>
                    <a:lnTo>
                      <a:pt x="210" y="25"/>
                    </a:lnTo>
                    <a:lnTo>
                      <a:pt x="203" y="17"/>
                    </a:lnTo>
                    <a:lnTo>
                      <a:pt x="195" y="10"/>
                    </a:lnTo>
                    <a:lnTo>
                      <a:pt x="195" y="10"/>
                    </a:lnTo>
                    <a:lnTo>
                      <a:pt x="203" y="17"/>
                    </a:lnTo>
                    <a:lnTo>
                      <a:pt x="203" y="1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3" name="Freeform 68"/>
              <p:cNvSpPr>
                <a:spLocks noChangeAspect="1"/>
              </p:cNvSpPr>
              <p:nvPr/>
            </p:nvSpPr>
            <p:spPr bwMode="auto">
              <a:xfrm>
                <a:off x="1330762" y="3641035"/>
                <a:ext cx="236181" cy="279708"/>
              </a:xfrm>
              <a:custGeom>
                <a:avLst/>
                <a:gdLst/>
                <a:ahLst/>
                <a:cxnLst>
                  <a:cxn ang="0">
                    <a:pos x="118" y="393"/>
                  </a:cxn>
                  <a:cxn ang="0">
                    <a:pos x="125" y="376"/>
                  </a:cxn>
                  <a:cxn ang="0">
                    <a:pos x="145" y="361"/>
                  </a:cxn>
                  <a:cxn ang="0">
                    <a:pos x="204" y="345"/>
                  </a:cxn>
                  <a:cxn ang="0">
                    <a:pos x="251" y="333"/>
                  </a:cxn>
                  <a:cxn ang="0">
                    <a:pos x="277" y="318"/>
                  </a:cxn>
                  <a:cxn ang="0">
                    <a:pos x="291" y="302"/>
                  </a:cxn>
                  <a:cxn ang="0">
                    <a:pos x="298" y="279"/>
                  </a:cxn>
                  <a:cxn ang="0">
                    <a:pos x="278" y="269"/>
                  </a:cxn>
                  <a:cxn ang="0">
                    <a:pos x="258" y="261"/>
                  </a:cxn>
                  <a:cxn ang="0">
                    <a:pos x="250" y="253"/>
                  </a:cxn>
                  <a:cxn ang="0">
                    <a:pos x="245" y="235"/>
                  </a:cxn>
                  <a:cxn ang="0">
                    <a:pos x="232" y="223"/>
                  </a:cxn>
                  <a:cxn ang="0">
                    <a:pos x="206" y="203"/>
                  </a:cxn>
                  <a:cxn ang="0">
                    <a:pos x="199" y="192"/>
                  </a:cxn>
                  <a:cxn ang="0">
                    <a:pos x="195" y="166"/>
                  </a:cxn>
                  <a:cxn ang="0">
                    <a:pos x="181" y="154"/>
                  </a:cxn>
                  <a:cxn ang="0">
                    <a:pos x="167" y="151"/>
                  </a:cxn>
                  <a:cxn ang="0">
                    <a:pos x="138" y="143"/>
                  </a:cxn>
                  <a:cxn ang="0">
                    <a:pos x="133" y="133"/>
                  </a:cxn>
                  <a:cxn ang="0">
                    <a:pos x="133" y="124"/>
                  </a:cxn>
                  <a:cxn ang="0">
                    <a:pos x="143" y="107"/>
                  </a:cxn>
                  <a:cxn ang="0">
                    <a:pos x="144" y="95"/>
                  </a:cxn>
                  <a:cxn ang="0">
                    <a:pos x="138" y="78"/>
                  </a:cxn>
                  <a:cxn ang="0">
                    <a:pos x="129" y="63"/>
                  </a:cxn>
                  <a:cxn ang="0">
                    <a:pos x="109" y="78"/>
                  </a:cxn>
                  <a:cxn ang="0">
                    <a:pos x="92" y="81"/>
                  </a:cxn>
                  <a:cxn ang="0">
                    <a:pos x="84" y="79"/>
                  </a:cxn>
                  <a:cxn ang="0">
                    <a:pos x="64" y="61"/>
                  </a:cxn>
                  <a:cxn ang="0">
                    <a:pos x="53" y="32"/>
                  </a:cxn>
                  <a:cxn ang="0">
                    <a:pos x="53" y="11"/>
                  </a:cxn>
                  <a:cxn ang="0">
                    <a:pos x="55" y="0"/>
                  </a:cxn>
                  <a:cxn ang="0">
                    <a:pos x="52" y="11"/>
                  </a:cxn>
                  <a:cxn ang="0">
                    <a:pos x="21" y="50"/>
                  </a:cxn>
                  <a:cxn ang="0">
                    <a:pos x="3" y="78"/>
                  </a:cxn>
                  <a:cxn ang="0">
                    <a:pos x="0" y="99"/>
                  </a:cxn>
                  <a:cxn ang="0">
                    <a:pos x="3" y="118"/>
                  </a:cxn>
                  <a:cxn ang="0">
                    <a:pos x="19" y="151"/>
                  </a:cxn>
                  <a:cxn ang="0">
                    <a:pos x="49" y="195"/>
                  </a:cxn>
                  <a:cxn ang="0">
                    <a:pos x="59" y="219"/>
                  </a:cxn>
                  <a:cxn ang="0">
                    <a:pos x="59" y="238"/>
                  </a:cxn>
                  <a:cxn ang="0">
                    <a:pos x="52" y="261"/>
                  </a:cxn>
                  <a:cxn ang="0">
                    <a:pos x="52" y="301"/>
                  </a:cxn>
                  <a:cxn ang="0">
                    <a:pos x="59" y="318"/>
                  </a:cxn>
                  <a:cxn ang="0">
                    <a:pos x="72" y="330"/>
                  </a:cxn>
                  <a:cxn ang="0">
                    <a:pos x="85" y="344"/>
                  </a:cxn>
                  <a:cxn ang="0">
                    <a:pos x="99" y="367"/>
                  </a:cxn>
                  <a:cxn ang="0">
                    <a:pos x="116" y="382"/>
                  </a:cxn>
                  <a:cxn ang="0">
                    <a:pos x="118" y="400"/>
                  </a:cxn>
                </a:cxnLst>
                <a:rect l="0" t="0" r="r" b="b"/>
                <a:pathLst>
                  <a:path w="298" h="400">
                    <a:moveTo>
                      <a:pt x="118" y="400"/>
                    </a:moveTo>
                    <a:lnTo>
                      <a:pt x="118" y="400"/>
                    </a:lnTo>
                    <a:lnTo>
                      <a:pt x="118" y="393"/>
                    </a:lnTo>
                    <a:lnTo>
                      <a:pt x="120" y="386"/>
                    </a:lnTo>
                    <a:lnTo>
                      <a:pt x="122" y="380"/>
                    </a:lnTo>
                    <a:lnTo>
                      <a:pt x="125" y="376"/>
                    </a:lnTo>
                    <a:lnTo>
                      <a:pt x="129" y="371"/>
                    </a:lnTo>
                    <a:lnTo>
                      <a:pt x="133" y="367"/>
                    </a:lnTo>
                    <a:lnTo>
                      <a:pt x="145" y="361"/>
                    </a:lnTo>
                    <a:lnTo>
                      <a:pt x="157" y="355"/>
                    </a:lnTo>
                    <a:lnTo>
                      <a:pt x="171" y="352"/>
                    </a:lnTo>
                    <a:lnTo>
                      <a:pt x="204" y="345"/>
                    </a:lnTo>
                    <a:lnTo>
                      <a:pt x="220" y="342"/>
                    </a:lnTo>
                    <a:lnTo>
                      <a:pt x="236" y="338"/>
                    </a:lnTo>
                    <a:lnTo>
                      <a:pt x="251" y="333"/>
                    </a:lnTo>
                    <a:lnTo>
                      <a:pt x="265" y="326"/>
                    </a:lnTo>
                    <a:lnTo>
                      <a:pt x="271" y="323"/>
                    </a:lnTo>
                    <a:lnTo>
                      <a:pt x="277" y="318"/>
                    </a:lnTo>
                    <a:lnTo>
                      <a:pt x="282" y="314"/>
                    </a:lnTo>
                    <a:lnTo>
                      <a:pt x="286" y="308"/>
                    </a:lnTo>
                    <a:lnTo>
                      <a:pt x="291" y="302"/>
                    </a:lnTo>
                    <a:lnTo>
                      <a:pt x="294" y="295"/>
                    </a:lnTo>
                    <a:lnTo>
                      <a:pt x="297" y="287"/>
                    </a:lnTo>
                    <a:lnTo>
                      <a:pt x="298" y="279"/>
                    </a:lnTo>
                    <a:lnTo>
                      <a:pt x="298" y="279"/>
                    </a:lnTo>
                    <a:lnTo>
                      <a:pt x="289" y="275"/>
                    </a:lnTo>
                    <a:lnTo>
                      <a:pt x="278" y="269"/>
                    </a:lnTo>
                    <a:lnTo>
                      <a:pt x="271" y="265"/>
                    </a:lnTo>
                    <a:lnTo>
                      <a:pt x="266" y="263"/>
                    </a:lnTo>
                    <a:lnTo>
                      <a:pt x="258" y="261"/>
                    </a:lnTo>
                    <a:lnTo>
                      <a:pt x="251" y="261"/>
                    </a:lnTo>
                    <a:lnTo>
                      <a:pt x="251" y="261"/>
                    </a:lnTo>
                    <a:lnTo>
                      <a:pt x="250" y="253"/>
                    </a:lnTo>
                    <a:lnTo>
                      <a:pt x="248" y="246"/>
                    </a:lnTo>
                    <a:lnTo>
                      <a:pt x="247" y="241"/>
                    </a:lnTo>
                    <a:lnTo>
                      <a:pt x="245" y="235"/>
                    </a:lnTo>
                    <a:lnTo>
                      <a:pt x="243" y="232"/>
                    </a:lnTo>
                    <a:lnTo>
                      <a:pt x="239" y="229"/>
                    </a:lnTo>
                    <a:lnTo>
                      <a:pt x="232" y="223"/>
                    </a:lnTo>
                    <a:lnTo>
                      <a:pt x="216" y="212"/>
                    </a:lnTo>
                    <a:lnTo>
                      <a:pt x="209" y="207"/>
                    </a:lnTo>
                    <a:lnTo>
                      <a:pt x="206" y="203"/>
                    </a:lnTo>
                    <a:lnTo>
                      <a:pt x="202" y="199"/>
                    </a:lnTo>
                    <a:lnTo>
                      <a:pt x="202" y="199"/>
                    </a:lnTo>
                    <a:lnTo>
                      <a:pt x="199" y="192"/>
                    </a:lnTo>
                    <a:lnTo>
                      <a:pt x="198" y="185"/>
                    </a:lnTo>
                    <a:lnTo>
                      <a:pt x="197" y="172"/>
                    </a:lnTo>
                    <a:lnTo>
                      <a:pt x="195" y="166"/>
                    </a:lnTo>
                    <a:lnTo>
                      <a:pt x="193" y="162"/>
                    </a:lnTo>
                    <a:lnTo>
                      <a:pt x="189" y="157"/>
                    </a:lnTo>
                    <a:lnTo>
                      <a:pt x="181" y="154"/>
                    </a:lnTo>
                    <a:lnTo>
                      <a:pt x="181" y="154"/>
                    </a:lnTo>
                    <a:lnTo>
                      <a:pt x="174" y="153"/>
                    </a:lnTo>
                    <a:lnTo>
                      <a:pt x="167" y="151"/>
                    </a:lnTo>
                    <a:lnTo>
                      <a:pt x="151" y="149"/>
                    </a:lnTo>
                    <a:lnTo>
                      <a:pt x="144" y="148"/>
                    </a:lnTo>
                    <a:lnTo>
                      <a:pt x="138" y="143"/>
                    </a:lnTo>
                    <a:lnTo>
                      <a:pt x="136" y="141"/>
                    </a:lnTo>
                    <a:lnTo>
                      <a:pt x="134" y="138"/>
                    </a:lnTo>
                    <a:lnTo>
                      <a:pt x="133" y="133"/>
                    </a:lnTo>
                    <a:lnTo>
                      <a:pt x="132" y="128"/>
                    </a:lnTo>
                    <a:lnTo>
                      <a:pt x="132" y="128"/>
                    </a:lnTo>
                    <a:lnTo>
                      <a:pt x="133" y="124"/>
                    </a:lnTo>
                    <a:lnTo>
                      <a:pt x="134" y="119"/>
                    </a:lnTo>
                    <a:lnTo>
                      <a:pt x="138" y="113"/>
                    </a:lnTo>
                    <a:lnTo>
                      <a:pt x="143" y="107"/>
                    </a:lnTo>
                    <a:lnTo>
                      <a:pt x="144" y="102"/>
                    </a:lnTo>
                    <a:lnTo>
                      <a:pt x="144" y="95"/>
                    </a:lnTo>
                    <a:lnTo>
                      <a:pt x="144" y="95"/>
                    </a:lnTo>
                    <a:lnTo>
                      <a:pt x="144" y="90"/>
                    </a:lnTo>
                    <a:lnTo>
                      <a:pt x="141" y="86"/>
                    </a:lnTo>
                    <a:lnTo>
                      <a:pt x="138" y="78"/>
                    </a:lnTo>
                    <a:lnTo>
                      <a:pt x="133" y="70"/>
                    </a:lnTo>
                    <a:lnTo>
                      <a:pt x="129" y="63"/>
                    </a:lnTo>
                    <a:lnTo>
                      <a:pt x="129" y="63"/>
                    </a:lnTo>
                    <a:lnTo>
                      <a:pt x="121" y="70"/>
                    </a:lnTo>
                    <a:lnTo>
                      <a:pt x="114" y="76"/>
                    </a:lnTo>
                    <a:lnTo>
                      <a:pt x="109" y="78"/>
                    </a:lnTo>
                    <a:lnTo>
                      <a:pt x="105" y="79"/>
                    </a:lnTo>
                    <a:lnTo>
                      <a:pt x="99" y="80"/>
                    </a:lnTo>
                    <a:lnTo>
                      <a:pt x="92" y="81"/>
                    </a:lnTo>
                    <a:lnTo>
                      <a:pt x="92" y="81"/>
                    </a:lnTo>
                    <a:lnTo>
                      <a:pt x="88" y="80"/>
                    </a:lnTo>
                    <a:lnTo>
                      <a:pt x="84" y="79"/>
                    </a:lnTo>
                    <a:lnTo>
                      <a:pt x="77" y="76"/>
                    </a:lnTo>
                    <a:lnTo>
                      <a:pt x="70" y="69"/>
                    </a:lnTo>
                    <a:lnTo>
                      <a:pt x="64" y="61"/>
                    </a:lnTo>
                    <a:lnTo>
                      <a:pt x="59" y="52"/>
                    </a:lnTo>
                    <a:lnTo>
                      <a:pt x="55" y="42"/>
                    </a:lnTo>
                    <a:lnTo>
                      <a:pt x="53" y="32"/>
                    </a:lnTo>
                    <a:lnTo>
                      <a:pt x="52" y="21"/>
                    </a:lnTo>
                    <a:lnTo>
                      <a:pt x="52" y="21"/>
                    </a:lnTo>
                    <a:lnTo>
                      <a:pt x="53" y="11"/>
                    </a:lnTo>
                    <a:lnTo>
                      <a:pt x="54" y="4"/>
                    </a:lnTo>
                    <a:lnTo>
                      <a:pt x="55" y="0"/>
                    </a:lnTo>
                    <a:lnTo>
                      <a:pt x="55" y="0"/>
                    </a:lnTo>
                    <a:lnTo>
                      <a:pt x="52" y="11"/>
                    </a:lnTo>
                    <a:lnTo>
                      <a:pt x="52" y="11"/>
                    </a:lnTo>
                    <a:lnTo>
                      <a:pt x="52" y="11"/>
                    </a:lnTo>
                    <a:lnTo>
                      <a:pt x="46" y="23"/>
                    </a:lnTo>
                    <a:lnTo>
                      <a:pt x="38" y="32"/>
                    </a:lnTo>
                    <a:lnTo>
                      <a:pt x="21" y="50"/>
                    </a:lnTo>
                    <a:lnTo>
                      <a:pt x="13" y="61"/>
                    </a:lnTo>
                    <a:lnTo>
                      <a:pt x="7" y="71"/>
                    </a:lnTo>
                    <a:lnTo>
                      <a:pt x="3" y="78"/>
                    </a:lnTo>
                    <a:lnTo>
                      <a:pt x="2" y="84"/>
                    </a:lnTo>
                    <a:lnTo>
                      <a:pt x="1" y="92"/>
                    </a:lnTo>
                    <a:lnTo>
                      <a:pt x="0" y="99"/>
                    </a:lnTo>
                    <a:lnTo>
                      <a:pt x="0" y="99"/>
                    </a:lnTo>
                    <a:lnTo>
                      <a:pt x="1" y="109"/>
                    </a:lnTo>
                    <a:lnTo>
                      <a:pt x="3" y="118"/>
                    </a:lnTo>
                    <a:lnTo>
                      <a:pt x="6" y="127"/>
                    </a:lnTo>
                    <a:lnTo>
                      <a:pt x="9" y="135"/>
                    </a:lnTo>
                    <a:lnTo>
                      <a:pt x="19" y="151"/>
                    </a:lnTo>
                    <a:lnTo>
                      <a:pt x="30" y="166"/>
                    </a:lnTo>
                    <a:lnTo>
                      <a:pt x="40" y="180"/>
                    </a:lnTo>
                    <a:lnTo>
                      <a:pt x="49" y="195"/>
                    </a:lnTo>
                    <a:lnTo>
                      <a:pt x="54" y="203"/>
                    </a:lnTo>
                    <a:lnTo>
                      <a:pt x="56" y="210"/>
                    </a:lnTo>
                    <a:lnTo>
                      <a:pt x="59" y="219"/>
                    </a:lnTo>
                    <a:lnTo>
                      <a:pt x="59" y="227"/>
                    </a:lnTo>
                    <a:lnTo>
                      <a:pt x="59" y="227"/>
                    </a:lnTo>
                    <a:lnTo>
                      <a:pt x="59" y="238"/>
                    </a:lnTo>
                    <a:lnTo>
                      <a:pt x="57" y="247"/>
                    </a:lnTo>
                    <a:lnTo>
                      <a:pt x="55" y="254"/>
                    </a:lnTo>
                    <a:lnTo>
                      <a:pt x="52" y="261"/>
                    </a:lnTo>
                    <a:lnTo>
                      <a:pt x="52" y="261"/>
                    </a:lnTo>
                    <a:lnTo>
                      <a:pt x="52" y="301"/>
                    </a:lnTo>
                    <a:lnTo>
                      <a:pt x="52" y="301"/>
                    </a:lnTo>
                    <a:lnTo>
                      <a:pt x="53" y="308"/>
                    </a:lnTo>
                    <a:lnTo>
                      <a:pt x="55" y="314"/>
                    </a:lnTo>
                    <a:lnTo>
                      <a:pt x="59" y="318"/>
                    </a:lnTo>
                    <a:lnTo>
                      <a:pt x="63" y="323"/>
                    </a:lnTo>
                    <a:lnTo>
                      <a:pt x="68" y="328"/>
                    </a:lnTo>
                    <a:lnTo>
                      <a:pt x="72" y="330"/>
                    </a:lnTo>
                    <a:lnTo>
                      <a:pt x="82" y="334"/>
                    </a:lnTo>
                    <a:lnTo>
                      <a:pt x="82" y="334"/>
                    </a:lnTo>
                    <a:lnTo>
                      <a:pt x="85" y="344"/>
                    </a:lnTo>
                    <a:lnTo>
                      <a:pt x="88" y="352"/>
                    </a:lnTo>
                    <a:lnTo>
                      <a:pt x="93" y="360"/>
                    </a:lnTo>
                    <a:lnTo>
                      <a:pt x="99" y="367"/>
                    </a:lnTo>
                    <a:lnTo>
                      <a:pt x="105" y="372"/>
                    </a:lnTo>
                    <a:lnTo>
                      <a:pt x="110" y="378"/>
                    </a:lnTo>
                    <a:lnTo>
                      <a:pt x="116" y="382"/>
                    </a:lnTo>
                    <a:lnTo>
                      <a:pt x="122" y="385"/>
                    </a:lnTo>
                    <a:lnTo>
                      <a:pt x="122" y="385"/>
                    </a:lnTo>
                    <a:lnTo>
                      <a:pt x="118" y="400"/>
                    </a:lnTo>
                    <a:lnTo>
                      <a:pt x="118" y="40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4" name="Freeform 69"/>
              <p:cNvSpPr>
                <a:spLocks noChangeAspect="1"/>
              </p:cNvSpPr>
              <p:nvPr/>
            </p:nvSpPr>
            <p:spPr bwMode="auto">
              <a:xfrm>
                <a:off x="1097752" y="3561715"/>
                <a:ext cx="278979" cy="293624"/>
              </a:xfrm>
              <a:custGeom>
                <a:avLst/>
                <a:gdLst/>
                <a:ahLst/>
                <a:cxnLst>
                  <a:cxn ang="0">
                    <a:pos x="341" y="95"/>
                  </a:cxn>
                  <a:cxn ang="0">
                    <a:pos x="324" y="72"/>
                  </a:cxn>
                  <a:cxn ang="0">
                    <a:pos x="290" y="63"/>
                  </a:cxn>
                  <a:cxn ang="0">
                    <a:pos x="280" y="65"/>
                  </a:cxn>
                  <a:cxn ang="0">
                    <a:pos x="258" y="77"/>
                  </a:cxn>
                  <a:cxn ang="0">
                    <a:pos x="249" y="77"/>
                  </a:cxn>
                  <a:cxn ang="0">
                    <a:pos x="240" y="69"/>
                  </a:cxn>
                  <a:cxn ang="0">
                    <a:pos x="228" y="55"/>
                  </a:cxn>
                  <a:cxn ang="0">
                    <a:pos x="214" y="49"/>
                  </a:cxn>
                  <a:cxn ang="0">
                    <a:pos x="183" y="42"/>
                  </a:cxn>
                  <a:cxn ang="0">
                    <a:pos x="173" y="36"/>
                  </a:cxn>
                  <a:cxn ang="0">
                    <a:pos x="164" y="19"/>
                  </a:cxn>
                  <a:cxn ang="0">
                    <a:pos x="153" y="2"/>
                  </a:cxn>
                  <a:cxn ang="0">
                    <a:pos x="136" y="19"/>
                  </a:cxn>
                  <a:cxn ang="0">
                    <a:pos x="129" y="22"/>
                  </a:cxn>
                  <a:cxn ang="0">
                    <a:pos x="90" y="22"/>
                  </a:cxn>
                  <a:cxn ang="0">
                    <a:pos x="78" y="15"/>
                  </a:cxn>
                  <a:cxn ang="0">
                    <a:pos x="56" y="45"/>
                  </a:cxn>
                  <a:cxn ang="0">
                    <a:pos x="22" y="95"/>
                  </a:cxn>
                  <a:cxn ang="0">
                    <a:pos x="0" y="114"/>
                  </a:cxn>
                  <a:cxn ang="0">
                    <a:pos x="25" y="120"/>
                  </a:cxn>
                  <a:cxn ang="0">
                    <a:pos x="44" y="138"/>
                  </a:cxn>
                  <a:cxn ang="0">
                    <a:pos x="59" y="162"/>
                  </a:cxn>
                  <a:cxn ang="0">
                    <a:pos x="73" y="175"/>
                  </a:cxn>
                  <a:cxn ang="0">
                    <a:pos x="99" y="191"/>
                  </a:cxn>
                  <a:cxn ang="0">
                    <a:pos x="110" y="207"/>
                  </a:cxn>
                  <a:cxn ang="0">
                    <a:pos x="114" y="231"/>
                  </a:cxn>
                  <a:cxn ang="0">
                    <a:pos x="112" y="241"/>
                  </a:cxn>
                  <a:cxn ang="0">
                    <a:pos x="101" y="269"/>
                  </a:cxn>
                  <a:cxn ang="0">
                    <a:pos x="101" y="284"/>
                  </a:cxn>
                  <a:cxn ang="0">
                    <a:pos x="107" y="305"/>
                  </a:cxn>
                  <a:cxn ang="0">
                    <a:pos x="124" y="323"/>
                  </a:cxn>
                  <a:cxn ang="0">
                    <a:pos x="140" y="341"/>
                  </a:cxn>
                  <a:cxn ang="0">
                    <a:pos x="147" y="362"/>
                  </a:cxn>
                  <a:cxn ang="0">
                    <a:pos x="147" y="376"/>
                  </a:cxn>
                  <a:cxn ang="0">
                    <a:pos x="133" y="392"/>
                  </a:cxn>
                  <a:cxn ang="0">
                    <a:pos x="126" y="407"/>
                  </a:cxn>
                  <a:cxn ang="0">
                    <a:pos x="127" y="415"/>
                  </a:cxn>
                  <a:cxn ang="0">
                    <a:pos x="135" y="422"/>
                  </a:cxn>
                  <a:cxn ang="0">
                    <a:pos x="144" y="422"/>
                  </a:cxn>
                  <a:cxn ang="0">
                    <a:pos x="158" y="407"/>
                  </a:cxn>
                  <a:cxn ang="0">
                    <a:pos x="165" y="404"/>
                  </a:cxn>
                  <a:cxn ang="0">
                    <a:pos x="204" y="404"/>
                  </a:cxn>
                  <a:cxn ang="0">
                    <a:pos x="235" y="394"/>
                  </a:cxn>
                  <a:cxn ang="0">
                    <a:pos x="250" y="393"/>
                  </a:cxn>
                  <a:cxn ang="0">
                    <a:pos x="273" y="399"/>
                  </a:cxn>
                  <a:cxn ang="0">
                    <a:pos x="297" y="404"/>
                  </a:cxn>
                  <a:cxn ang="0">
                    <a:pos x="324" y="400"/>
                  </a:cxn>
                  <a:cxn ang="0">
                    <a:pos x="347" y="379"/>
                  </a:cxn>
                  <a:cxn ang="0">
                    <a:pos x="353" y="341"/>
                  </a:cxn>
                  <a:cxn ang="0">
                    <a:pos x="350" y="324"/>
                  </a:cxn>
                  <a:cxn ang="0">
                    <a:pos x="334" y="294"/>
                  </a:cxn>
                  <a:cxn ang="0">
                    <a:pos x="303" y="249"/>
                  </a:cxn>
                  <a:cxn ang="0">
                    <a:pos x="295" y="223"/>
                  </a:cxn>
                  <a:cxn ang="0">
                    <a:pos x="295" y="206"/>
                  </a:cxn>
                  <a:cxn ang="0">
                    <a:pos x="301" y="185"/>
                  </a:cxn>
                  <a:cxn ang="0">
                    <a:pos x="332" y="146"/>
                  </a:cxn>
                  <a:cxn ang="0">
                    <a:pos x="346" y="125"/>
                  </a:cxn>
                </a:cxnLst>
                <a:rect l="0" t="0" r="r" b="b"/>
                <a:pathLst>
                  <a:path w="353" h="422">
                    <a:moveTo>
                      <a:pt x="349" y="114"/>
                    </a:moveTo>
                    <a:lnTo>
                      <a:pt x="349" y="114"/>
                    </a:lnTo>
                    <a:lnTo>
                      <a:pt x="341" y="95"/>
                    </a:lnTo>
                    <a:lnTo>
                      <a:pt x="336" y="86"/>
                    </a:lnTo>
                    <a:lnTo>
                      <a:pt x="331" y="79"/>
                    </a:lnTo>
                    <a:lnTo>
                      <a:pt x="324" y="72"/>
                    </a:lnTo>
                    <a:lnTo>
                      <a:pt x="316" y="66"/>
                    </a:lnTo>
                    <a:lnTo>
                      <a:pt x="304" y="64"/>
                    </a:lnTo>
                    <a:lnTo>
                      <a:pt x="290" y="63"/>
                    </a:lnTo>
                    <a:lnTo>
                      <a:pt x="290" y="63"/>
                    </a:lnTo>
                    <a:lnTo>
                      <a:pt x="286" y="63"/>
                    </a:lnTo>
                    <a:lnTo>
                      <a:pt x="280" y="65"/>
                    </a:lnTo>
                    <a:lnTo>
                      <a:pt x="271" y="70"/>
                    </a:lnTo>
                    <a:lnTo>
                      <a:pt x="262" y="74"/>
                    </a:lnTo>
                    <a:lnTo>
                      <a:pt x="258" y="77"/>
                    </a:lnTo>
                    <a:lnTo>
                      <a:pt x="254" y="77"/>
                    </a:lnTo>
                    <a:lnTo>
                      <a:pt x="254" y="77"/>
                    </a:lnTo>
                    <a:lnTo>
                      <a:pt x="249" y="77"/>
                    </a:lnTo>
                    <a:lnTo>
                      <a:pt x="246" y="74"/>
                    </a:lnTo>
                    <a:lnTo>
                      <a:pt x="242" y="72"/>
                    </a:lnTo>
                    <a:lnTo>
                      <a:pt x="240" y="69"/>
                    </a:lnTo>
                    <a:lnTo>
                      <a:pt x="235" y="62"/>
                    </a:lnTo>
                    <a:lnTo>
                      <a:pt x="232" y="58"/>
                    </a:lnTo>
                    <a:lnTo>
                      <a:pt x="228" y="55"/>
                    </a:lnTo>
                    <a:lnTo>
                      <a:pt x="228" y="55"/>
                    </a:lnTo>
                    <a:lnTo>
                      <a:pt x="221" y="51"/>
                    </a:lnTo>
                    <a:lnTo>
                      <a:pt x="214" y="49"/>
                    </a:lnTo>
                    <a:lnTo>
                      <a:pt x="203" y="46"/>
                    </a:lnTo>
                    <a:lnTo>
                      <a:pt x="193" y="45"/>
                    </a:lnTo>
                    <a:lnTo>
                      <a:pt x="183" y="42"/>
                    </a:lnTo>
                    <a:lnTo>
                      <a:pt x="180" y="41"/>
                    </a:lnTo>
                    <a:lnTo>
                      <a:pt x="176" y="39"/>
                    </a:lnTo>
                    <a:lnTo>
                      <a:pt x="173" y="36"/>
                    </a:lnTo>
                    <a:lnTo>
                      <a:pt x="170" y="32"/>
                    </a:lnTo>
                    <a:lnTo>
                      <a:pt x="167" y="26"/>
                    </a:lnTo>
                    <a:lnTo>
                      <a:pt x="164" y="19"/>
                    </a:lnTo>
                    <a:lnTo>
                      <a:pt x="158" y="0"/>
                    </a:lnTo>
                    <a:lnTo>
                      <a:pt x="158" y="0"/>
                    </a:lnTo>
                    <a:lnTo>
                      <a:pt x="153" y="2"/>
                    </a:lnTo>
                    <a:lnTo>
                      <a:pt x="149" y="5"/>
                    </a:lnTo>
                    <a:lnTo>
                      <a:pt x="142" y="12"/>
                    </a:lnTo>
                    <a:lnTo>
                      <a:pt x="136" y="19"/>
                    </a:lnTo>
                    <a:lnTo>
                      <a:pt x="133" y="22"/>
                    </a:lnTo>
                    <a:lnTo>
                      <a:pt x="129" y="22"/>
                    </a:lnTo>
                    <a:lnTo>
                      <a:pt x="129" y="22"/>
                    </a:lnTo>
                    <a:lnTo>
                      <a:pt x="96" y="22"/>
                    </a:lnTo>
                    <a:lnTo>
                      <a:pt x="96" y="22"/>
                    </a:lnTo>
                    <a:lnTo>
                      <a:pt x="90" y="22"/>
                    </a:lnTo>
                    <a:lnTo>
                      <a:pt x="86" y="19"/>
                    </a:lnTo>
                    <a:lnTo>
                      <a:pt x="81" y="17"/>
                    </a:lnTo>
                    <a:lnTo>
                      <a:pt x="78" y="15"/>
                    </a:lnTo>
                    <a:lnTo>
                      <a:pt x="78" y="15"/>
                    </a:lnTo>
                    <a:lnTo>
                      <a:pt x="65" y="30"/>
                    </a:lnTo>
                    <a:lnTo>
                      <a:pt x="56" y="45"/>
                    </a:lnTo>
                    <a:lnTo>
                      <a:pt x="40" y="71"/>
                    </a:lnTo>
                    <a:lnTo>
                      <a:pt x="31" y="84"/>
                    </a:lnTo>
                    <a:lnTo>
                      <a:pt x="22" y="95"/>
                    </a:lnTo>
                    <a:lnTo>
                      <a:pt x="13" y="104"/>
                    </a:lnTo>
                    <a:lnTo>
                      <a:pt x="7" y="109"/>
                    </a:lnTo>
                    <a:lnTo>
                      <a:pt x="0" y="114"/>
                    </a:lnTo>
                    <a:lnTo>
                      <a:pt x="0" y="114"/>
                    </a:lnTo>
                    <a:lnTo>
                      <a:pt x="14" y="117"/>
                    </a:lnTo>
                    <a:lnTo>
                      <a:pt x="25" y="120"/>
                    </a:lnTo>
                    <a:lnTo>
                      <a:pt x="33" y="125"/>
                    </a:lnTo>
                    <a:lnTo>
                      <a:pt x="40" y="131"/>
                    </a:lnTo>
                    <a:lnTo>
                      <a:pt x="44" y="138"/>
                    </a:lnTo>
                    <a:lnTo>
                      <a:pt x="50" y="145"/>
                    </a:lnTo>
                    <a:lnTo>
                      <a:pt x="59" y="162"/>
                    </a:lnTo>
                    <a:lnTo>
                      <a:pt x="59" y="162"/>
                    </a:lnTo>
                    <a:lnTo>
                      <a:pt x="61" y="165"/>
                    </a:lnTo>
                    <a:lnTo>
                      <a:pt x="65" y="169"/>
                    </a:lnTo>
                    <a:lnTo>
                      <a:pt x="73" y="175"/>
                    </a:lnTo>
                    <a:lnTo>
                      <a:pt x="81" y="179"/>
                    </a:lnTo>
                    <a:lnTo>
                      <a:pt x="91" y="184"/>
                    </a:lnTo>
                    <a:lnTo>
                      <a:pt x="99" y="191"/>
                    </a:lnTo>
                    <a:lnTo>
                      <a:pt x="104" y="195"/>
                    </a:lnTo>
                    <a:lnTo>
                      <a:pt x="107" y="200"/>
                    </a:lnTo>
                    <a:lnTo>
                      <a:pt x="110" y="207"/>
                    </a:lnTo>
                    <a:lnTo>
                      <a:pt x="112" y="214"/>
                    </a:lnTo>
                    <a:lnTo>
                      <a:pt x="114" y="222"/>
                    </a:lnTo>
                    <a:lnTo>
                      <a:pt x="114" y="231"/>
                    </a:lnTo>
                    <a:lnTo>
                      <a:pt x="114" y="231"/>
                    </a:lnTo>
                    <a:lnTo>
                      <a:pt x="113" y="237"/>
                    </a:lnTo>
                    <a:lnTo>
                      <a:pt x="112" y="241"/>
                    </a:lnTo>
                    <a:lnTo>
                      <a:pt x="107" y="252"/>
                    </a:lnTo>
                    <a:lnTo>
                      <a:pt x="102" y="263"/>
                    </a:lnTo>
                    <a:lnTo>
                      <a:pt x="101" y="269"/>
                    </a:lnTo>
                    <a:lnTo>
                      <a:pt x="99" y="276"/>
                    </a:lnTo>
                    <a:lnTo>
                      <a:pt x="99" y="276"/>
                    </a:lnTo>
                    <a:lnTo>
                      <a:pt x="101" y="284"/>
                    </a:lnTo>
                    <a:lnTo>
                      <a:pt x="102" y="292"/>
                    </a:lnTo>
                    <a:lnTo>
                      <a:pt x="104" y="299"/>
                    </a:lnTo>
                    <a:lnTo>
                      <a:pt x="107" y="305"/>
                    </a:lnTo>
                    <a:lnTo>
                      <a:pt x="111" y="310"/>
                    </a:lnTo>
                    <a:lnTo>
                      <a:pt x="114" y="315"/>
                    </a:lnTo>
                    <a:lnTo>
                      <a:pt x="124" y="323"/>
                    </a:lnTo>
                    <a:lnTo>
                      <a:pt x="133" y="332"/>
                    </a:lnTo>
                    <a:lnTo>
                      <a:pt x="136" y="337"/>
                    </a:lnTo>
                    <a:lnTo>
                      <a:pt x="140" y="341"/>
                    </a:lnTo>
                    <a:lnTo>
                      <a:pt x="143" y="347"/>
                    </a:lnTo>
                    <a:lnTo>
                      <a:pt x="145" y="354"/>
                    </a:lnTo>
                    <a:lnTo>
                      <a:pt x="147" y="362"/>
                    </a:lnTo>
                    <a:lnTo>
                      <a:pt x="148" y="371"/>
                    </a:lnTo>
                    <a:lnTo>
                      <a:pt x="148" y="371"/>
                    </a:lnTo>
                    <a:lnTo>
                      <a:pt x="147" y="376"/>
                    </a:lnTo>
                    <a:lnTo>
                      <a:pt x="144" y="381"/>
                    </a:lnTo>
                    <a:lnTo>
                      <a:pt x="136" y="389"/>
                    </a:lnTo>
                    <a:lnTo>
                      <a:pt x="133" y="392"/>
                    </a:lnTo>
                    <a:lnTo>
                      <a:pt x="129" y="397"/>
                    </a:lnTo>
                    <a:lnTo>
                      <a:pt x="127" y="401"/>
                    </a:lnTo>
                    <a:lnTo>
                      <a:pt x="126" y="407"/>
                    </a:lnTo>
                    <a:lnTo>
                      <a:pt x="126" y="407"/>
                    </a:lnTo>
                    <a:lnTo>
                      <a:pt x="126" y="412"/>
                    </a:lnTo>
                    <a:lnTo>
                      <a:pt x="127" y="415"/>
                    </a:lnTo>
                    <a:lnTo>
                      <a:pt x="128" y="417"/>
                    </a:lnTo>
                    <a:lnTo>
                      <a:pt x="130" y="420"/>
                    </a:lnTo>
                    <a:lnTo>
                      <a:pt x="135" y="422"/>
                    </a:lnTo>
                    <a:lnTo>
                      <a:pt x="141" y="422"/>
                    </a:lnTo>
                    <a:lnTo>
                      <a:pt x="141" y="422"/>
                    </a:lnTo>
                    <a:lnTo>
                      <a:pt x="144" y="422"/>
                    </a:lnTo>
                    <a:lnTo>
                      <a:pt x="148" y="420"/>
                    </a:lnTo>
                    <a:lnTo>
                      <a:pt x="152" y="413"/>
                    </a:lnTo>
                    <a:lnTo>
                      <a:pt x="158" y="407"/>
                    </a:lnTo>
                    <a:lnTo>
                      <a:pt x="162" y="405"/>
                    </a:lnTo>
                    <a:lnTo>
                      <a:pt x="165" y="404"/>
                    </a:lnTo>
                    <a:lnTo>
                      <a:pt x="165" y="404"/>
                    </a:lnTo>
                    <a:lnTo>
                      <a:pt x="199" y="404"/>
                    </a:lnTo>
                    <a:lnTo>
                      <a:pt x="199" y="404"/>
                    </a:lnTo>
                    <a:lnTo>
                      <a:pt x="204" y="404"/>
                    </a:lnTo>
                    <a:lnTo>
                      <a:pt x="210" y="402"/>
                    </a:lnTo>
                    <a:lnTo>
                      <a:pt x="223" y="399"/>
                    </a:lnTo>
                    <a:lnTo>
                      <a:pt x="235" y="394"/>
                    </a:lnTo>
                    <a:lnTo>
                      <a:pt x="242" y="393"/>
                    </a:lnTo>
                    <a:lnTo>
                      <a:pt x="250" y="393"/>
                    </a:lnTo>
                    <a:lnTo>
                      <a:pt x="250" y="393"/>
                    </a:lnTo>
                    <a:lnTo>
                      <a:pt x="257" y="393"/>
                    </a:lnTo>
                    <a:lnTo>
                      <a:pt x="263" y="394"/>
                    </a:lnTo>
                    <a:lnTo>
                      <a:pt x="273" y="399"/>
                    </a:lnTo>
                    <a:lnTo>
                      <a:pt x="283" y="402"/>
                    </a:lnTo>
                    <a:lnTo>
                      <a:pt x="290" y="404"/>
                    </a:lnTo>
                    <a:lnTo>
                      <a:pt x="297" y="404"/>
                    </a:lnTo>
                    <a:lnTo>
                      <a:pt x="297" y="404"/>
                    </a:lnTo>
                    <a:lnTo>
                      <a:pt x="312" y="404"/>
                    </a:lnTo>
                    <a:lnTo>
                      <a:pt x="324" y="400"/>
                    </a:lnTo>
                    <a:lnTo>
                      <a:pt x="333" y="394"/>
                    </a:lnTo>
                    <a:lnTo>
                      <a:pt x="341" y="387"/>
                    </a:lnTo>
                    <a:lnTo>
                      <a:pt x="347" y="379"/>
                    </a:lnTo>
                    <a:lnTo>
                      <a:pt x="350" y="368"/>
                    </a:lnTo>
                    <a:lnTo>
                      <a:pt x="353" y="356"/>
                    </a:lnTo>
                    <a:lnTo>
                      <a:pt x="353" y="341"/>
                    </a:lnTo>
                    <a:lnTo>
                      <a:pt x="353" y="341"/>
                    </a:lnTo>
                    <a:lnTo>
                      <a:pt x="353" y="333"/>
                    </a:lnTo>
                    <a:lnTo>
                      <a:pt x="350" y="324"/>
                    </a:lnTo>
                    <a:lnTo>
                      <a:pt x="348" y="317"/>
                    </a:lnTo>
                    <a:lnTo>
                      <a:pt x="343" y="309"/>
                    </a:lnTo>
                    <a:lnTo>
                      <a:pt x="334" y="294"/>
                    </a:lnTo>
                    <a:lnTo>
                      <a:pt x="324" y="280"/>
                    </a:lnTo>
                    <a:lnTo>
                      <a:pt x="313" y="265"/>
                    </a:lnTo>
                    <a:lnTo>
                      <a:pt x="303" y="249"/>
                    </a:lnTo>
                    <a:lnTo>
                      <a:pt x="300" y="241"/>
                    </a:lnTo>
                    <a:lnTo>
                      <a:pt x="297" y="232"/>
                    </a:lnTo>
                    <a:lnTo>
                      <a:pt x="295" y="223"/>
                    </a:lnTo>
                    <a:lnTo>
                      <a:pt x="294" y="213"/>
                    </a:lnTo>
                    <a:lnTo>
                      <a:pt x="294" y="213"/>
                    </a:lnTo>
                    <a:lnTo>
                      <a:pt x="295" y="206"/>
                    </a:lnTo>
                    <a:lnTo>
                      <a:pt x="296" y="198"/>
                    </a:lnTo>
                    <a:lnTo>
                      <a:pt x="297" y="192"/>
                    </a:lnTo>
                    <a:lnTo>
                      <a:pt x="301" y="185"/>
                    </a:lnTo>
                    <a:lnTo>
                      <a:pt x="307" y="175"/>
                    </a:lnTo>
                    <a:lnTo>
                      <a:pt x="315" y="164"/>
                    </a:lnTo>
                    <a:lnTo>
                      <a:pt x="332" y="146"/>
                    </a:lnTo>
                    <a:lnTo>
                      <a:pt x="340" y="137"/>
                    </a:lnTo>
                    <a:lnTo>
                      <a:pt x="346" y="125"/>
                    </a:lnTo>
                    <a:lnTo>
                      <a:pt x="346" y="125"/>
                    </a:lnTo>
                    <a:lnTo>
                      <a:pt x="349" y="114"/>
                    </a:lnTo>
                    <a:lnTo>
                      <a:pt x="349" y="11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5" name="Freeform 70"/>
              <p:cNvSpPr>
                <a:spLocks noChangeAspect="1"/>
              </p:cNvSpPr>
              <p:nvPr/>
            </p:nvSpPr>
            <p:spPr bwMode="auto">
              <a:xfrm>
                <a:off x="1432209" y="3674434"/>
                <a:ext cx="274224" cy="161423"/>
              </a:xfrm>
              <a:custGeom>
                <a:avLst/>
                <a:gdLst/>
                <a:ahLst/>
                <a:cxnLst>
                  <a:cxn ang="0">
                    <a:pos x="341" y="182"/>
                  </a:cxn>
                  <a:cxn ang="0">
                    <a:pos x="330" y="179"/>
                  </a:cxn>
                  <a:cxn ang="0">
                    <a:pos x="290" y="179"/>
                  </a:cxn>
                  <a:cxn ang="0">
                    <a:pos x="284" y="209"/>
                  </a:cxn>
                  <a:cxn ang="0">
                    <a:pos x="266" y="224"/>
                  </a:cxn>
                  <a:cxn ang="0">
                    <a:pos x="246" y="228"/>
                  </a:cxn>
                  <a:cxn ang="0">
                    <a:pos x="233" y="220"/>
                  </a:cxn>
                  <a:cxn ang="0">
                    <a:pos x="222" y="206"/>
                  </a:cxn>
                  <a:cxn ang="0">
                    <a:pos x="213" y="201"/>
                  </a:cxn>
                  <a:cxn ang="0">
                    <a:pos x="194" y="216"/>
                  </a:cxn>
                  <a:cxn ang="0">
                    <a:pos x="177" y="230"/>
                  </a:cxn>
                  <a:cxn ang="0">
                    <a:pos x="160" y="227"/>
                  </a:cxn>
                  <a:cxn ang="0">
                    <a:pos x="137" y="215"/>
                  </a:cxn>
                  <a:cxn ang="0">
                    <a:pos x="122" y="213"/>
                  </a:cxn>
                  <a:cxn ang="0">
                    <a:pos x="118" y="193"/>
                  </a:cxn>
                  <a:cxn ang="0">
                    <a:pos x="110" y="181"/>
                  </a:cxn>
                  <a:cxn ang="0">
                    <a:pos x="80" y="159"/>
                  </a:cxn>
                  <a:cxn ang="0">
                    <a:pos x="73" y="151"/>
                  </a:cxn>
                  <a:cxn ang="0">
                    <a:pos x="68" y="124"/>
                  </a:cxn>
                  <a:cxn ang="0">
                    <a:pos x="60" y="109"/>
                  </a:cxn>
                  <a:cxn ang="0">
                    <a:pos x="45" y="105"/>
                  </a:cxn>
                  <a:cxn ang="0">
                    <a:pos x="15" y="100"/>
                  </a:cxn>
                  <a:cxn ang="0">
                    <a:pos x="5" y="90"/>
                  </a:cxn>
                  <a:cxn ang="0">
                    <a:pos x="3" y="80"/>
                  </a:cxn>
                  <a:cxn ang="0">
                    <a:pos x="9" y="65"/>
                  </a:cxn>
                  <a:cxn ang="0">
                    <a:pos x="15" y="47"/>
                  </a:cxn>
                  <a:cxn ang="0">
                    <a:pos x="12" y="38"/>
                  </a:cxn>
                  <a:cxn ang="0">
                    <a:pos x="0" y="15"/>
                  </a:cxn>
                  <a:cxn ang="0">
                    <a:pos x="11" y="4"/>
                  </a:cxn>
                  <a:cxn ang="0">
                    <a:pos x="25" y="0"/>
                  </a:cxn>
                  <a:cxn ang="0">
                    <a:pos x="68" y="6"/>
                  </a:cxn>
                  <a:cxn ang="0">
                    <a:pos x="110" y="10"/>
                  </a:cxn>
                  <a:cxn ang="0">
                    <a:pos x="112" y="16"/>
                  </a:cxn>
                  <a:cxn ang="0">
                    <a:pos x="138" y="34"/>
                  </a:cxn>
                  <a:cxn ang="0">
                    <a:pos x="171" y="46"/>
                  </a:cxn>
                  <a:cxn ang="0">
                    <a:pos x="188" y="47"/>
                  </a:cxn>
                  <a:cxn ang="0">
                    <a:pos x="206" y="37"/>
                  </a:cxn>
                  <a:cxn ang="0">
                    <a:pos x="221" y="18"/>
                  </a:cxn>
                  <a:cxn ang="0">
                    <a:pos x="231" y="55"/>
                  </a:cxn>
                  <a:cxn ang="0">
                    <a:pos x="236" y="65"/>
                  </a:cxn>
                  <a:cxn ang="0">
                    <a:pos x="264" y="84"/>
                  </a:cxn>
                  <a:cxn ang="0">
                    <a:pos x="285" y="99"/>
                  </a:cxn>
                  <a:cxn ang="0">
                    <a:pos x="285" y="109"/>
                  </a:cxn>
                  <a:cxn ang="0">
                    <a:pos x="271" y="106"/>
                  </a:cxn>
                  <a:cxn ang="0">
                    <a:pos x="271" y="128"/>
                  </a:cxn>
                  <a:cxn ang="0">
                    <a:pos x="282" y="137"/>
                  </a:cxn>
                  <a:cxn ang="0">
                    <a:pos x="301" y="145"/>
                  </a:cxn>
                  <a:cxn ang="0">
                    <a:pos x="325" y="151"/>
                  </a:cxn>
                  <a:cxn ang="0">
                    <a:pos x="338" y="162"/>
                  </a:cxn>
                  <a:cxn ang="0">
                    <a:pos x="345" y="176"/>
                  </a:cxn>
                </a:cxnLst>
                <a:rect l="0" t="0" r="r" b="b"/>
                <a:pathLst>
                  <a:path w="345" h="231">
                    <a:moveTo>
                      <a:pt x="345" y="183"/>
                    </a:moveTo>
                    <a:lnTo>
                      <a:pt x="345" y="183"/>
                    </a:lnTo>
                    <a:lnTo>
                      <a:pt x="341" y="182"/>
                    </a:lnTo>
                    <a:lnTo>
                      <a:pt x="338" y="181"/>
                    </a:lnTo>
                    <a:lnTo>
                      <a:pt x="330" y="179"/>
                    </a:lnTo>
                    <a:lnTo>
                      <a:pt x="330" y="179"/>
                    </a:lnTo>
                    <a:lnTo>
                      <a:pt x="290" y="179"/>
                    </a:lnTo>
                    <a:lnTo>
                      <a:pt x="290" y="179"/>
                    </a:lnTo>
                    <a:lnTo>
                      <a:pt x="290" y="179"/>
                    </a:lnTo>
                    <a:lnTo>
                      <a:pt x="290" y="191"/>
                    </a:lnTo>
                    <a:lnTo>
                      <a:pt x="287" y="201"/>
                    </a:lnTo>
                    <a:lnTo>
                      <a:pt x="284" y="209"/>
                    </a:lnTo>
                    <a:lnTo>
                      <a:pt x="279" y="216"/>
                    </a:lnTo>
                    <a:lnTo>
                      <a:pt x="272" y="221"/>
                    </a:lnTo>
                    <a:lnTo>
                      <a:pt x="266" y="224"/>
                    </a:lnTo>
                    <a:lnTo>
                      <a:pt x="256" y="227"/>
                    </a:lnTo>
                    <a:lnTo>
                      <a:pt x="246" y="228"/>
                    </a:lnTo>
                    <a:lnTo>
                      <a:pt x="246" y="228"/>
                    </a:lnTo>
                    <a:lnTo>
                      <a:pt x="240" y="227"/>
                    </a:lnTo>
                    <a:lnTo>
                      <a:pt x="237" y="223"/>
                    </a:lnTo>
                    <a:lnTo>
                      <a:pt x="233" y="220"/>
                    </a:lnTo>
                    <a:lnTo>
                      <a:pt x="230" y="214"/>
                    </a:lnTo>
                    <a:lnTo>
                      <a:pt x="226" y="209"/>
                    </a:lnTo>
                    <a:lnTo>
                      <a:pt x="222" y="206"/>
                    </a:lnTo>
                    <a:lnTo>
                      <a:pt x="218" y="202"/>
                    </a:lnTo>
                    <a:lnTo>
                      <a:pt x="213" y="201"/>
                    </a:lnTo>
                    <a:lnTo>
                      <a:pt x="213" y="201"/>
                    </a:lnTo>
                    <a:lnTo>
                      <a:pt x="208" y="202"/>
                    </a:lnTo>
                    <a:lnTo>
                      <a:pt x="203" y="206"/>
                    </a:lnTo>
                    <a:lnTo>
                      <a:pt x="194" y="216"/>
                    </a:lnTo>
                    <a:lnTo>
                      <a:pt x="188" y="222"/>
                    </a:lnTo>
                    <a:lnTo>
                      <a:pt x="183" y="227"/>
                    </a:lnTo>
                    <a:lnTo>
                      <a:pt x="177" y="230"/>
                    </a:lnTo>
                    <a:lnTo>
                      <a:pt x="169" y="231"/>
                    </a:lnTo>
                    <a:lnTo>
                      <a:pt x="169" y="231"/>
                    </a:lnTo>
                    <a:lnTo>
                      <a:pt x="160" y="227"/>
                    </a:lnTo>
                    <a:lnTo>
                      <a:pt x="149" y="221"/>
                    </a:lnTo>
                    <a:lnTo>
                      <a:pt x="142" y="217"/>
                    </a:lnTo>
                    <a:lnTo>
                      <a:pt x="137" y="215"/>
                    </a:lnTo>
                    <a:lnTo>
                      <a:pt x="129" y="213"/>
                    </a:lnTo>
                    <a:lnTo>
                      <a:pt x="122" y="213"/>
                    </a:lnTo>
                    <a:lnTo>
                      <a:pt x="122" y="213"/>
                    </a:lnTo>
                    <a:lnTo>
                      <a:pt x="121" y="205"/>
                    </a:lnTo>
                    <a:lnTo>
                      <a:pt x="119" y="198"/>
                    </a:lnTo>
                    <a:lnTo>
                      <a:pt x="118" y="193"/>
                    </a:lnTo>
                    <a:lnTo>
                      <a:pt x="116" y="187"/>
                    </a:lnTo>
                    <a:lnTo>
                      <a:pt x="114" y="184"/>
                    </a:lnTo>
                    <a:lnTo>
                      <a:pt x="110" y="181"/>
                    </a:lnTo>
                    <a:lnTo>
                      <a:pt x="103" y="175"/>
                    </a:lnTo>
                    <a:lnTo>
                      <a:pt x="87" y="164"/>
                    </a:lnTo>
                    <a:lnTo>
                      <a:pt x="80" y="159"/>
                    </a:lnTo>
                    <a:lnTo>
                      <a:pt x="77" y="155"/>
                    </a:lnTo>
                    <a:lnTo>
                      <a:pt x="73" y="151"/>
                    </a:lnTo>
                    <a:lnTo>
                      <a:pt x="73" y="151"/>
                    </a:lnTo>
                    <a:lnTo>
                      <a:pt x="70" y="144"/>
                    </a:lnTo>
                    <a:lnTo>
                      <a:pt x="69" y="137"/>
                    </a:lnTo>
                    <a:lnTo>
                      <a:pt x="68" y="124"/>
                    </a:lnTo>
                    <a:lnTo>
                      <a:pt x="66" y="118"/>
                    </a:lnTo>
                    <a:lnTo>
                      <a:pt x="64" y="114"/>
                    </a:lnTo>
                    <a:lnTo>
                      <a:pt x="60" y="109"/>
                    </a:lnTo>
                    <a:lnTo>
                      <a:pt x="52" y="106"/>
                    </a:lnTo>
                    <a:lnTo>
                      <a:pt x="52" y="106"/>
                    </a:lnTo>
                    <a:lnTo>
                      <a:pt x="45" y="105"/>
                    </a:lnTo>
                    <a:lnTo>
                      <a:pt x="38" y="103"/>
                    </a:lnTo>
                    <a:lnTo>
                      <a:pt x="22" y="101"/>
                    </a:lnTo>
                    <a:lnTo>
                      <a:pt x="15" y="100"/>
                    </a:lnTo>
                    <a:lnTo>
                      <a:pt x="9" y="95"/>
                    </a:lnTo>
                    <a:lnTo>
                      <a:pt x="7" y="93"/>
                    </a:lnTo>
                    <a:lnTo>
                      <a:pt x="5" y="90"/>
                    </a:lnTo>
                    <a:lnTo>
                      <a:pt x="4" y="85"/>
                    </a:lnTo>
                    <a:lnTo>
                      <a:pt x="3" y="80"/>
                    </a:lnTo>
                    <a:lnTo>
                      <a:pt x="3" y="80"/>
                    </a:lnTo>
                    <a:lnTo>
                      <a:pt x="4" y="76"/>
                    </a:lnTo>
                    <a:lnTo>
                      <a:pt x="5" y="71"/>
                    </a:lnTo>
                    <a:lnTo>
                      <a:pt x="9" y="65"/>
                    </a:lnTo>
                    <a:lnTo>
                      <a:pt x="14" y="59"/>
                    </a:lnTo>
                    <a:lnTo>
                      <a:pt x="15" y="54"/>
                    </a:lnTo>
                    <a:lnTo>
                      <a:pt x="15" y="47"/>
                    </a:lnTo>
                    <a:lnTo>
                      <a:pt x="15" y="47"/>
                    </a:lnTo>
                    <a:lnTo>
                      <a:pt x="15" y="42"/>
                    </a:lnTo>
                    <a:lnTo>
                      <a:pt x="12" y="38"/>
                    </a:lnTo>
                    <a:lnTo>
                      <a:pt x="9" y="30"/>
                    </a:lnTo>
                    <a:lnTo>
                      <a:pt x="4" y="22"/>
                    </a:lnTo>
                    <a:lnTo>
                      <a:pt x="0" y="15"/>
                    </a:lnTo>
                    <a:lnTo>
                      <a:pt x="0" y="15"/>
                    </a:lnTo>
                    <a:lnTo>
                      <a:pt x="5" y="9"/>
                    </a:lnTo>
                    <a:lnTo>
                      <a:pt x="11" y="4"/>
                    </a:lnTo>
                    <a:lnTo>
                      <a:pt x="18" y="1"/>
                    </a:lnTo>
                    <a:lnTo>
                      <a:pt x="25" y="0"/>
                    </a:lnTo>
                    <a:lnTo>
                      <a:pt x="25" y="0"/>
                    </a:lnTo>
                    <a:lnTo>
                      <a:pt x="37" y="0"/>
                    </a:lnTo>
                    <a:lnTo>
                      <a:pt x="47" y="1"/>
                    </a:lnTo>
                    <a:lnTo>
                      <a:pt x="68" y="6"/>
                    </a:lnTo>
                    <a:lnTo>
                      <a:pt x="88" y="9"/>
                    </a:lnTo>
                    <a:lnTo>
                      <a:pt x="99" y="10"/>
                    </a:lnTo>
                    <a:lnTo>
                      <a:pt x="110" y="10"/>
                    </a:lnTo>
                    <a:lnTo>
                      <a:pt x="110" y="10"/>
                    </a:lnTo>
                    <a:lnTo>
                      <a:pt x="110" y="14"/>
                    </a:lnTo>
                    <a:lnTo>
                      <a:pt x="112" y="16"/>
                    </a:lnTo>
                    <a:lnTo>
                      <a:pt x="118" y="23"/>
                    </a:lnTo>
                    <a:lnTo>
                      <a:pt x="127" y="29"/>
                    </a:lnTo>
                    <a:lnTo>
                      <a:pt x="138" y="34"/>
                    </a:lnTo>
                    <a:lnTo>
                      <a:pt x="149" y="40"/>
                    </a:lnTo>
                    <a:lnTo>
                      <a:pt x="161" y="44"/>
                    </a:lnTo>
                    <a:lnTo>
                      <a:pt x="171" y="46"/>
                    </a:lnTo>
                    <a:lnTo>
                      <a:pt x="180" y="47"/>
                    </a:lnTo>
                    <a:lnTo>
                      <a:pt x="180" y="47"/>
                    </a:lnTo>
                    <a:lnTo>
                      <a:pt x="188" y="47"/>
                    </a:lnTo>
                    <a:lnTo>
                      <a:pt x="195" y="45"/>
                    </a:lnTo>
                    <a:lnTo>
                      <a:pt x="201" y="41"/>
                    </a:lnTo>
                    <a:lnTo>
                      <a:pt x="206" y="37"/>
                    </a:lnTo>
                    <a:lnTo>
                      <a:pt x="213" y="28"/>
                    </a:lnTo>
                    <a:lnTo>
                      <a:pt x="221" y="18"/>
                    </a:lnTo>
                    <a:lnTo>
                      <a:pt x="221" y="18"/>
                    </a:lnTo>
                    <a:lnTo>
                      <a:pt x="225" y="30"/>
                    </a:lnTo>
                    <a:lnTo>
                      <a:pt x="228" y="44"/>
                    </a:lnTo>
                    <a:lnTo>
                      <a:pt x="231" y="55"/>
                    </a:lnTo>
                    <a:lnTo>
                      <a:pt x="232" y="61"/>
                    </a:lnTo>
                    <a:lnTo>
                      <a:pt x="236" y="65"/>
                    </a:lnTo>
                    <a:lnTo>
                      <a:pt x="236" y="65"/>
                    </a:lnTo>
                    <a:lnTo>
                      <a:pt x="241" y="71"/>
                    </a:lnTo>
                    <a:lnTo>
                      <a:pt x="248" y="77"/>
                    </a:lnTo>
                    <a:lnTo>
                      <a:pt x="264" y="84"/>
                    </a:lnTo>
                    <a:lnTo>
                      <a:pt x="271" y="88"/>
                    </a:lnTo>
                    <a:lnTo>
                      <a:pt x="279" y="93"/>
                    </a:lnTo>
                    <a:lnTo>
                      <a:pt x="285" y="99"/>
                    </a:lnTo>
                    <a:lnTo>
                      <a:pt x="290" y="106"/>
                    </a:lnTo>
                    <a:lnTo>
                      <a:pt x="290" y="106"/>
                    </a:lnTo>
                    <a:lnTo>
                      <a:pt x="285" y="109"/>
                    </a:lnTo>
                    <a:lnTo>
                      <a:pt x="280" y="110"/>
                    </a:lnTo>
                    <a:lnTo>
                      <a:pt x="277" y="109"/>
                    </a:lnTo>
                    <a:lnTo>
                      <a:pt x="271" y="106"/>
                    </a:lnTo>
                    <a:lnTo>
                      <a:pt x="271" y="106"/>
                    </a:lnTo>
                    <a:lnTo>
                      <a:pt x="271" y="128"/>
                    </a:lnTo>
                    <a:lnTo>
                      <a:pt x="271" y="128"/>
                    </a:lnTo>
                    <a:lnTo>
                      <a:pt x="271" y="128"/>
                    </a:lnTo>
                    <a:lnTo>
                      <a:pt x="277" y="133"/>
                    </a:lnTo>
                    <a:lnTo>
                      <a:pt x="282" y="137"/>
                    </a:lnTo>
                    <a:lnTo>
                      <a:pt x="286" y="139"/>
                    </a:lnTo>
                    <a:lnTo>
                      <a:pt x="292" y="141"/>
                    </a:lnTo>
                    <a:lnTo>
                      <a:pt x="301" y="145"/>
                    </a:lnTo>
                    <a:lnTo>
                      <a:pt x="312" y="146"/>
                    </a:lnTo>
                    <a:lnTo>
                      <a:pt x="321" y="148"/>
                    </a:lnTo>
                    <a:lnTo>
                      <a:pt x="325" y="151"/>
                    </a:lnTo>
                    <a:lnTo>
                      <a:pt x="330" y="154"/>
                    </a:lnTo>
                    <a:lnTo>
                      <a:pt x="333" y="158"/>
                    </a:lnTo>
                    <a:lnTo>
                      <a:pt x="338" y="162"/>
                    </a:lnTo>
                    <a:lnTo>
                      <a:pt x="341" y="168"/>
                    </a:lnTo>
                    <a:lnTo>
                      <a:pt x="345" y="176"/>
                    </a:lnTo>
                    <a:lnTo>
                      <a:pt x="345" y="176"/>
                    </a:lnTo>
                    <a:lnTo>
                      <a:pt x="345" y="183"/>
                    </a:lnTo>
                    <a:lnTo>
                      <a:pt x="345" y="18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6" name="Freeform 71"/>
              <p:cNvSpPr>
                <a:spLocks noChangeAspect="1"/>
              </p:cNvSpPr>
              <p:nvPr/>
            </p:nvSpPr>
            <p:spPr bwMode="auto">
              <a:xfrm>
                <a:off x="1194443" y="4186535"/>
                <a:ext cx="523086" cy="434173"/>
              </a:xfrm>
              <a:custGeom>
                <a:avLst/>
                <a:gdLst/>
                <a:ahLst/>
                <a:cxnLst>
                  <a:cxn ang="0">
                    <a:pos x="425" y="197"/>
                  </a:cxn>
                  <a:cxn ang="0">
                    <a:pos x="482" y="223"/>
                  </a:cxn>
                  <a:cxn ang="0">
                    <a:pos x="566" y="239"/>
                  </a:cxn>
                  <a:cxn ang="0">
                    <a:pos x="568" y="230"/>
                  </a:cxn>
                  <a:cxn ang="0">
                    <a:pos x="566" y="224"/>
                  </a:cxn>
                  <a:cxn ang="0">
                    <a:pos x="563" y="241"/>
                  </a:cxn>
                  <a:cxn ang="0">
                    <a:pos x="545" y="257"/>
                  </a:cxn>
                  <a:cxn ang="0">
                    <a:pos x="541" y="275"/>
                  </a:cxn>
                  <a:cxn ang="0">
                    <a:pos x="556" y="304"/>
                  </a:cxn>
                  <a:cxn ang="0">
                    <a:pos x="600" y="345"/>
                  </a:cxn>
                  <a:cxn ang="0">
                    <a:pos x="616" y="379"/>
                  </a:cxn>
                  <a:cxn ang="0">
                    <a:pos x="643" y="456"/>
                  </a:cxn>
                  <a:cxn ang="0">
                    <a:pos x="662" y="489"/>
                  </a:cxn>
                  <a:cxn ang="0">
                    <a:pos x="643" y="511"/>
                  </a:cxn>
                  <a:cxn ang="0">
                    <a:pos x="625" y="514"/>
                  </a:cxn>
                  <a:cxn ang="0">
                    <a:pos x="577" y="524"/>
                  </a:cxn>
                  <a:cxn ang="0">
                    <a:pos x="530" y="533"/>
                  </a:cxn>
                  <a:cxn ang="0">
                    <a:pos x="501" y="524"/>
                  </a:cxn>
                  <a:cxn ang="0">
                    <a:pos x="484" y="522"/>
                  </a:cxn>
                  <a:cxn ang="0">
                    <a:pos x="443" y="537"/>
                  </a:cxn>
                  <a:cxn ang="0">
                    <a:pos x="412" y="542"/>
                  </a:cxn>
                  <a:cxn ang="0">
                    <a:pos x="383" y="560"/>
                  </a:cxn>
                  <a:cxn ang="0">
                    <a:pos x="364" y="605"/>
                  </a:cxn>
                  <a:cxn ang="0">
                    <a:pos x="341" y="624"/>
                  </a:cxn>
                  <a:cxn ang="0">
                    <a:pos x="320" y="623"/>
                  </a:cxn>
                  <a:cxn ang="0">
                    <a:pos x="291" y="610"/>
                  </a:cxn>
                  <a:cxn ang="0">
                    <a:pos x="286" y="533"/>
                  </a:cxn>
                  <a:cxn ang="0">
                    <a:pos x="291" y="507"/>
                  </a:cxn>
                  <a:cxn ang="0">
                    <a:pos x="280" y="504"/>
                  </a:cxn>
                  <a:cxn ang="0">
                    <a:pos x="232" y="419"/>
                  </a:cxn>
                  <a:cxn ang="0">
                    <a:pos x="205" y="418"/>
                  </a:cxn>
                  <a:cxn ang="0">
                    <a:pos x="192" y="402"/>
                  </a:cxn>
                  <a:cxn ang="0">
                    <a:pos x="183" y="365"/>
                  </a:cxn>
                  <a:cxn ang="0">
                    <a:pos x="156" y="364"/>
                  </a:cxn>
                  <a:cxn ang="0">
                    <a:pos x="138" y="359"/>
                  </a:cxn>
                  <a:cxn ang="0">
                    <a:pos x="129" y="342"/>
                  </a:cxn>
                  <a:cxn ang="0">
                    <a:pos x="138" y="323"/>
                  </a:cxn>
                  <a:cxn ang="0">
                    <a:pos x="157" y="302"/>
                  </a:cxn>
                  <a:cxn ang="0">
                    <a:pos x="156" y="275"/>
                  </a:cxn>
                  <a:cxn ang="0">
                    <a:pos x="136" y="247"/>
                  </a:cxn>
                  <a:cxn ang="0">
                    <a:pos x="87" y="216"/>
                  </a:cxn>
                  <a:cxn ang="0">
                    <a:pos x="70" y="198"/>
                  </a:cxn>
                  <a:cxn ang="0">
                    <a:pos x="53" y="184"/>
                  </a:cxn>
                  <a:cxn ang="0">
                    <a:pos x="14" y="170"/>
                  </a:cxn>
                  <a:cxn ang="0">
                    <a:pos x="1" y="148"/>
                  </a:cxn>
                  <a:cxn ang="0">
                    <a:pos x="3" y="124"/>
                  </a:cxn>
                  <a:cxn ang="0">
                    <a:pos x="12" y="89"/>
                  </a:cxn>
                  <a:cxn ang="0">
                    <a:pos x="82" y="12"/>
                  </a:cxn>
                  <a:cxn ang="0">
                    <a:pos x="99" y="5"/>
                  </a:cxn>
                  <a:cxn ang="0">
                    <a:pos x="118" y="0"/>
                  </a:cxn>
                  <a:cxn ang="0">
                    <a:pos x="148" y="14"/>
                  </a:cxn>
                  <a:cxn ang="0">
                    <a:pos x="184" y="59"/>
                  </a:cxn>
                  <a:cxn ang="0">
                    <a:pos x="198" y="68"/>
                  </a:cxn>
                  <a:cxn ang="0">
                    <a:pos x="241" y="76"/>
                  </a:cxn>
                  <a:cxn ang="0">
                    <a:pos x="258" y="89"/>
                  </a:cxn>
                  <a:cxn ang="0">
                    <a:pos x="263" y="106"/>
                  </a:cxn>
                  <a:cxn ang="0">
                    <a:pos x="278" y="128"/>
                  </a:cxn>
                  <a:cxn ang="0">
                    <a:pos x="334" y="144"/>
                  </a:cxn>
                  <a:cxn ang="0">
                    <a:pos x="395" y="157"/>
                  </a:cxn>
                  <a:cxn ang="0">
                    <a:pos x="419" y="180"/>
                  </a:cxn>
                </a:cxnLst>
                <a:rect l="0" t="0" r="r" b="b"/>
                <a:pathLst>
                  <a:path w="662" h="625">
                    <a:moveTo>
                      <a:pt x="419" y="188"/>
                    </a:moveTo>
                    <a:lnTo>
                      <a:pt x="419" y="188"/>
                    </a:lnTo>
                    <a:lnTo>
                      <a:pt x="421" y="192"/>
                    </a:lnTo>
                    <a:lnTo>
                      <a:pt x="425" y="197"/>
                    </a:lnTo>
                    <a:lnTo>
                      <a:pt x="431" y="201"/>
                    </a:lnTo>
                    <a:lnTo>
                      <a:pt x="439" y="206"/>
                    </a:lnTo>
                    <a:lnTo>
                      <a:pt x="458" y="215"/>
                    </a:lnTo>
                    <a:lnTo>
                      <a:pt x="482" y="223"/>
                    </a:lnTo>
                    <a:lnTo>
                      <a:pt x="508" y="229"/>
                    </a:lnTo>
                    <a:lnTo>
                      <a:pt x="532" y="235"/>
                    </a:lnTo>
                    <a:lnTo>
                      <a:pt x="551" y="238"/>
                    </a:lnTo>
                    <a:lnTo>
                      <a:pt x="566" y="239"/>
                    </a:lnTo>
                    <a:lnTo>
                      <a:pt x="566" y="239"/>
                    </a:lnTo>
                    <a:lnTo>
                      <a:pt x="570" y="237"/>
                    </a:lnTo>
                    <a:lnTo>
                      <a:pt x="570" y="235"/>
                    </a:lnTo>
                    <a:lnTo>
                      <a:pt x="568" y="230"/>
                    </a:lnTo>
                    <a:lnTo>
                      <a:pt x="566" y="224"/>
                    </a:lnTo>
                    <a:lnTo>
                      <a:pt x="566" y="224"/>
                    </a:lnTo>
                    <a:lnTo>
                      <a:pt x="566" y="224"/>
                    </a:lnTo>
                    <a:lnTo>
                      <a:pt x="566" y="224"/>
                    </a:lnTo>
                    <a:lnTo>
                      <a:pt x="566" y="224"/>
                    </a:lnTo>
                    <a:lnTo>
                      <a:pt x="566" y="224"/>
                    </a:lnTo>
                    <a:lnTo>
                      <a:pt x="565" y="234"/>
                    </a:lnTo>
                    <a:lnTo>
                      <a:pt x="563" y="241"/>
                    </a:lnTo>
                    <a:lnTo>
                      <a:pt x="558" y="245"/>
                    </a:lnTo>
                    <a:lnTo>
                      <a:pt x="554" y="249"/>
                    </a:lnTo>
                    <a:lnTo>
                      <a:pt x="549" y="252"/>
                    </a:lnTo>
                    <a:lnTo>
                      <a:pt x="545" y="257"/>
                    </a:lnTo>
                    <a:lnTo>
                      <a:pt x="542" y="261"/>
                    </a:lnTo>
                    <a:lnTo>
                      <a:pt x="541" y="268"/>
                    </a:lnTo>
                    <a:lnTo>
                      <a:pt x="541" y="268"/>
                    </a:lnTo>
                    <a:lnTo>
                      <a:pt x="541" y="275"/>
                    </a:lnTo>
                    <a:lnTo>
                      <a:pt x="542" y="282"/>
                    </a:lnTo>
                    <a:lnTo>
                      <a:pt x="545" y="288"/>
                    </a:lnTo>
                    <a:lnTo>
                      <a:pt x="548" y="293"/>
                    </a:lnTo>
                    <a:lnTo>
                      <a:pt x="556" y="304"/>
                    </a:lnTo>
                    <a:lnTo>
                      <a:pt x="564" y="314"/>
                    </a:lnTo>
                    <a:lnTo>
                      <a:pt x="584" y="330"/>
                    </a:lnTo>
                    <a:lnTo>
                      <a:pt x="593" y="338"/>
                    </a:lnTo>
                    <a:lnTo>
                      <a:pt x="600" y="345"/>
                    </a:lnTo>
                    <a:lnTo>
                      <a:pt x="600" y="345"/>
                    </a:lnTo>
                    <a:lnTo>
                      <a:pt x="604" y="352"/>
                    </a:lnTo>
                    <a:lnTo>
                      <a:pt x="609" y="360"/>
                    </a:lnTo>
                    <a:lnTo>
                      <a:pt x="616" y="379"/>
                    </a:lnTo>
                    <a:lnTo>
                      <a:pt x="623" y="397"/>
                    </a:lnTo>
                    <a:lnTo>
                      <a:pt x="630" y="418"/>
                    </a:lnTo>
                    <a:lnTo>
                      <a:pt x="637" y="437"/>
                    </a:lnTo>
                    <a:lnTo>
                      <a:pt x="643" y="456"/>
                    </a:lnTo>
                    <a:lnTo>
                      <a:pt x="652" y="474"/>
                    </a:lnTo>
                    <a:lnTo>
                      <a:pt x="656" y="481"/>
                    </a:lnTo>
                    <a:lnTo>
                      <a:pt x="662" y="489"/>
                    </a:lnTo>
                    <a:lnTo>
                      <a:pt x="662" y="489"/>
                    </a:lnTo>
                    <a:lnTo>
                      <a:pt x="655" y="493"/>
                    </a:lnTo>
                    <a:lnTo>
                      <a:pt x="650" y="497"/>
                    </a:lnTo>
                    <a:lnTo>
                      <a:pt x="647" y="503"/>
                    </a:lnTo>
                    <a:lnTo>
                      <a:pt x="643" y="511"/>
                    </a:lnTo>
                    <a:lnTo>
                      <a:pt x="643" y="511"/>
                    </a:lnTo>
                    <a:lnTo>
                      <a:pt x="634" y="513"/>
                    </a:lnTo>
                    <a:lnTo>
                      <a:pt x="625" y="514"/>
                    </a:lnTo>
                    <a:lnTo>
                      <a:pt x="625" y="514"/>
                    </a:lnTo>
                    <a:lnTo>
                      <a:pt x="611" y="516"/>
                    </a:lnTo>
                    <a:lnTo>
                      <a:pt x="599" y="518"/>
                    </a:lnTo>
                    <a:lnTo>
                      <a:pt x="587" y="520"/>
                    </a:lnTo>
                    <a:lnTo>
                      <a:pt x="577" y="524"/>
                    </a:lnTo>
                    <a:lnTo>
                      <a:pt x="555" y="531"/>
                    </a:lnTo>
                    <a:lnTo>
                      <a:pt x="542" y="532"/>
                    </a:lnTo>
                    <a:lnTo>
                      <a:pt x="530" y="533"/>
                    </a:lnTo>
                    <a:lnTo>
                      <a:pt x="530" y="533"/>
                    </a:lnTo>
                    <a:lnTo>
                      <a:pt x="524" y="533"/>
                    </a:lnTo>
                    <a:lnTo>
                      <a:pt x="519" y="532"/>
                    </a:lnTo>
                    <a:lnTo>
                      <a:pt x="510" y="527"/>
                    </a:lnTo>
                    <a:lnTo>
                      <a:pt x="501" y="524"/>
                    </a:lnTo>
                    <a:lnTo>
                      <a:pt x="497" y="522"/>
                    </a:lnTo>
                    <a:lnTo>
                      <a:pt x="493" y="521"/>
                    </a:lnTo>
                    <a:lnTo>
                      <a:pt x="493" y="521"/>
                    </a:lnTo>
                    <a:lnTo>
                      <a:pt x="484" y="522"/>
                    </a:lnTo>
                    <a:lnTo>
                      <a:pt x="475" y="525"/>
                    </a:lnTo>
                    <a:lnTo>
                      <a:pt x="459" y="532"/>
                    </a:lnTo>
                    <a:lnTo>
                      <a:pt x="451" y="535"/>
                    </a:lnTo>
                    <a:lnTo>
                      <a:pt x="443" y="537"/>
                    </a:lnTo>
                    <a:lnTo>
                      <a:pt x="434" y="540"/>
                    </a:lnTo>
                    <a:lnTo>
                      <a:pt x="424" y="541"/>
                    </a:lnTo>
                    <a:lnTo>
                      <a:pt x="424" y="541"/>
                    </a:lnTo>
                    <a:lnTo>
                      <a:pt x="412" y="542"/>
                    </a:lnTo>
                    <a:lnTo>
                      <a:pt x="402" y="544"/>
                    </a:lnTo>
                    <a:lnTo>
                      <a:pt x="395" y="548"/>
                    </a:lnTo>
                    <a:lnTo>
                      <a:pt x="388" y="554"/>
                    </a:lnTo>
                    <a:lnTo>
                      <a:pt x="383" y="560"/>
                    </a:lnTo>
                    <a:lnTo>
                      <a:pt x="379" y="567"/>
                    </a:lnTo>
                    <a:lnTo>
                      <a:pt x="373" y="582"/>
                    </a:lnTo>
                    <a:lnTo>
                      <a:pt x="367" y="598"/>
                    </a:lnTo>
                    <a:lnTo>
                      <a:pt x="364" y="605"/>
                    </a:lnTo>
                    <a:lnTo>
                      <a:pt x="359" y="611"/>
                    </a:lnTo>
                    <a:lnTo>
                      <a:pt x="355" y="617"/>
                    </a:lnTo>
                    <a:lnTo>
                      <a:pt x="349" y="621"/>
                    </a:lnTo>
                    <a:lnTo>
                      <a:pt x="341" y="624"/>
                    </a:lnTo>
                    <a:lnTo>
                      <a:pt x="332" y="625"/>
                    </a:lnTo>
                    <a:lnTo>
                      <a:pt x="332" y="625"/>
                    </a:lnTo>
                    <a:lnTo>
                      <a:pt x="326" y="624"/>
                    </a:lnTo>
                    <a:lnTo>
                      <a:pt x="320" y="623"/>
                    </a:lnTo>
                    <a:lnTo>
                      <a:pt x="309" y="619"/>
                    </a:lnTo>
                    <a:lnTo>
                      <a:pt x="298" y="615"/>
                    </a:lnTo>
                    <a:lnTo>
                      <a:pt x="291" y="610"/>
                    </a:lnTo>
                    <a:lnTo>
                      <a:pt x="291" y="610"/>
                    </a:lnTo>
                    <a:lnTo>
                      <a:pt x="290" y="588"/>
                    </a:lnTo>
                    <a:lnTo>
                      <a:pt x="289" y="571"/>
                    </a:lnTo>
                    <a:lnTo>
                      <a:pt x="287" y="543"/>
                    </a:lnTo>
                    <a:lnTo>
                      <a:pt x="286" y="533"/>
                    </a:lnTo>
                    <a:lnTo>
                      <a:pt x="286" y="524"/>
                    </a:lnTo>
                    <a:lnTo>
                      <a:pt x="288" y="516"/>
                    </a:lnTo>
                    <a:lnTo>
                      <a:pt x="291" y="507"/>
                    </a:lnTo>
                    <a:lnTo>
                      <a:pt x="291" y="507"/>
                    </a:lnTo>
                    <a:lnTo>
                      <a:pt x="284" y="506"/>
                    </a:lnTo>
                    <a:lnTo>
                      <a:pt x="282" y="505"/>
                    </a:lnTo>
                    <a:lnTo>
                      <a:pt x="282" y="504"/>
                    </a:lnTo>
                    <a:lnTo>
                      <a:pt x="280" y="504"/>
                    </a:lnTo>
                    <a:lnTo>
                      <a:pt x="280" y="504"/>
                    </a:lnTo>
                    <a:lnTo>
                      <a:pt x="271" y="486"/>
                    </a:lnTo>
                    <a:lnTo>
                      <a:pt x="255" y="457"/>
                    </a:lnTo>
                    <a:lnTo>
                      <a:pt x="232" y="419"/>
                    </a:lnTo>
                    <a:lnTo>
                      <a:pt x="232" y="419"/>
                    </a:lnTo>
                    <a:lnTo>
                      <a:pt x="211" y="419"/>
                    </a:lnTo>
                    <a:lnTo>
                      <a:pt x="211" y="419"/>
                    </a:lnTo>
                    <a:lnTo>
                      <a:pt x="205" y="418"/>
                    </a:lnTo>
                    <a:lnTo>
                      <a:pt x="202" y="417"/>
                    </a:lnTo>
                    <a:lnTo>
                      <a:pt x="198" y="414"/>
                    </a:lnTo>
                    <a:lnTo>
                      <a:pt x="196" y="410"/>
                    </a:lnTo>
                    <a:lnTo>
                      <a:pt x="192" y="402"/>
                    </a:lnTo>
                    <a:lnTo>
                      <a:pt x="190" y="391"/>
                    </a:lnTo>
                    <a:lnTo>
                      <a:pt x="188" y="373"/>
                    </a:lnTo>
                    <a:lnTo>
                      <a:pt x="186" y="366"/>
                    </a:lnTo>
                    <a:lnTo>
                      <a:pt x="183" y="365"/>
                    </a:lnTo>
                    <a:lnTo>
                      <a:pt x="181" y="364"/>
                    </a:lnTo>
                    <a:lnTo>
                      <a:pt x="181" y="364"/>
                    </a:lnTo>
                    <a:lnTo>
                      <a:pt x="156" y="364"/>
                    </a:lnTo>
                    <a:lnTo>
                      <a:pt x="156" y="364"/>
                    </a:lnTo>
                    <a:lnTo>
                      <a:pt x="151" y="364"/>
                    </a:lnTo>
                    <a:lnTo>
                      <a:pt x="146" y="363"/>
                    </a:lnTo>
                    <a:lnTo>
                      <a:pt x="142" y="361"/>
                    </a:lnTo>
                    <a:lnTo>
                      <a:pt x="138" y="359"/>
                    </a:lnTo>
                    <a:lnTo>
                      <a:pt x="135" y="356"/>
                    </a:lnTo>
                    <a:lnTo>
                      <a:pt x="131" y="351"/>
                    </a:lnTo>
                    <a:lnTo>
                      <a:pt x="130" y="346"/>
                    </a:lnTo>
                    <a:lnTo>
                      <a:pt x="129" y="342"/>
                    </a:lnTo>
                    <a:lnTo>
                      <a:pt x="129" y="342"/>
                    </a:lnTo>
                    <a:lnTo>
                      <a:pt x="130" y="335"/>
                    </a:lnTo>
                    <a:lnTo>
                      <a:pt x="134" y="328"/>
                    </a:lnTo>
                    <a:lnTo>
                      <a:pt x="138" y="323"/>
                    </a:lnTo>
                    <a:lnTo>
                      <a:pt x="144" y="318"/>
                    </a:lnTo>
                    <a:lnTo>
                      <a:pt x="150" y="313"/>
                    </a:lnTo>
                    <a:lnTo>
                      <a:pt x="154" y="307"/>
                    </a:lnTo>
                    <a:lnTo>
                      <a:pt x="157" y="302"/>
                    </a:lnTo>
                    <a:lnTo>
                      <a:pt x="159" y="295"/>
                    </a:lnTo>
                    <a:lnTo>
                      <a:pt x="159" y="295"/>
                    </a:lnTo>
                    <a:lnTo>
                      <a:pt x="158" y="284"/>
                    </a:lnTo>
                    <a:lnTo>
                      <a:pt x="156" y="275"/>
                    </a:lnTo>
                    <a:lnTo>
                      <a:pt x="152" y="267"/>
                    </a:lnTo>
                    <a:lnTo>
                      <a:pt x="148" y="260"/>
                    </a:lnTo>
                    <a:lnTo>
                      <a:pt x="143" y="253"/>
                    </a:lnTo>
                    <a:lnTo>
                      <a:pt x="136" y="247"/>
                    </a:lnTo>
                    <a:lnTo>
                      <a:pt x="123" y="238"/>
                    </a:lnTo>
                    <a:lnTo>
                      <a:pt x="108" y="229"/>
                    </a:lnTo>
                    <a:lnTo>
                      <a:pt x="93" y="221"/>
                    </a:lnTo>
                    <a:lnTo>
                      <a:pt x="87" y="216"/>
                    </a:lnTo>
                    <a:lnTo>
                      <a:pt x="81" y="211"/>
                    </a:lnTo>
                    <a:lnTo>
                      <a:pt x="75" y="205"/>
                    </a:lnTo>
                    <a:lnTo>
                      <a:pt x="70" y="198"/>
                    </a:lnTo>
                    <a:lnTo>
                      <a:pt x="70" y="198"/>
                    </a:lnTo>
                    <a:lnTo>
                      <a:pt x="67" y="193"/>
                    </a:lnTo>
                    <a:lnTo>
                      <a:pt x="64" y="190"/>
                    </a:lnTo>
                    <a:lnTo>
                      <a:pt x="59" y="186"/>
                    </a:lnTo>
                    <a:lnTo>
                      <a:pt x="53" y="184"/>
                    </a:lnTo>
                    <a:lnTo>
                      <a:pt x="42" y="181"/>
                    </a:lnTo>
                    <a:lnTo>
                      <a:pt x="30" y="177"/>
                    </a:lnTo>
                    <a:lnTo>
                      <a:pt x="19" y="174"/>
                    </a:lnTo>
                    <a:lnTo>
                      <a:pt x="14" y="170"/>
                    </a:lnTo>
                    <a:lnTo>
                      <a:pt x="9" y="167"/>
                    </a:lnTo>
                    <a:lnTo>
                      <a:pt x="6" y="162"/>
                    </a:lnTo>
                    <a:lnTo>
                      <a:pt x="3" y="157"/>
                    </a:lnTo>
                    <a:lnTo>
                      <a:pt x="1" y="148"/>
                    </a:lnTo>
                    <a:lnTo>
                      <a:pt x="0" y="140"/>
                    </a:lnTo>
                    <a:lnTo>
                      <a:pt x="0" y="140"/>
                    </a:lnTo>
                    <a:lnTo>
                      <a:pt x="1" y="132"/>
                    </a:lnTo>
                    <a:lnTo>
                      <a:pt x="3" y="124"/>
                    </a:lnTo>
                    <a:lnTo>
                      <a:pt x="6" y="112"/>
                    </a:lnTo>
                    <a:lnTo>
                      <a:pt x="9" y="99"/>
                    </a:lnTo>
                    <a:lnTo>
                      <a:pt x="11" y="94"/>
                    </a:lnTo>
                    <a:lnTo>
                      <a:pt x="12" y="89"/>
                    </a:lnTo>
                    <a:lnTo>
                      <a:pt x="12" y="89"/>
                    </a:lnTo>
                    <a:lnTo>
                      <a:pt x="12" y="59"/>
                    </a:lnTo>
                    <a:lnTo>
                      <a:pt x="12" y="59"/>
                    </a:lnTo>
                    <a:lnTo>
                      <a:pt x="82" y="12"/>
                    </a:lnTo>
                    <a:lnTo>
                      <a:pt x="82" y="12"/>
                    </a:lnTo>
                    <a:lnTo>
                      <a:pt x="82" y="12"/>
                    </a:lnTo>
                    <a:lnTo>
                      <a:pt x="91" y="8"/>
                    </a:lnTo>
                    <a:lnTo>
                      <a:pt x="99" y="5"/>
                    </a:lnTo>
                    <a:lnTo>
                      <a:pt x="108" y="1"/>
                    </a:lnTo>
                    <a:lnTo>
                      <a:pt x="113" y="0"/>
                    </a:lnTo>
                    <a:lnTo>
                      <a:pt x="118" y="0"/>
                    </a:lnTo>
                    <a:lnTo>
                      <a:pt x="118" y="0"/>
                    </a:lnTo>
                    <a:lnTo>
                      <a:pt x="123" y="1"/>
                    </a:lnTo>
                    <a:lnTo>
                      <a:pt x="128" y="2"/>
                    </a:lnTo>
                    <a:lnTo>
                      <a:pt x="137" y="7"/>
                    </a:lnTo>
                    <a:lnTo>
                      <a:pt x="148" y="14"/>
                    </a:lnTo>
                    <a:lnTo>
                      <a:pt x="157" y="23"/>
                    </a:lnTo>
                    <a:lnTo>
                      <a:pt x="165" y="32"/>
                    </a:lnTo>
                    <a:lnTo>
                      <a:pt x="173" y="43"/>
                    </a:lnTo>
                    <a:lnTo>
                      <a:pt x="184" y="59"/>
                    </a:lnTo>
                    <a:lnTo>
                      <a:pt x="184" y="59"/>
                    </a:lnTo>
                    <a:lnTo>
                      <a:pt x="188" y="62"/>
                    </a:lnTo>
                    <a:lnTo>
                      <a:pt x="192" y="66"/>
                    </a:lnTo>
                    <a:lnTo>
                      <a:pt x="198" y="68"/>
                    </a:lnTo>
                    <a:lnTo>
                      <a:pt x="204" y="69"/>
                    </a:lnTo>
                    <a:lnTo>
                      <a:pt x="215" y="71"/>
                    </a:lnTo>
                    <a:lnTo>
                      <a:pt x="228" y="74"/>
                    </a:lnTo>
                    <a:lnTo>
                      <a:pt x="241" y="76"/>
                    </a:lnTo>
                    <a:lnTo>
                      <a:pt x="245" y="78"/>
                    </a:lnTo>
                    <a:lnTo>
                      <a:pt x="250" y="81"/>
                    </a:lnTo>
                    <a:lnTo>
                      <a:pt x="255" y="84"/>
                    </a:lnTo>
                    <a:lnTo>
                      <a:pt x="258" y="89"/>
                    </a:lnTo>
                    <a:lnTo>
                      <a:pt x="260" y="93"/>
                    </a:lnTo>
                    <a:lnTo>
                      <a:pt x="261" y="100"/>
                    </a:lnTo>
                    <a:lnTo>
                      <a:pt x="261" y="100"/>
                    </a:lnTo>
                    <a:lnTo>
                      <a:pt x="263" y="106"/>
                    </a:lnTo>
                    <a:lnTo>
                      <a:pt x="265" y="112"/>
                    </a:lnTo>
                    <a:lnTo>
                      <a:pt x="267" y="116"/>
                    </a:lnTo>
                    <a:lnTo>
                      <a:pt x="271" y="121"/>
                    </a:lnTo>
                    <a:lnTo>
                      <a:pt x="278" y="128"/>
                    </a:lnTo>
                    <a:lnTo>
                      <a:pt x="287" y="134"/>
                    </a:lnTo>
                    <a:lnTo>
                      <a:pt x="297" y="137"/>
                    </a:lnTo>
                    <a:lnTo>
                      <a:pt x="309" y="140"/>
                    </a:lnTo>
                    <a:lnTo>
                      <a:pt x="334" y="144"/>
                    </a:lnTo>
                    <a:lnTo>
                      <a:pt x="359" y="147"/>
                    </a:lnTo>
                    <a:lnTo>
                      <a:pt x="372" y="150"/>
                    </a:lnTo>
                    <a:lnTo>
                      <a:pt x="385" y="153"/>
                    </a:lnTo>
                    <a:lnTo>
                      <a:pt x="395" y="157"/>
                    </a:lnTo>
                    <a:lnTo>
                      <a:pt x="405" y="162"/>
                    </a:lnTo>
                    <a:lnTo>
                      <a:pt x="413" y="170"/>
                    </a:lnTo>
                    <a:lnTo>
                      <a:pt x="417" y="175"/>
                    </a:lnTo>
                    <a:lnTo>
                      <a:pt x="419" y="180"/>
                    </a:lnTo>
                    <a:lnTo>
                      <a:pt x="419" y="180"/>
                    </a:lnTo>
                    <a:lnTo>
                      <a:pt x="419" y="188"/>
                    </a:lnTo>
                    <a:lnTo>
                      <a:pt x="419" y="188"/>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7" name="Freeform 72"/>
              <p:cNvSpPr>
                <a:spLocks noChangeAspect="1"/>
              </p:cNvSpPr>
              <p:nvPr/>
            </p:nvSpPr>
            <p:spPr bwMode="auto">
              <a:xfrm>
                <a:off x="1286380" y="4032070"/>
                <a:ext cx="291660" cy="283882"/>
              </a:xfrm>
              <a:custGeom>
                <a:avLst/>
                <a:gdLst/>
                <a:ahLst/>
                <a:cxnLst>
                  <a:cxn ang="0">
                    <a:pos x="302" y="403"/>
                  </a:cxn>
                  <a:cxn ang="0">
                    <a:pos x="311" y="387"/>
                  </a:cxn>
                  <a:cxn ang="0">
                    <a:pos x="347" y="358"/>
                  </a:cxn>
                  <a:cxn ang="0">
                    <a:pos x="364" y="335"/>
                  </a:cxn>
                  <a:cxn ang="0">
                    <a:pos x="368" y="321"/>
                  </a:cxn>
                  <a:cxn ang="0">
                    <a:pos x="362" y="307"/>
                  </a:cxn>
                  <a:cxn ang="0">
                    <a:pos x="352" y="298"/>
                  </a:cxn>
                  <a:cxn ang="0">
                    <a:pos x="349" y="288"/>
                  </a:cxn>
                  <a:cxn ang="0">
                    <a:pos x="359" y="262"/>
                  </a:cxn>
                  <a:cxn ang="0">
                    <a:pos x="367" y="242"/>
                  </a:cxn>
                  <a:cxn ang="0">
                    <a:pos x="367" y="218"/>
                  </a:cxn>
                  <a:cxn ang="0">
                    <a:pos x="361" y="200"/>
                  </a:cxn>
                  <a:cxn ang="0">
                    <a:pos x="349" y="192"/>
                  </a:cxn>
                  <a:cxn ang="0">
                    <a:pos x="349" y="170"/>
                  </a:cxn>
                  <a:cxn ang="0">
                    <a:pos x="338" y="167"/>
                  </a:cxn>
                  <a:cxn ang="0">
                    <a:pos x="309" y="146"/>
                  </a:cxn>
                  <a:cxn ang="0">
                    <a:pos x="285" y="130"/>
                  </a:cxn>
                  <a:cxn ang="0">
                    <a:pos x="268" y="126"/>
                  </a:cxn>
                  <a:cxn ang="0">
                    <a:pos x="256" y="130"/>
                  </a:cxn>
                  <a:cxn ang="0">
                    <a:pos x="245" y="143"/>
                  </a:cxn>
                  <a:cxn ang="0">
                    <a:pos x="232" y="151"/>
                  </a:cxn>
                  <a:cxn ang="0">
                    <a:pos x="217" y="146"/>
                  </a:cxn>
                  <a:cxn ang="0">
                    <a:pos x="207" y="126"/>
                  </a:cxn>
                  <a:cxn ang="0">
                    <a:pos x="201" y="76"/>
                  </a:cxn>
                  <a:cxn ang="0">
                    <a:pos x="192" y="52"/>
                  </a:cxn>
                  <a:cxn ang="0">
                    <a:pos x="170" y="42"/>
                  </a:cxn>
                  <a:cxn ang="0">
                    <a:pos x="162" y="43"/>
                  </a:cxn>
                  <a:cxn ang="0">
                    <a:pos x="141" y="52"/>
                  </a:cxn>
                  <a:cxn ang="0">
                    <a:pos x="128" y="51"/>
                  </a:cxn>
                  <a:cxn ang="0">
                    <a:pos x="103" y="35"/>
                  </a:cxn>
                  <a:cxn ang="0">
                    <a:pos x="84" y="9"/>
                  </a:cxn>
                  <a:cxn ang="0">
                    <a:pos x="74" y="4"/>
                  </a:cxn>
                  <a:cxn ang="0">
                    <a:pos x="59" y="17"/>
                  </a:cxn>
                  <a:cxn ang="0">
                    <a:pos x="53" y="35"/>
                  </a:cxn>
                  <a:cxn ang="0">
                    <a:pos x="51" y="159"/>
                  </a:cxn>
                  <a:cxn ang="0">
                    <a:pos x="50" y="172"/>
                  </a:cxn>
                  <a:cxn ang="0">
                    <a:pos x="39" y="190"/>
                  </a:cxn>
                  <a:cxn ang="0">
                    <a:pos x="5" y="215"/>
                  </a:cxn>
                  <a:cxn ang="0">
                    <a:pos x="0" y="221"/>
                  </a:cxn>
                  <a:cxn ang="0">
                    <a:pos x="5" y="222"/>
                  </a:cxn>
                  <a:cxn ang="0">
                    <a:pos x="30" y="235"/>
                  </a:cxn>
                  <a:cxn ang="0">
                    <a:pos x="55" y="264"/>
                  </a:cxn>
                  <a:cxn ang="0">
                    <a:pos x="70" y="283"/>
                  </a:cxn>
                  <a:cxn ang="0">
                    <a:pos x="86" y="290"/>
                  </a:cxn>
                  <a:cxn ang="0">
                    <a:pos x="123" y="297"/>
                  </a:cxn>
                  <a:cxn ang="0">
                    <a:pos x="137" y="305"/>
                  </a:cxn>
                  <a:cxn ang="0">
                    <a:pos x="143" y="321"/>
                  </a:cxn>
                  <a:cxn ang="0">
                    <a:pos x="147" y="333"/>
                  </a:cxn>
                  <a:cxn ang="0">
                    <a:pos x="160" y="349"/>
                  </a:cxn>
                  <a:cxn ang="0">
                    <a:pos x="191" y="361"/>
                  </a:cxn>
                  <a:cxn ang="0">
                    <a:pos x="254" y="371"/>
                  </a:cxn>
                  <a:cxn ang="0">
                    <a:pos x="287" y="383"/>
                  </a:cxn>
                  <a:cxn ang="0">
                    <a:pos x="301" y="401"/>
                  </a:cxn>
                  <a:cxn ang="0">
                    <a:pos x="301" y="409"/>
                  </a:cxn>
                </a:cxnLst>
                <a:rect l="0" t="0" r="r" b="b"/>
                <a:pathLst>
                  <a:path w="368" h="409">
                    <a:moveTo>
                      <a:pt x="301" y="409"/>
                    </a:moveTo>
                    <a:lnTo>
                      <a:pt x="301" y="409"/>
                    </a:lnTo>
                    <a:lnTo>
                      <a:pt x="302" y="403"/>
                    </a:lnTo>
                    <a:lnTo>
                      <a:pt x="305" y="397"/>
                    </a:lnTo>
                    <a:lnTo>
                      <a:pt x="308" y="391"/>
                    </a:lnTo>
                    <a:lnTo>
                      <a:pt x="311" y="387"/>
                    </a:lnTo>
                    <a:lnTo>
                      <a:pt x="323" y="378"/>
                    </a:lnTo>
                    <a:lnTo>
                      <a:pt x="334" y="367"/>
                    </a:lnTo>
                    <a:lnTo>
                      <a:pt x="347" y="358"/>
                    </a:lnTo>
                    <a:lnTo>
                      <a:pt x="357" y="346"/>
                    </a:lnTo>
                    <a:lnTo>
                      <a:pt x="361" y="341"/>
                    </a:lnTo>
                    <a:lnTo>
                      <a:pt x="364" y="335"/>
                    </a:lnTo>
                    <a:lnTo>
                      <a:pt x="367" y="328"/>
                    </a:lnTo>
                    <a:lnTo>
                      <a:pt x="368" y="321"/>
                    </a:lnTo>
                    <a:lnTo>
                      <a:pt x="368" y="321"/>
                    </a:lnTo>
                    <a:lnTo>
                      <a:pt x="367" y="314"/>
                    </a:lnTo>
                    <a:lnTo>
                      <a:pt x="364" y="311"/>
                    </a:lnTo>
                    <a:lnTo>
                      <a:pt x="362" y="307"/>
                    </a:lnTo>
                    <a:lnTo>
                      <a:pt x="359" y="304"/>
                    </a:lnTo>
                    <a:lnTo>
                      <a:pt x="355" y="302"/>
                    </a:lnTo>
                    <a:lnTo>
                      <a:pt x="352" y="298"/>
                    </a:lnTo>
                    <a:lnTo>
                      <a:pt x="351" y="294"/>
                    </a:lnTo>
                    <a:lnTo>
                      <a:pt x="349" y="288"/>
                    </a:lnTo>
                    <a:lnTo>
                      <a:pt x="349" y="288"/>
                    </a:lnTo>
                    <a:lnTo>
                      <a:pt x="351" y="280"/>
                    </a:lnTo>
                    <a:lnTo>
                      <a:pt x="352" y="274"/>
                    </a:lnTo>
                    <a:lnTo>
                      <a:pt x="359" y="262"/>
                    </a:lnTo>
                    <a:lnTo>
                      <a:pt x="362" y="257"/>
                    </a:lnTo>
                    <a:lnTo>
                      <a:pt x="364" y="250"/>
                    </a:lnTo>
                    <a:lnTo>
                      <a:pt x="367" y="242"/>
                    </a:lnTo>
                    <a:lnTo>
                      <a:pt x="368" y="233"/>
                    </a:lnTo>
                    <a:lnTo>
                      <a:pt x="368" y="233"/>
                    </a:lnTo>
                    <a:lnTo>
                      <a:pt x="367" y="218"/>
                    </a:lnTo>
                    <a:lnTo>
                      <a:pt x="366" y="211"/>
                    </a:lnTo>
                    <a:lnTo>
                      <a:pt x="364" y="205"/>
                    </a:lnTo>
                    <a:lnTo>
                      <a:pt x="361" y="200"/>
                    </a:lnTo>
                    <a:lnTo>
                      <a:pt x="359" y="197"/>
                    </a:lnTo>
                    <a:lnTo>
                      <a:pt x="354" y="193"/>
                    </a:lnTo>
                    <a:lnTo>
                      <a:pt x="349" y="192"/>
                    </a:lnTo>
                    <a:lnTo>
                      <a:pt x="349" y="192"/>
                    </a:lnTo>
                    <a:lnTo>
                      <a:pt x="349" y="170"/>
                    </a:lnTo>
                    <a:lnTo>
                      <a:pt x="349" y="170"/>
                    </a:lnTo>
                    <a:lnTo>
                      <a:pt x="349" y="170"/>
                    </a:lnTo>
                    <a:lnTo>
                      <a:pt x="344" y="169"/>
                    </a:lnTo>
                    <a:lnTo>
                      <a:pt x="338" y="167"/>
                    </a:lnTo>
                    <a:lnTo>
                      <a:pt x="328" y="161"/>
                    </a:lnTo>
                    <a:lnTo>
                      <a:pt x="318" y="154"/>
                    </a:lnTo>
                    <a:lnTo>
                      <a:pt x="309" y="146"/>
                    </a:lnTo>
                    <a:lnTo>
                      <a:pt x="300" y="139"/>
                    </a:lnTo>
                    <a:lnTo>
                      <a:pt x="291" y="132"/>
                    </a:lnTo>
                    <a:lnTo>
                      <a:pt x="285" y="130"/>
                    </a:lnTo>
                    <a:lnTo>
                      <a:pt x="280" y="128"/>
                    </a:lnTo>
                    <a:lnTo>
                      <a:pt x="275" y="127"/>
                    </a:lnTo>
                    <a:lnTo>
                      <a:pt x="268" y="126"/>
                    </a:lnTo>
                    <a:lnTo>
                      <a:pt x="268" y="126"/>
                    </a:lnTo>
                    <a:lnTo>
                      <a:pt x="262" y="127"/>
                    </a:lnTo>
                    <a:lnTo>
                      <a:pt x="256" y="130"/>
                    </a:lnTo>
                    <a:lnTo>
                      <a:pt x="253" y="134"/>
                    </a:lnTo>
                    <a:lnTo>
                      <a:pt x="248" y="138"/>
                    </a:lnTo>
                    <a:lnTo>
                      <a:pt x="245" y="143"/>
                    </a:lnTo>
                    <a:lnTo>
                      <a:pt x="241" y="147"/>
                    </a:lnTo>
                    <a:lnTo>
                      <a:pt x="237" y="150"/>
                    </a:lnTo>
                    <a:lnTo>
                      <a:pt x="232" y="151"/>
                    </a:lnTo>
                    <a:lnTo>
                      <a:pt x="232" y="151"/>
                    </a:lnTo>
                    <a:lnTo>
                      <a:pt x="224" y="150"/>
                    </a:lnTo>
                    <a:lnTo>
                      <a:pt x="217" y="146"/>
                    </a:lnTo>
                    <a:lnTo>
                      <a:pt x="212" y="140"/>
                    </a:lnTo>
                    <a:lnTo>
                      <a:pt x="209" y="134"/>
                    </a:lnTo>
                    <a:lnTo>
                      <a:pt x="207" y="126"/>
                    </a:lnTo>
                    <a:lnTo>
                      <a:pt x="206" y="116"/>
                    </a:lnTo>
                    <a:lnTo>
                      <a:pt x="203" y="97"/>
                    </a:lnTo>
                    <a:lnTo>
                      <a:pt x="201" y="76"/>
                    </a:lnTo>
                    <a:lnTo>
                      <a:pt x="199" y="67"/>
                    </a:lnTo>
                    <a:lnTo>
                      <a:pt x="195" y="59"/>
                    </a:lnTo>
                    <a:lnTo>
                      <a:pt x="192" y="52"/>
                    </a:lnTo>
                    <a:lnTo>
                      <a:pt x="186" y="46"/>
                    </a:lnTo>
                    <a:lnTo>
                      <a:pt x="178" y="43"/>
                    </a:lnTo>
                    <a:lnTo>
                      <a:pt x="170" y="42"/>
                    </a:lnTo>
                    <a:lnTo>
                      <a:pt x="170" y="42"/>
                    </a:lnTo>
                    <a:lnTo>
                      <a:pt x="165" y="42"/>
                    </a:lnTo>
                    <a:lnTo>
                      <a:pt x="162" y="43"/>
                    </a:lnTo>
                    <a:lnTo>
                      <a:pt x="154" y="47"/>
                    </a:lnTo>
                    <a:lnTo>
                      <a:pt x="146" y="51"/>
                    </a:lnTo>
                    <a:lnTo>
                      <a:pt x="141" y="52"/>
                    </a:lnTo>
                    <a:lnTo>
                      <a:pt x="137" y="53"/>
                    </a:lnTo>
                    <a:lnTo>
                      <a:pt x="137" y="53"/>
                    </a:lnTo>
                    <a:lnTo>
                      <a:pt x="128" y="51"/>
                    </a:lnTo>
                    <a:lnTo>
                      <a:pt x="120" y="47"/>
                    </a:lnTo>
                    <a:lnTo>
                      <a:pt x="111" y="42"/>
                    </a:lnTo>
                    <a:lnTo>
                      <a:pt x="103" y="35"/>
                    </a:lnTo>
                    <a:lnTo>
                      <a:pt x="95" y="27"/>
                    </a:lnTo>
                    <a:lnTo>
                      <a:pt x="88" y="19"/>
                    </a:lnTo>
                    <a:lnTo>
                      <a:pt x="84" y="9"/>
                    </a:lnTo>
                    <a:lnTo>
                      <a:pt x="81" y="0"/>
                    </a:lnTo>
                    <a:lnTo>
                      <a:pt x="81" y="0"/>
                    </a:lnTo>
                    <a:lnTo>
                      <a:pt x="74" y="4"/>
                    </a:lnTo>
                    <a:lnTo>
                      <a:pt x="69" y="8"/>
                    </a:lnTo>
                    <a:lnTo>
                      <a:pt x="64" y="12"/>
                    </a:lnTo>
                    <a:lnTo>
                      <a:pt x="59" y="17"/>
                    </a:lnTo>
                    <a:lnTo>
                      <a:pt x="56" y="22"/>
                    </a:lnTo>
                    <a:lnTo>
                      <a:pt x="54" y="29"/>
                    </a:lnTo>
                    <a:lnTo>
                      <a:pt x="53" y="35"/>
                    </a:lnTo>
                    <a:lnTo>
                      <a:pt x="51" y="42"/>
                    </a:lnTo>
                    <a:lnTo>
                      <a:pt x="51" y="42"/>
                    </a:lnTo>
                    <a:lnTo>
                      <a:pt x="51" y="159"/>
                    </a:lnTo>
                    <a:lnTo>
                      <a:pt x="51" y="159"/>
                    </a:lnTo>
                    <a:lnTo>
                      <a:pt x="51" y="166"/>
                    </a:lnTo>
                    <a:lnTo>
                      <a:pt x="50" y="172"/>
                    </a:lnTo>
                    <a:lnTo>
                      <a:pt x="48" y="176"/>
                    </a:lnTo>
                    <a:lnTo>
                      <a:pt x="46" y="182"/>
                    </a:lnTo>
                    <a:lnTo>
                      <a:pt x="39" y="190"/>
                    </a:lnTo>
                    <a:lnTo>
                      <a:pt x="30" y="197"/>
                    </a:lnTo>
                    <a:lnTo>
                      <a:pt x="12" y="208"/>
                    </a:lnTo>
                    <a:lnTo>
                      <a:pt x="5" y="215"/>
                    </a:lnTo>
                    <a:lnTo>
                      <a:pt x="0" y="221"/>
                    </a:lnTo>
                    <a:lnTo>
                      <a:pt x="0" y="221"/>
                    </a:lnTo>
                    <a:lnTo>
                      <a:pt x="0" y="221"/>
                    </a:lnTo>
                    <a:lnTo>
                      <a:pt x="0" y="221"/>
                    </a:lnTo>
                    <a:lnTo>
                      <a:pt x="0" y="221"/>
                    </a:lnTo>
                    <a:lnTo>
                      <a:pt x="5" y="222"/>
                    </a:lnTo>
                    <a:lnTo>
                      <a:pt x="10" y="223"/>
                    </a:lnTo>
                    <a:lnTo>
                      <a:pt x="19" y="228"/>
                    </a:lnTo>
                    <a:lnTo>
                      <a:pt x="30" y="235"/>
                    </a:lnTo>
                    <a:lnTo>
                      <a:pt x="39" y="244"/>
                    </a:lnTo>
                    <a:lnTo>
                      <a:pt x="47" y="253"/>
                    </a:lnTo>
                    <a:lnTo>
                      <a:pt x="55" y="264"/>
                    </a:lnTo>
                    <a:lnTo>
                      <a:pt x="66" y="280"/>
                    </a:lnTo>
                    <a:lnTo>
                      <a:pt x="66" y="280"/>
                    </a:lnTo>
                    <a:lnTo>
                      <a:pt x="70" y="283"/>
                    </a:lnTo>
                    <a:lnTo>
                      <a:pt x="74" y="287"/>
                    </a:lnTo>
                    <a:lnTo>
                      <a:pt x="80" y="289"/>
                    </a:lnTo>
                    <a:lnTo>
                      <a:pt x="86" y="290"/>
                    </a:lnTo>
                    <a:lnTo>
                      <a:pt x="97" y="292"/>
                    </a:lnTo>
                    <a:lnTo>
                      <a:pt x="110" y="295"/>
                    </a:lnTo>
                    <a:lnTo>
                      <a:pt x="123" y="297"/>
                    </a:lnTo>
                    <a:lnTo>
                      <a:pt x="127" y="299"/>
                    </a:lnTo>
                    <a:lnTo>
                      <a:pt x="132" y="302"/>
                    </a:lnTo>
                    <a:lnTo>
                      <a:pt x="137" y="305"/>
                    </a:lnTo>
                    <a:lnTo>
                      <a:pt x="140" y="310"/>
                    </a:lnTo>
                    <a:lnTo>
                      <a:pt x="142" y="314"/>
                    </a:lnTo>
                    <a:lnTo>
                      <a:pt x="143" y="321"/>
                    </a:lnTo>
                    <a:lnTo>
                      <a:pt x="143" y="321"/>
                    </a:lnTo>
                    <a:lnTo>
                      <a:pt x="145" y="327"/>
                    </a:lnTo>
                    <a:lnTo>
                      <a:pt x="147" y="333"/>
                    </a:lnTo>
                    <a:lnTo>
                      <a:pt x="149" y="337"/>
                    </a:lnTo>
                    <a:lnTo>
                      <a:pt x="153" y="342"/>
                    </a:lnTo>
                    <a:lnTo>
                      <a:pt x="160" y="349"/>
                    </a:lnTo>
                    <a:lnTo>
                      <a:pt x="169" y="355"/>
                    </a:lnTo>
                    <a:lnTo>
                      <a:pt x="179" y="358"/>
                    </a:lnTo>
                    <a:lnTo>
                      <a:pt x="191" y="361"/>
                    </a:lnTo>
                    <a:lnTo>
                      <a:pt x="216" y="365"/>
                    </a:lnTo>
                    <a:lnTo>
                      <a:pt x="241" y="368"/>
                    </a:lnTo>
                    <a:lnTo>
                      <a:pt x="254" y="371"/>
                    </a:lnTo>
                    <a:lnTo>
                      <a:pt x="267" y="374"/>
                    </a:lnTo>
                    <a:lnTo>
                      <a:pt x="277" y="378"/>
                    </a:lnTo>
                    <a:lnTo>
                      <a:pt x="287" y="383"/>
                    </a:lnTo>
                    <a:lnTo>
                      <a:pt x="295" y="391"/>
                    </a:lnTo>
                    <a:lnTo>
                      <a:pt x="299" y="396"/>
                    </a:lnTo>
                    <a:lnTo>
                      <a:pt x="301" y="401"/>
                    </a:lnTo>
                    <a:lnTo>
                      <a:pt x="301" y="401"/>
                    </a:lnTo>
                    <a:lnTo>
                      <a:pt x="301" y="409"/>
                    </a:lnTo>
                    <a:lnTo>
                      <a:pt x="301" y="40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8" name="Freeform 73"/>
              <p:cNvSpPr>
                <a:spLocks noChangeAspect="1"/>
              </p:cNvSpPr>
              <p:nvPr/>
            </p:nvSpPr>
            <p:spPr bwMode="auto">
              <a:xfrm>
                <a:off x="917050" y="4239416"/>
                <a:ext cx="507234" cy="403559"/>
              </a:xfrm>
              <a:custGeom>
                <a:avLst/>
                <a:gdLst/>
                <a:ahLst/>
                <a:cxnLst>
                  <a:cxn ang="0">
                    <a:pos x="606" y="436"/>
                  </a:cxn>
                  <a:cxn ang="0">
                    <a:pos x="588" y="452"/>
                  </a:cxn>
                  <a:cxn ang="0">
                    <a:pos x="512" y="475"/>
                  </a:cxn>
                  <a:cxn ang="0">
                    <a:pos x="486" y="501"/>
                  </a:cxn>
                  <a:cxn ang="0">
                    <a:pos x="477" y="533"/>
                  </a:cxn>
                  <a:cxn ang="0">
                    <a:pos x="443" y="565"/>
                  </a:cxn>
                  <a:cxn ang="0">
                    <a:pos x="403" y="574"/>
                  </a:cxn>
                  <a:cxn ang="0">
                    <a:pos x="391" y="535"/>
                  </a:cxn>
                  <a:cxn ang="0">
                    <a:pos x="368" y="526"/>
                  </a:cxn>
                  <a:cxn ang="0">
                    <a:pos x="330" y="533"/>
                  </a:cxn>
                  <a:cxn ang="0">
                    <a:pos x="271" y="526"/>
                  </a:cxn>
                  <a:cxn ang="0">
                    <a:pos x="242" y="536"/>
                  </a:cxn>
                  <a:cxn ang="0">
                    <a:pos x="217" y="547"/>
                  </a:cxn>
                  <a:cxn ang="0">
                    <a:pos x="195" y="512"/>
                  </a:cxn>
                  <a:cxn ang="0">
                    <a:pos x="186" y="509"/>
                  </a:cxn>
                  <a:cxn ang="0">
                    <a:pos x="168" y="543"/>
                  </a:cxn>
                  <a:cxn ang="0">
                    <a:pos x="142" y="536"/>
                  </a:cxn>
                  <a:cxn ang="0">
                    <a:pos x="113" y="529"/>
                  </a:cxn>
                  <a:cxn ang="0">
                    <a:pos x="76" y="540"/>
                  </a:cxn>
                  <a:cxn ang="0">
                    <a:pos x="54" y="534"/>
                  </a:cxn>
                  <a:cxn ang="0">
                    <a:pos x="19" y="490"/>
                  </a:cxn>
                  <a:cxn ang="0">
                    <a:pos x="24" y="455"/>
                  </a:cxn>
                  <a:cxn ang="0">
                    <a:pos x="28" y="422"/>
                  </a:cxn>
                  <a:cxn ang="0">
                    <a:pos x="9" y="395"/>
                  </a:cxn>
                  <a:cxn ang="0">
                    <a:pos x="0" y="375"/>
                  </a:cxn>
                  <a:cxn ang="0">
                    <a:pos x="27" y="346"/>
                  </a:cxn>
                  <a:cxn ang="0">
                    <a:pos x="57" y="338"/>
                  </a:cxn>
                  <a:cxn ang="0">
                    <a:pos x="100" y="350"/>
                  </a:cxn>
                  <a:cxn ang="0">
                    <a:pos x="117" y="343"/>
                  </a:cxn>
                  <a:cxn ang="0">
                    <a:pos x="120" y="298"/>
                  </a:cxn>
                  <a:cxn ang="0">
                    <a:pos x="123" y="241"/>
                  </a:cxn>
                  <a:cxn ang="0">
                    <a:pos x="151" y="206"/>
                  </a:cxn>
                  <a:cxn ang="0">
                    <a:pos x="165" y="169"/>
                  </a:cxn>
                  <a:cxn ang="0">
                    <a:pos x="154" y="137"/>
                  </a:cxn>
                  <a:cxn ang="0">
                    <a:pos x="143" y="100"/>
                  </a:cxn>
                  <a:cxn ang="0">
                    <a:pos x="170" y="57"/>
                  </a:cxn>
                  <a:cxn ang="0">
                    <a:pos x="201" y="0"/>
                  </a:cxn>
                  <a:cxn ang="0">
                    <a:pos x="286" y="2"/>
                  </a:cxn>
                  <a:cxn ang="0">
                    <a:pos x="326" y="36"/>
                  </a:cxn>
                  <a:cxn ang="0">
                    <a:pos x="346" y="50"/>
                  </a:cxn>
                  <a:cxn ang="0">
                    <a:pos x="349" y="71"/>
                  </a:cxn>
                  <a:cxn ang="0">
                    <a:pos x="367" y="97"/>
                  </a:cxn>
                  <a:cxn ang="0">
                    <a:pos x="412" y="113"/>
                  </a:cxn>
                  <a:cxn ang="0">
                    <a:pos x="429" y="134"/>
                  </a:cxn>
                  <a:cxn ang="0">
                    <a:pos x="484" y="170"/>
                  </a:cxn>
                  <a:cxn ang="0">
                    <a:pos x="506" y="207"/>
                  </a:cxn>
                  <a:cxn ang="0">
                    <a:pos x="498" y="236"/>
                  </a:cxn>
                  <a:cxn ang="0">
                    <a:pos x="477" y="265"/>
                  </a:cxn>
                  <a:cxn ang="0">
                    <a:pos x="486" y="282"/>
                  </a:cxn>
                  <a:cxn ang="0">
                    <a:pos x="504" y="287"/>
                  </a:cxn>
                  <a:cxn ang="0">
                    <a:pos x="536" y="296"/>
                  </a:cxn>
                  <a:cxn ang="0">
                    <a:pos x="550" y="340"/>
                  </a:cxn>
                  <a:cxn ang="0">
                    <a:pos x="580" y="342"/>
                  </a:cxn>
                  <a:cxn ang="0">
                    <a:pos x="630" y="427"/>
                  </a:cxn>
                  <a:cxn ang="0">
                    <a:pos x="639" y="430"/>
                  </a:cxn>
                </a:cxnLst>
                <a:rect l="0" t="0" r="r" b="b"/>
                <a:pathLst>
                  <a:path w="639" h="580">
                    <a:moveTo>
                      <a:pt x="621" y="430"/>
                    </a:moveTo>
                    <a:lnTo>
                      <a:pt x="621" y="430"/>
                    </a:lnTo>
                    <a:lnTo>
                      <a:pt x="615" y="430"/>
                    </a:lnTo>
                    <a:lnTo>
                      <a:pt x="609" y="433"/>
                    </a:lnTo>
                    <a:lnTo>
                      <a:pt x="606" y="436"/>
                    </a:lnTo>
                    <a:lnTo>
                      <a:pt x="603" y="440"/>
                    </a:lnTo>
                    <a:lnTo>
                      <a:pt x="597" y="448"/>
                    </a:lnTo>
                    <a:lnTo>
                      <a:pt x="592" y="450"/>
                    </a:lnTo>
                    <a:lnTo>
                      <a:pt x="588" y="452"/>
                    </a:lnTo>
                    <a:lnTo>
                      <a:pt x="588" y="452"/>
                    </a:lnTo>
                    <a:lnTo>
                      <a:pt x="574" y="456"/>
                    </a:lnTo>
                    <a:lnTo>
                      <a:pt x="559" y="460"/>
                    </a:lnTo>
                    <a:lnTo>
                      <a:pt x="543" y="464"/>
                    </a:lnTo>
                    <a:lnTo>
                      <a:pt x="527" y="468"/>
                    </a:lnTo>
                    <a:lnTo>
                      <a:pt x="512" y="475"/>
                    </a:lnTo>
                    <a:lnTo>
                      <a:pt x="505" y="479"/>
                    </a:lnTo>
                    <a:lnTo>
                      <a:pt x="499" y="483"/>
                    </a:lnTo>
                    <a:lnTo>
                      <a:pt x="494" y="488"/>
                    </a:lnTo>
                    <a:lnTo>
                      <a:pt x="490" y="494"/>
                    </a:lnTo>
                    <a:lnTo>
                      <a:pt x="486" y="501"/>
                    </a:lnTo>
                    <a:lnTo>
                      <a:pt x="485" y="508"/>
                    </a:lnTo>
                    <a:lnTo>
                      <a:pt x="485" y="508"/>
                    </a:lnTo>
                    <a:lnTo>
                      <a:pt x="483" y="517"/>
                    </a:lnTo>
                    <a:lnTo>
                      <a:pt x="481" y="526"/>
                    </a:lnTo>
                    <a:lnTo>
                      <a:pt x="477" y="533"/>
                    </a:lnTo>
                    <a:lnTo>
                      <a:pt x="474" y="540"/>
                    </a:lnTo>
                    <a:lnTo>
                      <a:pt x="469" y="546"/>
                    </a:lnTo>
                    <a:lnTo>
                      <a:pt x="464" y="551"/>
                    </a:lnTo>
                    <a:lnTo>
                      <a:pt x="454" y="559"/>
                    </a:lnTo>
                    <a:lnTo>
                      <a:pt x="443" y="565"/>
                    </a:lnTo>
                    <a:lnTo>
                      <a:pt x="431" y="571"/>
                    </a:lnTo>
                    <a:lnTo>
                      <a:pt x="418" y="575"/>
                    </a:lnTo>
                    <a:lnTo>
                      <a:pt x="407" y="580"/>
                    </a:lnTo>
                    <a:lnTo>
                      <a:pt x="407" y="580"/>
                    </a:lnTo>
                    <a:lnTo>
                      <a:pt x="403" y="574"/>
                    </a:lnTo>
                    <a:lnTo>
                      <a:pt x="401" y="566"/>
                    </a:lnTo>
                    <a:lnTo>
                      <a:pt x="400" y="557"/>
                    </a:lnTo>
                    <a:lnTo>
                      <a:pt x="397" y="548"/>
                    </a:lnTo>
                    <a:lnTo>
                      <a:pt x="393" y="540"/>
                    </a:lnTo>
                    <a:lnTo>
                      <a:pt x="391" y="535"/>
                    </a:lnTo>
                    <a:lnTo>
                      <a:pt x="387" y="533"/>
                    </a:lnTo>
                    <a:lnTo>
                      <a:pt x="384" y="529"/>
                    </a:lnTo>
                    <a:lnTo>
                      <a:pt x="379" y="527"/>
                    </a:lnTo>
                    <a:lnTo>
                      <a:pt x="374" y="526"/>
                    </a:lnTo>
                    <a:lnTo>
                      <a:pt x="368" y="526"/>
                    </a:lnTo>
                    <a:lnTo>
                      <a:pt x="368" y="526"/>
                    </a:lnTo>
                    <a:lnTo>
                      <a:pt x="357" y="527"/>
                    </a:lnTo>
                    <a:lnTo>
                      <a:pt x="351" y="529"/>
                    </a:lnTo>
                    <a:lnTo>
                      <a:pt x="341" y="532"/>
                    </a:lnTo>
                    <a:lnTo>
                      <a:pt x="330" y="533"/>
                    </a:lnTo>
                    <a:lnTo>
                      <a:pt x="330" y="533"/>
                    </a:lnTo>
                    <a:lnTo>
                      <a:pt x="314" y="532"/>
                    </a:lnTo>
                    <a:lnTo>
                      <a:pt x="301" y="529"/>
                    </a:lnTo>
                    <a:lnTo>
                      <a:pt x="287" y="527"/>
                    </a:lnTo>
                    <a:lnTo>
                      <a:pt x="271" y="526"/>
                    </a:lnTo>
                    <a:lnTo>
                      <a:pt x="271" y="526"/>
                    </a:lnTo>
                    <a:lnTo>
                      <a:pt x="262" y="527"/>
                    </a:lnTo>
                    <a:lnTo>
                      <a:pt x="255" y="529"/>
                    </a:lnTo>
                    <a:lnTo>
                      <a:pt x="248" y="533"/>
                    </a:lnTo>
                    <a:lnTo>
                      <a:pt x="242" y="536"/>
                    </a:lnTo>
                    <a:lnTo>
                      <a:pt x="232" y="544"/>
                    </a:lnTo>
                    <a:lnTo>
                      <a:pt x="226" y="547"/>
                    </a:lnTo>
                    <a:lnTo>
                      <a:pt x="221" y="548"/>
                    </a:lnTo>
                    <a:lnTo>
                      <a:pt x="221" y="548"/>
                    </a:lnTo>
                    <a:lnTo>
                      <a:pt x="217" y="547"/>
                    </a:lnTo>
                    <a:lnTo>
                      <a:pt x="214" y="546"/>
                    </a:lnTo>
                    <a:lnTo>
                      <a:pt x="209" y="542"/>
                    </a:lnTo>
                    <a:lnTo>
                      <a:pt x="204" y="535"/>
                    </a:lnTo>
                    <a:lnTo>
                      <a:pt x="201" y="528"/>
                    </a:lnTo>
                    <a:lnTo>
                      <a:pt x="195" y="512"/>
                    </a:lnTo>
                    <a:lnTo>
                      <a:pt x="193" y="505"/>
                    </a:lnTo>
                    <a:lnTo>
                      <a:pt x="191" y="500"/>
                    </a:lnTo>
                    <a:lnTo>
                      <a:pt x="191" y="500"/>
                    </a:lnTo>
                    <a:lnTo>
                      <a:pt x="188" y="503"/>
                    </a:lnTo>
                    <a:lnTo>
                      <a:pt x="186" y="509"/>
                    </a:lnTo>
                    <a:lnTo>
                      <a:pt x="180" y="524"/>
                    </a:lnTo>
                    <a:lnTo>
                      <a:pt x="178" y="531"/>
                    </a:lnTo>
                    <a:lnTo>
                      <a:pt x="174" y="538"/>
                    </a:lnTo>
                    <a:lnTo>
                      <a:pt x="170" y="542"/>
                    </a:lnTo>
                    <a:lnTo>
                      <a:pt x="168" y="543"/>
                    </a:lnTo>
                    <a:lnTo>
                      <a:pt x="165" y="544"/>
                    </a:lnTo>
                    <a:lnTo>
                      <a:pt x="165" y="544"/>
                    </a:lnTo>
                    <a:lnTo>
                      <a:pt x="158" y="543"/>
                    </a:lnTo>
                    <a:lnTo>
                      <a:pt x="153" y="542"/>
                    </a:lnTo>
                    <a:lnTo>
                      <a:pt x="142" y="536"/>
                    </a:lnTo>
                    <a:lnTo>
                      <a:pt x="137" y="534"/>
                    </a:lnTo>
                    <a:lnTo>
                      <a:pt x="130" y="532"/>
                    </a:lnTo>
                    <a:lnTo>
                      <a:pt x="123" y="529"/>
                    </a:lnTo>
                    <a:lnTo>
                      <a:pt x="113" y="529"/>
                    </a:lnTo>
                    <a:lnTo>
                      <a:pt x="113" y="529"/>
                    </a:lnTo>
                    <a:lnTo>
                      <a:pt x="108" y="529"/>
                    </a:lnTo>
                    <a:lnTo>
                      <a:pt x="102" y="531"/>
                    </a:lnTo>
                    <a:lnTo>
                      <a:pt x="92" y="535"/>
                    </a:lnTo>
                    <a:lnTo>
                      <a:pt x="81" y="539"/>
                    </a:lnTo>
                    <a:lnTo>
                      <a:pt x="76" y="540"/>
                    </a:lnTo>
                    <a:lnTo>
                      <a:pt x="70" y="541"/>
                    </a:lnTo>
                    <a:lnTo>
                      <a:pt x="70" y="541"/>
                    </a:lnTo>
                    <a:lnTo>
                      <a:pt x="66" y="540"/>
                    </a:lnTo>
                    <a:lnTo>
                      <a:pt x="62" y="539"/>
                    </a:lnTo>
                    <a:lnTo>
                      <a:pt x="54" y="534"/>
                    </a:lnTo>
                    <a:lnTo>
                      <a:pt x="46" y="527"/>
                    </a:lnTo>
                    <a:lnTo>
                      <a:pt x="36" y="519"/>
                    </a:lnTo>
                    <a:lnTo>
                      <a:pt x="29" y="510"/>
                    </a:lnTo>
                    <a:lnTo>
                      <a:pt x="24" y="501"/>
                    </a:lnTo>
                    <a:lnTo>
                      <a:pt x="19" y="490"/>
                    </a:lnTo>
                    <a:lnTo>
                      <a:pt x="18" y="482"/>
                    </a:lnTo>
                    <a:lnTo>
                      <a:pt x="18" y="482"/>
                    </a:lnTo>
                    <a:lnTo>
                      <a:pt x="18" y="474"/>
                    </a:lnTo>
                    <a:lnTo>
                      <a:pt x="19" y="467"/>
                    </a:lnTo>
                    <a:lnTo>
                      <a:pt x="24" y="455"/>
                    </a:lnTo>
                    <a:lnTo>
                      <a:pt x="27" y="441"/>
                    </a:lnTo>
                    <a:lnTo>
                      <a:pt x="28" y="434"/>
                    </a:lnTo>
                    <a:lnTo>
                      <a:pt x="29" y="427"/>
                    </a:lnTo>
                    <a:lnTo>
                      <a:pt x="29" y="427"/>
                    </a:lnTo>
                    <a:lnTo>
                      <a:pt x="28" y="422"/>
                    </a:lnTo>
                    <a:lnTo>
                      <a:pt x="28" y="418"/>
                    </a:lnTo>
                    <a:lnTo>
                      <a:pt x="25" y="411"/>
                    </a:lnTo>
                    <a:lnTo>
                      <a:pt x="20" y="405"/>
                    </a:lnTo>
                    <a:lnTo>
                      <a:pt x="15" y="399"/>
                    </a:lnTo>
                    <a:lnTo>
                      <a:pt x="9" y="395"/>
                    </a:lnTo>
                    <a:lnTo>
                      <a:pt x="4" y="390"/>
                    </a:lnTo>
                    <a:lnTo>
                      <a:pt x="1" y="386"/>
                    </a:lnTo>
                    <a:lnTo>
                      <a:pt x="0" y="379"/>
                    </a:lnTo>
                    <a:lnTo>
                      <a:pt x="0" y="379"/>
                    </a:lnTo>
                    <a:lnTo>
                      <a:pt x="0" y="375"/>
                    </a:lnTo>
                    <a:lnTo>
                      <a:pt x="1" y="372"/>
                    </a:lnTo>
                    <a:lnTo>
                      <a:pt x="5" y="365"/>
                    </a:lnTo>
                    <a:lnTo>
                      <a:pt x="11" y="358"/>
                    </a:lnTo>
                    <a:lnTo>
                      <a:pt x="18" y="352"/>
                    </a:lnTo>
                    <a:lnTo>
                      <a:pt x="27" y="346"/>
                    </a:lnTo>
                    <a:lnTo>
                      <a:pt x="35" y="342"/>
                    </a:lnTo>
                    <a:lnTo>
                      <a:pt x="43" y="340"/>
                    </a:lnTo>
                    <a:lnTo>
                      <a:pt x="51" y="338"/>
                    </a:lnTo>
                    <a:lnTo>
                      <a:pt x="51" y="338"/>
                    </a:lnTo>
                    <a:lnTo>
                      <a:pt x="57" y="338"/>
                    </a:lnTo>
                    <a:lnTo>
                      <a:pt x="64" y="340"/>
                    </a:lnTo>
                    <a:lnTo>
                      <a:pt x="76" y="344"/>
                    </a:lnTo>
                    <a:lnTo>
                      <a:pt x="86" y="348"/>
                    </a:lnTo>
                    <a:lnTo>
                      <a:pt x="93" y="349"/>
                    </a:lnTo>
                    <a:lnTo>
                      <a:pt x="100" y="350"/>
                    </a:lnTo>
                    <a:lnTo>
                      <a:pt x="100" y="350"/>
                    </a:lnTo>
                    <a:lnTo>
                      <a:pt x="109" y="349"/>
                    </a:lnTo>
                    <a:lnTo>
                      <a:pt x="112" y="346"/>
                    </a:lnTo>
                    <a:lnTo>
                      <a:pt x="115" y="345"/>
                    </a:lnTo>
                    <a:lnTo>
                      <a:pt x="117" y="343"/>
                    </a:lnTo>
                    <a:lnTo>
                      <a:pt x="119" y="340"/>
                    </a:lnTo>
                    <a:lnTo>
                      <a:pt x="122" y="334"/>
                    </a:lnTo>
                    <a:lnTo>
                      <a:pt x="122" y="326"/>
                    </a:lnTo>
                    <a:lnTo>
                      <a:pt x="122" y="317"/>
                    </a:lnTo>
                    <a:lnTo>
                      <a:pt x="120" y="298"/>
                    </a:lnTo>
                    <a:lnTo>
                      <a:pt x="120" y="298"/>
                    </a:lnTo>
                    <a:lnTo>
                      <a:pt x="120" y="253"/>
                    </a:lnTo>
                    <a:lnTo>
                      <a:pt x="120" y="253"/>
                    </a:lnTo>
                    <a:lnTo>
                      <a:pt x="122" y="246"/>
                    </a:lnTo>
                    <a:lnTo>
                      <a:pt x="123" y="241"/>
                    </a:lnTo>
                    <a:lnTo>
                      <a:pt x="125" y="235"/>
                    </a:lnTo>
                    <a:lnTo>
                      <a:pt x="127" y="230"/>
                    </a:lnTo>
                    <a:lnTo>
                      <a:pt x="135" y="222"/>
                    </a:lnTo>
                    <a:lnTo>
                      <a:pt x="143" y="214"/>
                    </a:lnTo>
                    <a:lnTo>
                      <a:pt x="151" y="206"/>
                    </a:lnTo>
                    <a:lnTo>
                      <a:pt x="158" y="197"/>
                    </a:lnTo>
                    <a:lnTo>
                      <a:pt x="161" y="191"/>
                    </a:lnTo>
                    <a:lnTo>
                      <a:pt x="163" y="185"/>
                    </a:lnTo>
                    <a:lnTo>
                      <a:pt x="164" y="178"/>
                    </a:lnTo>
                    <a:lnTo>
                      <a:pt x="165" y="169"/>
                    </a:lnTo>
                    <a:lnTo>
                      <a:pt x="165" y="169"/>
                    </a:lnTo>
                    <a:lnTo>
                      <a:pt x="164" y="160"/>
                    </a:lnTo>
                    <a:lnTo>
                      <a:pt x="162" y="152"/>
                    </a:lnTo>
                    <a:lnTo>
                      <a:pt x="158" y="144"/>
                    </a:lnTo>
                    <a:lnTo>
                      <a:pt x="154" y="137"/>
                    </a:lnTo>
                    <a:lnTo>
                      <a:pt x="147" y="122"/>
                    </a:lnTo>
                    <a:lnTo>
                      <a:pt x="145" y="115"/>
                    </a:lnTo>
                    <a:lnTo>
                      <a:pt x="143" y="107"/>
                    </a:lnTo>
                    <a:lnTo>
                      <a:pt x="143" y="107"/>
                    </a:lnTo>
                    <a:lnTo>
                      <a:pt x="143" y="100"/>
                    </a:lnTo>
                    <a:lnTo>
                      <a:pt x="146" y="94"/>
                    </a:lnTo>
                    <a:lnTo>
                      <a:pt x="148" y="88"/>
                    </a:lnTo>
                    <a:lnTo>
                      <a:pt x="151" y="82"/>
                    </a:lnTo>
                    <a:lnTo>
                      <a:pt x="160" y="69"/>
                    </a:lnTo>
                    <a:lnTo>
                      <a:pt x="170" y="57"/>
                    </a:lnTo>
                    <a:lnTo>
                      <a:pt x="180" y="43"/>
                    </a:lnTo>
                    <a:lnTo>
                      <a:pt x="189" y="29"/>
                    </a:lnTo>
                    <a:lnTo>
                      <a:pt x="196" y="15"/>
                    </a:lnTo>
                    <a:lnTo>
                      <a:pt x="200" y="8"/>
                    </a:lnTo>
                    <a:lnTo>
                      <a:pt x="201" y="0"/>
                    </a:lnTo>
                    <a:lnTo>
                      <a:pt x="201" y="0"/>
                    </a:lnTo>
                    <a:lnTo>
                      <a:pt x="279" y="0"/>
                    </a:lnTo>
                    <a:lnTo>
                      <a:pt x="279" y="0"/>
                    </a:lnTo>
                    <a:lnTo>
                      <a:pt x="283" y="0"/>
                    </a:lnTo>
                    <a:lnTo>
                      <a:pt x="286" y="2"/>
                    </a:lnTo>
                    <a:lnTo>
                      <a:pt x="293" y="7"/>
                    </a:lnTo>
                    <a:lnTo>
                      <a:pt x="301" y="13"/>
                    </a:lnTo>
                    <a:lnTo>
                      <a:pt x="309" y="21"/>
                    </a:lnTo>
                    <a:lnTo>
                      <a:pt x="317" y="29"/>
                    </a:lnTo>
                    <a:lnTo>
                      <a:pt x="326" y="36"/>
                    </a:lnTo>
                    <a:lnTo>
                      <a:pt x="336" y="42"/>
                    </a:lnTo>
                    <a:lnTo>
                      <a:pt x="340" y="43"/>
                    </a:lnTo>
                    <a:lnTo>
                      <a:pt x="345" y="44"/>
                    </a:lnTo>
                    <a:lnTo>
                      <a:pt x="345" y="44"/>
                    </a:lnTo>
                    <a:lnTo>
                      <a:pt x="346" y="50"/>
                    </a:lnTo>
                    <a:lnTo>
                      <a:pt x="347" y="54"/>
                    </a:lnTo>
                    <a:lnTo>
                      <a:pt x="348" y="58"/>
                    </a:lnTo>
                    <a:lnTo>
                      <a:pt x="348" y="63"/>
                    </a:lnTo>
                    <a:lnTo>
                      <a:pt x="348" y="63"/>
                    </a:lnTo>
                    <a:lnTo>
                      <a:pt x="349" y="71"/>
                    </a:lnTo>
                    <a:lnTo>
                      <a:pt x="351" y="80"/>
                    </a:lnTo>
                    <a:lnTo>
                      <a:pt x="354" y="85"/>
                    </a:lnTo>
                    <a:lnTo>
                      <a:pt x="357" y="90"/>
                    </a:lnTo>
                    <a:lnTo>
                      <a:pt x="362" y="93"/>
                    </a:lnTo>
                    <a:lnTo>
                      <a:pt x="367" y="97"/>
                    </a:lnTo>
                    <a:lnTo>
                      <a:pt x="378" y="100"/>
                    </a:lnTo>
                    <a:lnTo>
                      <a:pt x="390" y="104"/>
                    </a:lnTo>
                    <a:lnTo>
                      <a:pt x="401" y="107"/>
                    </a:lnTo>
                    <a:lnTo>
                      <a:pt x="407" y="109"/>
                    </a:lnTo>
                    <a:lnTo>
                      <a:pt x="412" y="113"/>
                    </a:lnTo>
                    <a:lnTo>
                      <a:pt x="415" y="116"/>
                    </a:lnTo>
                    <a:lnTo>
                      <a:pt x="418" y="121"/>
                    </a:lnTo>
                    <a:lnTo>
                      <a:pt x="418" y="121"/>
                    </a:lnTo>
                    <a:lnTo>
                      <a:pt x="423" y="128"/>
                    </a:lnTo>
                    <a:lnTo>
                      <a:pt x="429" y="134"/>
                    </a:lnTo>
                    <a:lnTo>
                      <a:pt x="435" y="139"/>
                    </a:lnTo>
                    <a:lnTo>
                      <a:pt x="441" y="144"/>
                    </a:lnTo>
                    <a:lnTo>
                      <a:pt x="456" y="152"/>
                    </a:lnTo>
                    <a:lnTo>
                      <a:pt x="471" y="161"/>
                    </a:lnTo>
                    <a:lnTo>
                      <a:pt x="484" y="170"/>
                    </a:lnTo>
                    <a:lnTo>
                      <a:pt x="491" y="176"/>
                    </a:lnTo>
                    <a:lnTo>
                      <a:pt x="496" y="183"/>
                    </a:lnTo>
                    <a:lnTo>
                      <a:pt x="500" y="190"/>
                    </a:lnTo>
                    <a:lnTo>
                      <a:pt x="504" y="198"/>
                    </a:lnTo>
                    <a:lnTo>
                      <a:pt x="506" y="207"/>
                    </a:lnTo>
                    <a:lnTo>
                      <a:pt x="507" y="218"/>
                    </a:lnTo>
                    <a:lnTo>
                      <a:pt x="507" y="218"/>
                    </a:lnTo>
                    <a:lnTo>
                      <a:pt x="505" y="225"/>
                    </a:lnTo>
                    <a:lnTo>
                      <a:pt x="502" y="230"/>
                    </a:lnTo>
                    <a:lnTo>
                      <a:pt x="498" y="236"/>
                    </a:lnTo>
                    <a:lnTo>
                      <a:pt x="492" y="241"/>
                    </a:lnTo>
                    <a:lnTo>
                      <a:pt x="486" y="246"/>
                    </a:lnTo>
                    <a:lnTo>
                      <a:pt x="482" y="251"/>
                    </a:lnTo>
                    <a:lnTo>
                      <a:pt x="478" y="258"/>
                    </a:lnTo>
                    <a:lnTo>
                      <a:pt x="477" y="265"/>
                    </a:lnTo>
                    <a:lnTo>
                      <a:pt x="477" y="265"/>
                    </a:lnTo>
                    <a:lnTo>
                      <a:pt x="478" y="269"/>
                    </a:lnTo>
                    <a:lnTo>
                      <a:pt x="479" y="274"/>
                    </a:lnTo>
                    <a:lnTo>
                      <a:pt x="483" y="279"/>
                    </a:lnTo>
                    <a:lnTo>
                      <a:pt x="486" y="282"/>
                    </a:lnTo>
                    <a:lnTo>
                      <a:pt x="490" y="284"/>
                    </a:lnTo>
                    <a:lnTo>
                      <a:pt x="494" y="286"/>
                    </a:lnTo>
                    <a:lnTo>
                      <a:pt x="499" y="287"/>
                    </a:lnTo>
                    <a:lnTo>
                      <a:pt x="504" y="287"/>
                    </a:lnTo>
                    <a:lnTo>
                      <a:pt x="504" y="287"/>
                    </a:lnTo>
                    <a:lnTo>
                      <a:pt x="529" y="287"/>
                    </a:lnTo>
                    <a:lnTo>
                      <a:pt x="529" y="287"/>
                    </a:lnTo>
                    <a:lnTo>
                      <a:pt x="531" y="288"/>
                    </a:lnTo>
                    <a:lnTo>
                      <a:pt x="534" y="289"/>
                    </a:lnTo>
                    <a:lnTo>
                      <a:pt x="536" y="296"/>
                    </a:lnTo>
                    <a:lnTo>
                      <a:pt x="538" y="314"/>
                    </a:lnTo>
                    <a:lnTo>
                      <a:pt x="540" y="325"/>
                    </a:lnTo>
                    <a:lnTo>
                      <a:pt x="544" y="333"/>
                    </a:lnTo>
                    <a:lnTo>
                      <a:pt x="546" y="337"/>
                    </a:lnTo>
                    <a:lnTo>
                      <a:pt x="550" y="340"/>
                    </a:lnTo>
                    <a:lnTo>
                      <a:pt x="553" y="341"/>
                    </a:lnTo>
                    <a:lnTo>
                      <a:pt x="559" y="342"/>
                    </a:lnTo>
                    <a:lnTo>
                      <a:pt x="559" y="342"/>
                    </a:lnTo>
                    <a:lnTo>
                      <a:pt x="580" y="342"/>
                    </a:lnTo>
                    <a:lnTo>
                      <a:pt x="580" y="342"/>
                    </a:lnTo>
                    <a:lnTo>
                      <a:pt x="603" y="380"/>
                    </a:lnTo>
                    <a:lnTo>
                      <a:pt x="619" y="409"/>
                    </a:lnTo>
                    <a:lnTo>
                      <a:pt x="628" y="427"/>
                    </a:lnTo>
                    <a:lnTo>
                      <a:pt x="628" y="427"/>
                    </a:lnTo>
                    <a:lnTo>
                      <a:pt x="630" y="427"/>
                    </a:lnTo>
                    <a:lnTo>
                      <a:pt x="630" y="428"/>
                    </a:lnTo>
                    <a:lnTo>
                      <a:pt x="632" y="429"/>
                    </a:lnTo>
                    <a:lnTo>
                      <a:pt x="639" y="430"/>
                    </a:lnTo>
                    <a:lnTo>
                      <a:pt x="639" y="430"/>
                    </a:lnTo>
                    <a:lnTo>
                      <a:pt x="639" y="430"/>
                    </a:lnTo>
                    <a:lnTo>
                      <a:pt x="621" y="430"/>
                    </a:lnTo>
                    <a:lnTo>
                      <a:pt x="621" y="43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89" name="Freeform 74"/>
              <p:cNvSpPr>
                <a:spLocks noChangeAspect="1"/>
              </p:cNvSpPr>
              <p:nvPr/>
            </p:nvSpPr>
            <p:spPr bwMode="auto">
              <a:xfrm>
                <a:off x="1156401" y="3826116"/>
                <a:ext cx="291660" cy="205954"/>
              </a:xfrm>
              <a:custGeom>
                <a:avLst/>
                <a:gdLst/>
                <a:ahLst/>
                <a:cxnLst>
                  <a:cxn ang="0">
                    <a:pos x="55" y="29"/>
                  </a:cxn>
                  <a:cxn ang="0">
                    <a:pos x="56" y="40"/>
                  </a:cxn>
                  <a:cxn ang="0">
                    <a:pos x="67" y="44"/>
                  </a:cxn>
                  <a:cxn ang="0">
                    <a:pos x="74" y="42"/>
                  </a:cxn>
                  <a:cxn ang="0">
                    <a:pos x="88" y="27"/>
                  </a:cxn>
                  <a:cxn ang="0">
                    <a:pos x="125" y="26"/>
                  </a:cxn>
                  <a:cxn ang="0">
                    <a:pos x="136" y="24"/>
                  </a:cxn>
                  <a:cxn ang="0">
                    <a:pos x="168" y="15"/>
                  </a:cxn>
                  <a:cxn ang="0">
                    <a:pos x="183" y="15"/>
                  </a:cxn>
                  <a:cxn ang="0">
                    <a:pos x="209" y="24"/>
                  </a:cxn>
                  <a:cxn ang="0">
                    <a:pos x="223" y="26"/>
                  </a:cxn>
                  <a:cxn ang="0">
                    <a:pos x="249" y="22"/>
                  </a:cxn>
                  <a:cxn ang="0">
                    <a:pos x="265" y="11"/>
                  </a:cxn>
                  <a:cxn ang="0">
                    <a:pos x="272" y="0"/>
                  </a:cxn>
                  <a:cxn ang="0">
                    <a:pos x="273" y="44"/>
                  </a:cxn>
                  <a:cxn ang="0">
                    <a:pos x="283" y="59"/>
                  </a:cxn>
                  <a:cxn ang="0">
                    <a:pos x="302" y="70"/>
                  </a:cxn>
                  <a:cxn ang="0">
                    <a:pos x="308" y="88"/>
                  </a:cxn>
                  <a:cxn ang="0">
                    <a:pos x="325" y="108"/>
                  </a:cxn>
                  <a:cxn ang="0">
                    <a:pos x="342" y="121"/>
                  </a:cxn>
                  <a:cxn ang="0">
                    <a:pos x="338" y="136"/>
                  </a:cxn>
                  <a:cxn ang="0">
                    <a:pos x="340" y="152"/>
                  </a:cxn>
                  <a:cxn ang="0">
                    <a:pos x="350" y="164"/>
                  </a:cxn>
                  <a:cxn ang="0">
                    <a:pos x="367" y="169"/>
                  </a:cxn>
                  <a:cxn ang="0">
                    <a:pos x="367" y="184"/>
                  </a:cxn>
                  <a:cxn ang="0">
                    <a:pos x="357" y="197"/>
                  </a:cxn>
                  <a:cxn ang="0">
                    <a:pos x="357" y="212"/>
                  </a:cxn>
                  <a:cxn ang="0">
                    <a:pos x="346" y="236"/>
                  </a:cxn>
                  <a:cxn ang="0">
                    <a:pos x="325" y="257"/>
                  </a:cxn>
                  <a:cxn ang="0">
                    <a:pos x="277" y="282"/>
                  </a:cxn>
                  <a:cxn ang="0">
                    <a:pos x="236" y="292"/>
                  </a:cxn>
                  <a:cxn ang="0">
                    <a:pos x="216" y="272"/>
                  </a:cxn>
                  <a:cxn ang="0">
                    <a:pos x="195" y="265"/>
                  </a:cxn>
                  <a:cxn ang="0">
                    <a:pos x="182" y="268"/>
                  </a:cxn>
                  <a:cxn ang="0">
                    <a:pos x="174" y="280"/>
                  </a:cxn>
                  <a:cxn ang="0">
                    <a:pos x="154" y="287"/>
                  </a:cxn>
                  <a:cxn ang="0">
                    <a:pos x="146" y="284"/>
                  </a:cxn>
                  <a:cxn ang="0">
                    <a:pos x="132" y="273"/>
                  </a:cxn>
                  <a:cxn ang="0">
                    <a:pos x="119" y="250"/>
                  </a:cxn>
                  <a:cxn ang="0">
                    <a:pos x="106" y="243"/>
                  </a:cxn>
                  <a:cxn ang="0">
                    <a:pos x="99" y="244"/>
                  </a:cxn>
                  <a:cxn ang="0">
                    <a:pos x="84" y="253"/>
                  </a:cxn>
                  <a:cxn ang="0">
                    <a:pos x="75" y="253"/>
                  </a:cxn>
                  <a:cxn ang="0">
                    <a:pos x="66" y="243"/>
                  </a:cxn>
                  <a:cxn ang="0">
                    <a:pos x="61" y="221"/>
                  </a:cxn>
                  <a:cxn ang="0">
                    <a:pos x="58" y="194"/>
                  </a:cxn>
                  <a:cxn ang="0">
                    <a:pos x="47" y="188"/>
                  </a:cxn>
                  <a:cxn ang="0">
                    <a:pos x="22" y="188"/>
                  </a:cxn>
                  <a:cxn ang="0">
                    <a:pos x="8" y="184"/>
                  </a:cxn>
                  <a:cxn ang="0">
                    <a:pos x="1" y="175"/>
                  </a:cxn>
                  <a:cxn ang="0">
                    <a:pos x="0" y="166"/>
                  </a:cxn>
                  <a:cxn ang="0">
                    <a:pos x="5" y="131"/>
                  </a:cxn>
                  <a:cxn ang="0">
                    <a:pos x="28" y="75"/>
                  </a:cxn>
                  <a:cxn ang="0">
                    <a:pos x="55" y="29"/>
                  </a:cxn>
                </a:cxnLst>
                <a:rect l="0" t="0" r="r" b="b"/>
                <a:pathLst>
                  <a:path w="367" h="297">
                    <a:moveTo>
                      <a:pt x="55" y="29"/>
                    </a:moveTo>
                    <a:lnTo>
                      <a:pt x="55" y="29"/>
                    </a:lnTo>
                    <a:lnTo>
                      <a:pt x="55" y="29"/>
                    </a:lnTo>
                    <a:lnTo>
                      <a:pt x="55" y="29"/>
                    </a:lnTo>
                    <a:lnTo>
                      <a:pt x="55" y="38"/>
                    </a:lnTo>
                    <a:lnTo>
                      <a:pt x="56" y="40"/>
                    </a:lnTo>
                    <a:lnTo>
                      <a:pt x="58" y="43"/>
                    </a:lnTo>
                    <a:lnTo>
                      <a:pt x="61" y="44"/>
                    </a:lnTo>
                    <a:lnTo>
                      <a:pt x="67" y="44"/>
                    </a:lnTo>
                    <a:lnTo>
                      <a:pt x="67" y="44"/>
                    </a:lnTo>
                    <a:lnTo>
                      <a:pt x="70" y="44"/>
                    </a:lnTo>
                    <a:lnTo>
                      <a:pt x="74" y="42"/>
                    </a:lnTo>
                    <a:lnTo>
                      <a:pt x="78" y="35"/>
                    </a:lnTo>
                    <a:lnTo>
                      <a:pt x="84" y="29"/>
                    </a:lnTo>
                    <a:lnTo>
                      <a:pt x="88" y="27"/>
                    </a:lnTo>
                    <a:lnTo>
                      <a:pt x="91" y="26"/>
                    </a:lnTo>
                    <a:lnTo>
                      <a:pt x="91" y="26"/>
                    </a:lnTo>
                    <a:lnTo>
                      <a:pt x="125" y="26"/>
                    </a:lnTo>
                    <a:lnTo>
                      <a:pt x="125" y="26"/>
                    </a:lnTo>
                    <a:lnTo>
                      <a:pt x="130" y="26"/>
                    </a:lnTo>
                    <a:lnTo>
                      <a:pt x="136" y="24"/>
                    </a:lnTo>
                    <a:lnTo>
                      <a:pt x="149" y="21"/>
                    </a:lnTo>
                    <a:lnTo>
                      <a:pt x="161" y="16"/>
                    </a:lnTo>
                    <a:lnTo>
                      <a:pt x="168" y="15"/>
                    </a:lnTo>
                    <a:lnTo>
                      <a:pt x="176" y="15"/>
                    </a:lnTo>
                    <a:lnTo>
                      <a:pt x="176" y="15"/>
                    </a:lnTo>
                    <a:lnTo>
                      <a:pt x="183" y="15"/>
                    </a:lnTo>
                    <a:lnTo>
                      <a:pt x="189" y="16"/>
                    </a:lnTo>
                    <a:lnTo>
                      <a:pt x="199" y="21"/>
                    </a:lnTo>
                    <a:lnTo>
                      <a:pt x="209" y="24"/>
                    </a:lnTo>
                    <a:lnTo>
                      <a:pt x="216" y="26"/>
                    </a:lnTo>
                    <a:lnTo>
                      <a:pt x="223" y="26"/>
                    </a:lnTo>
                    <a:lnTo>
                      <a:pt x="223" y="26"/>
                    </a:lnTo>
                    <a:lnTo>
                      <a:pt x="233" y="26"/>
                    </a:lnTo>
                    <a:lnTo>
                      <a:pt x="242" y="24"/>
                    </a:lnTo>
                    <a:lnTo>
                      <a:pt x="249" y="22"/>
                    </a:lnTo>
                    <a:lnTo>
                      <a:pt x="254" y="19"/>
                    </a:lnTo>
                    <a:lnTo>
                      <a:pt x="260" y="15"/>
                    </a:lnTo>
                    <a:lnTo>
                      <a:pt x="265" y="11"/>
                    </a:lnTo>
                    <a:lnTo>
                      <a:pt x="269" y="6"/>
                    </a:lnTo>
                    <a:lnTo>
                      <a:pt x="272" y="0"/>
                    </a:lnTo>
                    <a:lnTo>
                      <a:pt x="272" y="0"/>
                    </a:lnTo>
                    <a:lnTo>
                      <a:pt x="272" y="37"/>
                    </a:lnTo>
                    <a:lnTo>
                      <a:pt x="272" y="37"/>
                    </a:lnTo>
                    <a:lnTo>
                      <a:pt x="273" y="44"/>
                    </a:lnTo>
                    <a:lnTo>
                      <a:pt x="275" y="50"/>
                    </a:lnTo>
                    <a:lnTo>
                      <a:pt x="279" y="54"/>
                    </a:lnTo>
                    <a:lnTo>
                      <a:pt x="283" y="59"/>
                    </a:lnTo>
                    <a:lnTo>
                      <a:pt x="288" y="64"/>
                    </a:lnTo>
                    <a:lnTo>
                      <a:pt x="292" y="66"/>
                    </a:lnTo>
                    <a:lnTo>
                      <a:pt x="302" y="70"/>
                    </a:lnTo>
                    <a:lnTo>
                      <a:pt x="302" y="70"/>
                    </a:lnTo>
                    <a:lnTo>
                      <a:pt x="305" y="80"/>
                    </a:lnTo>
                    <a:lnTo>
                      <a:pt x="308" y="88"/>
                    </a:lnTo>
                    <a:lnTo>
                      <a:pt x="313" y="96"/>
                    </a:lnTo>
                    <a:lnTo>
                      <a:pt x="319" y="103"/>
                    </a:lnTo>
                    <a:lnTo>
                      <a:pt x="325" y="108"/>
                    </a:lnTo>
                    <a:lnTo>
                      <a:pt x="330" y="114"/>
                    </a:lnTo>
                    <a:lnTo>
                      <a:pt x="336" y="118"/>
                    </a:lnTo>
                    <a:lnTo>
                      <a:pt x="342" y="121"/>
                    </a:lnTo>
                    <a:lnTo>
                      <a:pt x="342" y="121"/>
                    </a:lnTo>
                    <a:lnTo>
                      <a:pt x="338" y="136"/>
                    </a:lnTo>
                    <a:lnTo>
                      <a:pt x="338" y="136"/>
                    </a:lnTo>
                    <a:lnTo>
                      <a:pt x="338" y="136"/>
                    </a:lnTo>
                    <a:lnTo>
                      <a:pt x="338" y="145"/>
                    </a:lnTo>
                    <a:lnTo>
                      <a:pt x="340" y="152"/>
                    </a:lnTo>
                    <a:lnTo>
                      <a:pt x="342" y="157"/>
                    </a:lnTo>
                    <a:lnTo>
                      <a:pt x="345" y="161"/>
                    </a:lnTo>
                    <a:lnTo>
                      <a:pt x="350" y="164"/>
                    </a:lnTo>
                    <a:lnTo>
                      <a:pt x="354" y="166"/>
                    </a:lnTo>
                    <a:lnTo>
                      <a:pt x="367" y="169"/>
                    </a:lnTo>
                    <a:lnTo>
                      <a:pt x="367" y="169"/>
                    </a:lnTo>
                    <a:lnTo>
                      <a:pt x="367" y="184"/>
                    </a:lnTo>
                    <a:lnTo>
                      <a:pt x="367" y="184"/>
                    </a:lnTo>
                    <a:lnTo>
                      <a:pt x="367" y="184"/>
                    </a:lnTo>
                    <a:lnTo>
                      <a:pt x="364" y="189"/>
                    </a:lnTo>
                    <a:lnTo>
                      <a:pt x="360" y="194"/>
                    </a:lnTo>
                    <a:lnTo>
                      <a:pt x="357" y="197"/>
                    </a:lnTo>
                    <a:lnTo>
                      <a:pt x="356" y="203"/>
                    </a:lnTo>
                    <a:lnTo>
                      <a:pt x="356" y="203"/>
                    </a:lnTo>
                    <a:lnTo>
                      <a:pt x="357" y="212"/>
                    </a:lnTo>
                    <a:lnTo>
                      <a:pt x="354" y="220"/>
                    </a:lnTo>
                    <a:lnTo>
                      <a:pt x="351" y="229"/>
                    </a:lnTo>
                    <a:lnTo>
                      <a:pt x="346" y="236"/>
                    </a:lnTo>
                    <a:lnTo>
                      <a:pt x="341" y="243"/>
                    </a:lnTo>
                    <a:lnTo>
                      <a:pt x="333" y="250"/>
                    </a:lnTo>
                    <a:lnTo>
                      <a:pt x="325" y="257"/>
                    </a:lnTo>
                    <a:lnTo>
                      <a:pt x="315" y="263"/>
                    </a:lnTo>
                    <a:lnTo>
                      <a:pt x="297" y="273"/>
                    </a:lnTo>
                    <a:lnTo>
                      <a:pt x="277" y="282"/>
                    </a:lnTo>
                    <a:lnTo>
                      <a:pt x="243" y="297"/>
                    </a:lnTo>
                    <a:lnTo>
                      <a:pt x="243" y="297"/>
                    </a:lnTo>
                    <a:lnTo>
                      <a:pt x="236" y="292"/>
                    </a:lnTo>
                    <a:lnTo>
                      <a:pt x="231" y="288"/>
                    </a:lnTo>
                    <a:lnTo>
                      <a:pt x="221" y="278"/>
                    </a:lnTo>
                    <a:lnTo>
                      <a:pt x="216" y="272"/>
                    </a:lnTo>
                    <a:lnTo>
                      <a:pt x="211" y="268"/>
                    </a:lnTo>
                    <a:lnTo>
                      <a:pt x="203" y="266"/>
                    </a:lnTo>
                    <a:lnTo>
                      <a:pt x="195" y="265"/>
                    </a:lnTo>
                    <a:lnTo>
                      <a:pt x="195" y="265"/>
                    </a:lnTo>
                    <a:lnTo>
                      <a:pt x="186" y="266"/>
                    </a:lnTo>
                    <a:lnTo>
                      <a:pt x="182" y="268"/>
                    </a:lnTo>
                    <a:lnTo>
                      <a:pt x="178" y="272"/>
                    </a:lnTo>
                    <a:lnTo>
                      <a:pt x="176" y="275"/>
                    </a:lnTo>
                    <a:lnTo>
                      <a:pt x="174" y="280"/>
                    </a:lnTo>
                    <a:lnTo>
                      <a:pt x="169" y="283"/>
                    </a:lnTo>
                    <a:lnTo>
                      <a:pt x="163" y="286"/>
                    </a:lnTo>
                    <a:lnTo>
                      <a:pt x="154" y="287"/>
                    </a:lnTo>
                    <a:lnTo>
                      <a:pt x="154" y="287"/>
                    </a:lnTo>
                    <a:lnTo>
                      <a:pt x="150" y="286"/>
                    </a:lnTo>
                    <a:lnTo>
                      <a:pt x="146" y="284"/>
                    </a:lnTo>
                    <a:lnTo>
                      <a:pt x="142" y="282"/>
                    </a:lnTo>
                    <a:lnTo>
                      <a:pt x="138" y="280"/>
                    </a:lnTo>
                    <a:lnTo>
                      <a:pt x="132" y="273"/>
                    </a:lnTo>
                    <a:lnTo>
                      <a:pt x="128" y="265"/>
                    </a:lnTo>
                    <a:lnTo>
                      <a:pt x="123" y="257"/>
                    </a:lnTo>
                    <a:lnTo>
                      <a:pt x="119" y="250"/>
                    </a:lnTo>
                    <a:lnTo>
                      <a:pt x="113" y="245"/>
                    </a:lnTo>
                    <a:lnTo>
                      <a:pt x="109" y="243"/>
                    </a:lnTo>
                    <a:lnTo>
                      <a:pt x="106" y="243"/>
                    </a:lnTo>
                    <a:lnTo>
                      <a:pt x="106" y="243"/>
                    </a:lnTo>
                    <a:lnTo>
                      <a:pt x="102" y="243"/>
                    </a:lnTo>
                    <a:lnTo>
                      <a:pt x="99" y="244"/>
                    </a:lnTo>
                    <a:lnTo>
                      <a:pt x="93" y="249"/>
                    </a:lnTo>
                    <a:lnTo>
                      <a:pt x="88" y="252"/>
                    </a:lnTo>
                    <a:lnTo>
                      <a:pt x="84" y="253"/>
                    </a:lnTo>
                    <a:lnTo>
                      <a:pt x="81" y="253"/>
                    </a:lnTo>
                    <a:lnTo>
                      <a:pt x="81" y="253"/>
                    </a:lnTo>
                    <a:lnTo>
                      <a:pt x="75" y="253"/>
                    </a:lnTo>
                    <a:lnTo>
                      <a:pt x="71" y="251"/>
                    </a:lnTo>
                    <a:lnTo>
                      <a:pt x="68" y="248"/>
                    </a:lnTo>
                    <a:lnTo>
                      <a:pt x="66" y="243"/>
                    </a:lnTo>
                    <a:lnTo>
                      <a:pt x="63" y="238"/>
                    </a:lnTo>
                    <a:lnTo>
                      <a:pt x="62" y="233"/>
                    </a:lnTo>
                    <a:lnTo>
                      <a:pt x="61" y="221"/>
                    </a:lnTo>
                    <a:lnTo>
                      <a:pt x="61" y="208"/>
                    </a:lnTo>
                    <a:lnTo>
                      <a:pt x="59" y="198"/>
                    </a:lnTo>
                    <a:lnTo>
                      <a:pt x="58" y="194"/>
                    </a:lnTo>
                    <a:lnTo>
                      <a:pt x="55" y="190"/>
                    </a:lnTo>
                    <a:lnTo>
                      <a:pt x="52" y="189"/>
                    </a:lnTo>
                    <a:lnTo>
                      <a:pt x="47" y="188"/>
                    </a:lnTo>
                    <a:lnTo>
                      <a:pt x="47" y="188"/>
                    </a:lnTo>
                    <a:lnTo>
                      <a:pt x="22" y="188"/>
                    </a:lnTo>
                    <a:lnTo>
                      <a:pt x="22" y="188"/>
                    </a:lnTo>
                    <a:lnTo>
                      <a:pt x="17" y="188"/>
                    </a:lnTo>
                    <a:lnTo>
                      <a:pt x="13" y="187"/>
                    </a:lnTo>
                    <a:lnTo>
                      <a:pt x="8" y="184"/>
                    </a:lnTo>
                    <a:lnTo>
                      <a:pt x="6" y="182"/>
                    </a:lnTo>
                    <a:lnTo>
                      <a:pt x="4" y="179"/>
                    </a:lnTo>
                    <a:lnTo>
                      <a:pt x="1" y="175"/>
                    </a:lnTo>
                    <a:lnTo>
                      <a:pt x="0" y="171"/>
                    </a:lnTo>
                    <a:lnTo>
                      <a:pt x="0" y="166"/>
                    </a:lnTo>
                    <a:lnTo>
                      <a:pt x="0" y="166"/>
                    </a:lnTo>
                    <a:lnTo>
                      <a:pt x="0" y="154"/>
                    </a:lnTo>
                    <a:lnTo>
                      <a:pt x="2" y="143"/>
                    </a:lnTo>
                    <a:lnTo>
                      <a:pt x="5" y="131"/>
                    </a:lnTo>
                    <a:lnTo>
                      <a:pt x="8" y="120"/>
                    </a:lnTo>
                    <a:lnTo>
                      <a:pt x="17" y="97"/>
                    </a:lnTo>
                    <a:lnTo>
                      <a:pt x="28" y="75"/>
                    </a:lnTo>
                    <a:lnTo>
                      <a:pt x="38" y="57"/>
                    </a:lnTo>
                    <a:lnTo>
                      <a:pt x="46" y="43"/>
                    </a:lnTo>
                    <a:lnTo>
                      <a:pt x="55" y="29"/>
                    </a:lnTo>
                    <a:lnTo>
                      <a:pt x="55" y="29"/>
                    </a:lnTo>
                    <a:lnTo>
                      <a:pt x="55" y="2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0" name="Freeform 75"/>
              <p:cNvSpPr>
                <a:spLocks noChangeAspect="1"/>
              </p:cNvSpPr>
              <p:nvPr/>
            </p:nvSpPr>
            <p:spPr bwMode="auto">
              <a:xfrm>
                <a:off x="923389" y="3624336"/>
                <a:ext cx="264713" cy="165599"/>
              </a:xfrm>
              <a:custGeom>
                <a:avLst/>
                <a:gdLst/>
                <a:ahLst/>
                <a:cxnLst>
                  <a:cxn ang="0">
                    <a:pos x="311" y="191"/>
                  </a:cxn>
                  <a:cxn ang="0">
                    <a:pos x="288" y="205"/>
                  </a:cxn>
                  <a:cxn ang="0">
                    <a:pos x="280" y="205"/>
                  </a:cxn>
                  <a:cxn ang="0">
                    <a:pos x="269" y="197"/>
                  </a:cxn>
                  <a:cxn ang="0">
                    <a:pos x="262" y="195"/>
                  </a:cxn>
                  <a:cxn ang="0">
                    <a:pos x="251" y="203"/>
                  </a:cxn>
                  <a:cxn ang="0">
                    <a:pos x="242" y="217"/>
                  </a:cxn>
                  <a:cxn ang="0">
                    <a:pos x="233" y="220"/>
                  </a:cxn>
                  <a:cxn ang="0">
                    <a:pos x="213" y="211"/>
                  </a:cxn>
                  <a:cxn ang="0">
                    <a:pos x="197" y="196"/>
                  </a:cxn>
                  <a:cxn ang="0">
                    <a:pos x="181" y="191"/>
                  </a:cxn>
                  <a:cxn ang="0">
                    <a:pos x="167" y="192"/>
                  </a:cxn>
                  <a:cxn ang="0">
                    <a:pos x="148" y="206"/>
                  </a:cxn>
                  <a:cxn ang="0">
                    <a:pos x="122" y="232"/>
                  </a:cxn>
                  <a:cxn ang="0">
                    <a:pos x="104" y="238"/>
                  </a:cxn>
                  <a:cxn ang="0">
                    <a:pos x="78" y="238"/>
                  </a:cxn>
                  <a:cxn ang="0">
                    <a:pos x="47" y="230"/>
                  </a:cxn>
                  <a:cxn ang="0">
                    <a:pos x="29" y="219"/>
                  </a:cxn>
                  <a:cxn ang="0">
                    <a:pos x="18" y="202"/>
                  </a:cxn>
                  <a:cxn ang="0">
                    <a:pos x="12" y="179"/>
                  </a:cxn>
                  <a:cxn ang="0">
                    <a:pos x="13" y="162"/>
                  </a:cxn>
                  <a:cxn ang="0">
                    <a:pos x="27" y="134"/>
                  </a:cxn>
                  <a:cxn ang="0">
                    <a:pos x="30" y="121"/>
                  </a:cxn>
                  <a:cxn ang="0">
                    <a:pos x="21" y="105"/>
                  </a:cxn>
                  <a:cxn ang="0">
                    <a:pos x="5" y="92"/>
                  </a:cxn>
                  <a:cxn ang="0">
                    <a:pos x="0" y="81"/>
                  </a:cxn>
                  <a:cxn ang="0">
                    <a:pos x="7" y="64"/>
                  </a:cxn>
                  <a:cxn ang="0">
                    <a:pos x="6" y="45"/>
                  </a:cxn>
                  <a:cxn ang="0">
                    <a:pos x="41" y="15"/>
                  </a:cxn>
                  <a:cxn ang="0">
                    <a:pos x="74" y="0"/>
                  </a:cxn>
                  <a:cxn ang="0">
                    <a:pos x="95" y="38"/>
                  </a:cxn>
                  <a:cxn ang="0">
                    <a:pos x="104" y="47"/>
                  </a:cxn>
                  <a:cxn ang="0">
                    <a:pos x="118" y="37"/>
                  </a:cxn>
                  <a:cxn ang="0">
                    <a:pos x="128" y="44"/>
                  </a:cxn>
                  <a:cxn ang="0">
                    <a:pos x="144" y="59"/>
                  </a:cxn>
                  <a:cxn ang="0">
                    <a:pos x="154" y="59"/>
                  </a:cxn>
                  <a:cxn ang="0">
                    <a:pos x="163" y="51"/>
                  </a:cxn>
                  <a:cxn ang="0">
                    <a:pos x="173" y="41"/>
                  </a:cxn>
                  <a:cxn ang="0">
                    <a:pos x="200" y="35"/>
                  </a:cxn>
                  <a:cxn ang="0">
                    <a:pos x="221" y="26"/>
                  </a:cxn>
                  <a:cxn ang="0">
                    <a:pos x="254" y="37"/>
                  </a:cxn>
                  <a:cxn ang="0">
                    <a:pos x="271" y="57"/>
                  </a:cxn>
                  <a:cxn ang="0">
                    <a:pos x="282" y="77"/>
                  </a:cxn>
                  <a:cxn ang="0">
                    <a:pos x="302" y="91"/>
                  </a:cxn>
                  <a:cxn ang="0">
                    <a:pos x="325" y="107"/>
                  </a:cxn>
                  <a:cxn ang="0">
                    <a:pos x="333" y="126"/>
                  </a:cxn>
                  <a:cxn ang="0">
                    <a:pos x="335" y="143"/>
                  </a:cxn>
                  <a:cxn ang="0">
                    <a:pos x="328" y="164"/>
                  </a:cxn>
                  <a:cxn ang="0">
                    <a:pos x="320" y="188"/>
                  </a:cxn>
                  <a:cxn ang="0">
                    <a:pos x="317" y="188"/>
                  </a:cxn>
                </a:cxnLst>
                <a:rect l="0" t="0" r="r" b="b"/>
                <a:pathLst>
                  <a:path w="335" h="240">
                    <a:moveTo>
                      <a:pt x="317" y="188"/>
                    </a:moveTo>
                    <a:lnTo>
                      <a:pt x="317" y="188"/>
                    </a:lnTo>
                    <a:lnTo>
                      <a:pt x="311" y="191"/>
                    </a:lnTo>
                    <a:lnTo>
                      <a:pt x="303" y="198"/>
                    </a:lnTo>
                    <a:lnTo>
                      <a:pt x="293" y="203"/>
                    </a:lnTo>
                    <a:lnTo>
                      <a:pt x="288" y="205"/>
                    </a:lnTo>
                    <a:lnTo>
                      <a:pt x="284" y="205"/>
                    </a:lnTo>
                    <a:lnTo>
                      <a:pt x="284" y="205"/>
                    </a:lnTo>
                    <a:lnTo>
                      <a:pt x="280" y="205"/>
                    </a:lnTo>
                    <a:lnTo>
                      <a:pt x="278" y="204"/>
                    </a:lnTo>
                    <a:lnTo>
                      <a:pt x="273" y="200"/>
                    </a:lnTo>
                    <a:lnTo>
                      <a:pt x="269" y="197"/>
                    </a:lnTo>
                    <a:lnTo>
                      <a:pt x="265" y="196"/>
                    </a:lnTo>
                    <a:lnTo>
                      <a:pt x="262" y="195"/>
                    </a:lnTo>
                    <a:lnTo>
                      <a:pt x="262" y="195"/>
                    </a:lnTo>
                    <a:lnTo>
                      <a:pt x="257" y="196"/>
                    </a:lnTo>
                    <a:lnTo>
                      <a:pt x="254" y="199"/>
                    </a:lnTo>
                    <a:lnTo>
                      <a:pt x="251" y="203"/>
                    </a:lnTo>
                    <a:lnTo>
                      <a:pt x="249" y="207"/>
                    </a:lnTo>
                    <a:lnTo>
                      <a:pt x="246" y="212"/>
                    </a:lnTo>
                    <a:lnTo>
                      <a:pt x="242" y="217"/>
                    </a:lnTo>
                    <a:lnTo>
                      <a:pt x="239" y="219"/>
                    </a:lnTo>
                    <a:lnTo>
                      <a:pt x="233" y="220"/>
                    </a:lnTo>
                    <a:lnTo>
                      <a:pt x="233" y="220"/>
                    </a:lnTo>
                    <a:lnTo>
                      <a:pt x="225" y="219"/>
                    </a:lnTo>
                    <a:lnTo>
                      <a:pt x="219" y="215"/>
                    </a:lnTo>
                    <a:lnTo>
                      <a:pt x="213" y="211"/>
                    </a:lnTo>
                    <a:lnTo>
                      <a:pt x="208" y="205"/>
                    </a:lnTo>
                    <a:lnTo>
                      <a:pt x="203" y="200"/>
                    </a:lnTo>
                    <a:lnTo>
                      <a:pt x="197" y="196"/>
                    </a:lnTo>
                    <a:lnTo>
                      <a:pt x="190" y="192"/>
                    </a:lnTo>
                    <a:lnTo>
                      <a:pt x="186" y="191"/>
                    </a:lnTo>
                    <a:lnTo>
                      <a:pt x="181" y="191"/>
                    </a:lnTo>
                    <a:lnTo>
                      <a:pt x="181" y="191"/>
                    </a:lnTo>
                    <a:lnTo>
                      <a:pt x="174" y="191"/>
                    </a:lnTo>
                    <a:lnTo>
                      <a:pt x="167" y="192"/>
                    </a:lnTo>
                    <a:lnTo>
                      <a:pt x="163" y="195"/>
                    </a:lnTo>
                    <a:lnTo>
                      <a:pt x="157" y="198"/>
                    </a:lnTo>
                    <a:lnTo>
                      <a:pt x="148" y="206"/>
                    </a:lnTo>
                    <a:lnTo>
                      <a:pt x="141" y="215"/>
                    </a:lnTo>
                    <a:lnTo>
                      <a:pt x="132" y="223"/>
                    </a:lnTo>
                    <a:lnTo>
                      <a:pt x="122" y="232"/>
                    </a:lnTo>
                    <a:lnTo>
                      <a:pt x="118" y="235"/>
                    </a:lnTo>
                    <a:lnTo>
                      <a:pt x="111" y="237"/>
                    </a:lnTo>
                    <a:lnTo>
                      <a:pt x="104" y="238"/>
                    </a:lnTo>
                    <a:lnTo>
                      <a:pt x="97" y="240"/>
                    </a:lnTo>
                    <a:lnTo>
                      <a:pt x="97" y="240"/>
                    </a:lnTo>
                    <a:lnTo>
                      <a:pt x="78" y="238"/>
                    </a:lnTo>
                    <a:lnTo>
                      <a:pt x="61" y="235"/>
                    </a:lnTo>
                    <a:lnTo>
                      <a:pt x="55" y="233"/>
                    </a:lnTo>
                    <a:lnTo>
                      <a:pt x="47" y="230"/>
                    </a:lnTo>
                    <a:lnTo>
                      <a:pt x="41" y="227"/>
                    </a:lnTo>
                    <a:lnTo>
                      <a:pt x="35" y="223"/>
                    </a:lnTo>
                    <a:lnTo>
                      <a:pt x="29" y="219"/>
                    </a:lnTo>
                    <a:lnTo>
                      <a:pt x="25" y="213"/>
                    </a:lnTo>
                    <a:lnTo>
                      <a:pt x="21" y="207"/>
                    </a:lnTo>
                    <a:lnTo>
                      <a:pt x="18" y="202"/>
                    </a:lnTo>
                    <a:lnTo>
                      <a:pt x="15" y="195"/>
                    </a:lnTo>
                    <a:lnTo>
                      <a:pt x="13" y="187"/>
                    </a:lnTo>
                    <a:lnTo>
                      <a:pt x="12" y="179"/>
                    </a:lnTo>
                    <a:lnTo>
                      <a:pt x="12" y="169"/>
                    </a:lnTo>
                    <a:lnTo>
                      <a:pt x="12" y="169"/>
                    </a:lnTo>
                    <a:lnTo>
                      <a:pt x="13" y="162"/>
                    </a:lnTo>
                    <a:lnTo>
                      <a:pt x="14" y="157"/>
                    </a:lnTo>
                    <a:lnTo>
                      <a:pt x="21" y="145"/>
                    </a:lnTo>
                    <a:lnTo>
                      <a:pt x="27" y="134"/>
                    </a:lnTo>
                    <a:lnTo>
                      <a:pt x="29" y="128"/>
                    </a:lnTo>
                    <a:lnTo>
                      <a:pt x="30" y="121"/>
                    </a:lnTo>
                    <a:lnTo>
                      <a:pt x="30" y="121"/>
                    </a:lnTo>
                    <a:lnTo>
                      <a:pt x="29" y="115"/>
                    </a:lnTo>
                    <a:lnTo>
                      <a:pt x="26" y="110"/>
                    </a:lnTo>
                    <a:lnTo>
                      <a:pt x="21" y="105"/>
                    </a:lnTo>
                    <a:lnTo>
                      <a:pt x="15" y="102"/>
                    </a:lnTo>
                    <a:lnTo>
                      <a:pt x="10" y="97"/>
                    </a:lnTo>
                    <a:lnTo>
                      <a:pt x="5" y="92"/>
                    </a:lnTo>
                    <a:lnTo>
                      <a:pt x="2" y="87"/>
                    </a:lnTo>
                    <a:lnTo>
                      <a:pt x="0" y="81"/>
                    </a:lnTo>
                    <a:lnTo>
                      <a:pt x="0" y="81"/>
                    </a:lnTo>
                    <a:lnTo>
                      <a:pt x="2" y="76"/>
                    </a:lnTo>
                    <a:lnTo>
                      <a:pt x="4" y="73"/>
                    </a:lnTo>
                    <a:lnTo>
                      <a:pt x="7" y="64"/>
                    </a:lnTo>
                    <a:lnTo>
                      <a:pt x="9" y="58"/>
                    </a:lnTo>
                    <a:lnTo>
                      <a:pt x="9" y="52"/>
                    </a:lnTo>
                    <a:lnTo>
                      <a:pt x="6" y="45"/>
                    </a:lnTo>
                    <a:lnTo>
                      <a:pt x="0" y="37"/>
                    </a:lnTo>
                    <a:lnTo>
                      <a:pt x="0" y="37"/>
                    </a:lnTo>
                    <a:lnTo>
                      <a:pt x="41" y="15"/>
                    </a:lnTo>
                    <a:lnTo>
                      <a:pt x="58" y="7"/>
                    </a:lnTo>
                    <a:lnTo>
                      <a:pt x="74" y="0"/>
                    </a:lnTo>
                    <a:lnTo>
                      <a:pt x="74" y="0"/>
                    </a:lnTo>
                    <a:lnTo>
                      <a:pt x="81" y="14"/>
                    </a:lnTo>
                    <a:lnTo>
                      <a:pt x="88" y="27"/>
                    </a:lnTo>
                    <a:lnTo>
                      <a:pt x="95" y="38"/>
                    </a:lnTo>
                    <a:lnTo>
                      <a:pt x="98" y="44"/>
                    </a:lnTo>
                    <a:lnTo>
                      <a:pt x="104" y="47"/>
                    </a:lnTo>
                    <a:lnTo>
                      <a:pt x="104" y="47"/>
                    </a:lnTo>
                    <a:lnTo>
                      <a:pt x="109" y="45"/>
                    </a:lnTo>
                    <a:lnTo>
                      <a:pt x="112" y="43"/>
                    </a:lnTo>
                    <a:lnTo>
                      <a:pt x="118" y="37"/>
                    </a:lnTo>
                    <a:lnTo>
                      <a:pt x="118" y="37"/>
                    </a:lnTo>
                    <a:lnTo>
                      <a:pt x="124" y="39"/>
                    </a:lnTo>
                    <a:lnTo>
                      <a:pt x="128" y="44"/>
                    </a:lnTo>
                    <a:lnTo>
                      <a:pt x="135" y="51"/>
                    </a:lnTo>
                    <a:lnTo>
                      <a:pt x="141" y="57"/>
                    </a:lnTo>
                    <a:lnTo>
                      <a:pt x="144" y="59"/>
                    </a:lnTo>
                    <a:lnTo>
                      <a:pt x="148" y="59"/>
                    </a:lnTo>
                    <a:lnTo>
                      <a:pt x="148" y="59"/>
                    </a:lnTo>
                    <a:lnTo>
                      <a:pt x="154" y="59"/>
                    </a:lnTo>
                    <a:lnTo>
                      <a:pt x="158" y="57"/>
                    </a:lnTo>
                    <a:lnTo>
                      <a:pt x="160" y="54"/>
                    </a:lnTo>
                    <a:lnTo>
                      <a:pt x="163" y="51"/>
                    </a:lnTo>
                    <a:lnTo>
                      <a:pt x="166" y="45"/>
                    </a:lnTo>
                    <a:lnTo>
                      <a:pt x="170" y="43"/>
                    </a:lnTo>
                    <a:lnTo>
                      <a:pt x="173" y="41"/>
                    </a:lnTo>
                    <a:lnTo>
                      <a:pt x="173" y="41"/>
                    </a:lnTo>
                    <a:lnTo>
                      <a:pt x="188" y="37"/>
                    </a:lnTo>
                    <a:lnTo>
                      <a:pt x="200" y="35"/>
                    </a:lnTo>
                    <a:lnTo>
                      <a:pt x="211" y="30"/>
                    </a:lnTo>
                    <a:lnTo>
                      <a:pt x="221" y="26"/>
                    </a:lnTo>
                    <a:lnTo>
                      <a:pt x="221" y="26"/>
                    </a:lnTo>
                    <a:lnTo>
                      <a:pt x="235" y="29"/>
                    </a:lnTo>
                    <a:lnTo>
                      <a:pt x="246" y="32"/>
                    </a:lnTo>
                    <a:lnTo>
                      <a:pt x="254" y="37"/>
                    </a:lnTo>
                    <a:lnTo>
                      <a:pt x="261" y="43"/>
                    </a:lnTo>
                    <a:lnTo>
                      <a:pt x="265" y="50"/>
                    </a:lnTo>
                    <a:lnTo>
                      <a:pt x="271" y="57"/>
                    </a:lnTo>
                    <a:lnTo>
                      <a:pt x="280" y="74"/>
                    </a:lnTo>
                    <a:lnTo>
                      <a:pt x="280" y="74"/>
                    </a:lnTo>
                    <a:lnTo>
                      <a:pt x="282" y="77"/>
                    </a:lnTo>
                    <a:lnTo>
                      <a:pt x="286" y="81"/>
                    </a:lnTo>
                    <a:lnTo>
                      <a:pt x="294" y="87"/>
                    </a:lnTo>
                    <a:lnTo>
                      <a:pt x="302" y="91"/>
                    </a:lnTo>
                    <a:lnTo>
                      <a:pt x="312" y="96"/>
                    </a:lnTo>
                    <a:lnTo>
                      <a:pt x="320" y="103"/>
                    </a:lnTo>
                    <a:lnTo>
                      <a:pt x="325" y="107"/>
                    </a:lnTo>
                    <a:lnTo>
                      <a:pt x="328" y="112"/>
                    </a:lnTo>
                    <a:lnTo>
                      <a:pt x="331" y="119"/>
                    </a:lnTo>
                    <a:lnTo>
                      <a:pt x="333" y="126"/>
                    </a:lnTo>
                    <a:lnTo>
                      <a:pt x="335" y="134"/>
                    </a:lnTo>
                    <a:lnTo>
                      <a:pt x="335" y="143"/>
                    </a:lnTo>
                    <a:lnTo>
                      <a:pt x="335" y="143"/>
                    </a:lnTo>
                    <a:lnTo>
                      <a:pt x="334" y="149"/>
                    </a:lnTo>
                    <a:lnTo>
                      <a:pt x="333" y="153"/>
                    </a:lnTo>
                    <a:lnTo>
                      <a:pt x="328" y="164"/>
                    </a:lnTo>
                    <a:lnTo>
                      <a:pt x="323" y="175"/>
                    </a:lnTo>
                    <a:lnTo>
                      <a:pt x="322" y="181"/>
                    </a:lnTo>
                    <a:lnTo>
                      <a:pt x="320" y="188"/>
                    </a:lnTo>
                    <a:lnTo>
                      <a:pt x="320" y="188"/>
                    </a:lnTo>
                    <a:lnTo>
                      <a:pt x="317" y="188"/>
                    </a:lnTo>
                    <a:lnTo>
                      <a:pt x="317" y="188"/>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1" name="Freeform 76"/>
              <p:cNvSpPr>
                <a:spLocks noChangeAspect="1"/>
              </p:cNvSpPr>
              <p:nvPr/>
            </p:nvSpPr>
            <p:spPr bwMode="auto">
              <a:xfrm>
                <a:off x="1121528" y="3991714"/>
                <a:ext cx="229841" cy="235177"/>
              </a:xfrm>
              <a:custGeom>
                <a:avLst/>
                <a:gdLst/>
                <a:ahLst/>
                <a:cxnLst>
                  <a:cxn ang="0">
                    <a:pos x="291" y="59"/>
                  </a:cxn>
                  <a:cxn ang="0">
                    <a:pos x="279" y="67"/>
                  </a:cxn>
                  <a:cxn ang="0">
                    <a:pos x="269" y="76"/>
                  </a:cxn>
                  <a:cxn ang="0">
                    <a:pos x="264" y="88"/>
                  </a:cxn>
                  <a:cxn ang="0">
                    <a:pos x="261" y="101"/>
                  </a:cxn>
                  <a:cxn ang="0">
                    <a:pos x="261" y="218"/>
                  </a:cxn>
                  <a:cxn ang="0">
                    <a:pos x="261" y="225"/>
                  </a:cxn>
                  <a:cxn ang="0">
                    <a:pos x="258" y="235"/>
                  </a:cxn>
                  <a:cxn ang="0">
                    <a:pos x="249" y="249"/>
                  </a:cxn>
                  <a:cxn ang="0">
                    <a:pos x="222" y="267"/>
                  </a:cxn>
                  <a:cxn ang="0">
                    <a:pos x="210" y="280"/>
                  </a:cxn>
                  <a:cxn ang="0">
                    <a:pos x="205" y="280"/>
                  </a:cxn>
                  <a:cxn ang="0">
                    <a:pos x="191" y="285"/>
                  </a:cxn>
                  <a:cxn ang="0">
                    <a:pos x="174" y="292"/>
                  </a:cxn>
                  <a:cxn ang="0">
                    <a:pos x="104" y="339"/>
                  </a:cxn>
                  <a:cxn ang="0">
                    <a:pos x="104" y="339"/>
                  </a:cxn>
                  <a:cxn ang="0">
                    <a:pos x="105" y="326"/>
                  </a:cxn>
                  <a:cxn ang="0">
                    <a:pos x="103" y="318"/>
                  </a:cxn>
                  <a:cxn ang="0">
                    <a:pos x="97" y="315"/>
                  </a:cxn>
                  <a:cxn ang="0">
                    <a:pos x="83" y="313"/>
                  </a:cxn>
                  <a:cxn ang="0">
                    <a:pos x="72" y="311"/>
                  </a:cxn>
                  <a:cxn ang="0">
                    <a:pos x="66" y="307"/>
                  </a:cxn>
                  <a:cxn ang="0">
                    <a:pos x="63" y="303"/>
                  </a:cxn>
                  <a:cxn ang="0">
                    <a:pos x="51" y="266"/>
                  </a:cxn>
                  <a:cxn ang="0">
                    <a:pos x="36" y="235"/>
                  </a:cxn>
                  <a:cxn ang="0">
                    <a:pos x="0" y="174"/>
                  </a:cxn>
                  <a:cxn ang="0">
                    <a:pos x="12" y="173"/>
                  </a:cxn>
                  <a:cxn ang="0">
                    <a:pos x="26" y="166"/>
                  </a:cxn>
                  <a:cxn ang="0">
                    <a:pos x="31" y="155"/>
                  </a:cxn>
                  <a:cxn ang="0">
                    <a:pos x="34" y="126"/>
                  </a:cxn>
                  <a:cxn ang="0">
                    <a:pos x="34" y="74"/>
                  </a:cxn>
                  <a:cxn ang="0">
                    <a:pos x="34" y="69"/>
                  </a:cxn>
                  <a:cxn ang="0">
                    <a:pos x="38" y="59"/>
                  </a:cxn>
                  <a:cxn ang="0">
                    <a:pos x="50" y="44"/>
                  </a:cxn>
                  <a:cxn ang="0">
                    <a:pos x="73" y="23"/>
                  </a:cxn>
                  <a:cxn ang="0">
                    <a:pos x="107" y="0"/>
                  </a:cxn>
                  <a:cxn ang="0">
                    <a:pos x="111" y="6"/>
                  </a:cxn>
                  <a:cxn ang="0">
                    <a:pos x="119" y="14"/>
                  </a:cxn>
                  <a:cxn ang="0">
                    <a:pos x="126" y="15"/>
                  </a:cxn>
                  <a:cxn ang="0">
                    <a:pos x="129" y="15"/>
                  </a:cxn>
                  <a:cxn ang="0">
                    <a:pos x="138" y="11"/>
                  </a:cxn>
                  <a:cxn ang="0">
                    <a:pos x="147" y="5"/>
                  </a:cxn>
                  <a:cxn ang="0">
                    <a:pos x="151" y="5"/>
                  </a:cxn>
                  <a:cxn ang="0">
                    <a:pos x="158" y="7"/>
                  </a:cxn>
                  <a:cxn ang="0">
                    <a:pos x="168" y="19"/>
                  </a:cxn>
                  <a:cxn ang="0">
                    <a:pos x="177" y="35"/>
                  </a:cxn>
                  <a:cxn ang="0">
                    <a:pos x="187" y="44"/>
                  </a:cxn>
                  <a:cxn ang="0">
                    <a:pos x="195" y="48"/>
                  </a:cxn>
                  <a:cxn ang="0">
                    <a:pos x="199" y="49"/>
                  </a:cxn>
                  <a:cxn ang="0">
                    <a:pos x="214" y="45"/>
                  </a:cxn>
                  <a:cxn ang="0">
                    <a:pos x="221" y="37"/>
                  </a:cxn>
                  <a:cxn ang="0">
                    <a:pos x="227" y="30"/>
                  </a:cxn>
                  <a:cxn ang="0">
                    <a:pos x="240" y="27"/>
                  </a:cxn>
                  <a:cxn ang="0">
                    <a:pos x="248" y="28"/>
                  </a:cxn>
                  <a:cxn ang="0">
                    <a:pos x="261" y="34"/>
                  </a:cxn>
                  <a:cxn ang="0">
                    <a:pos x="276" y="50"/>
                  </a:cxn>
                  <a:cxn ang="0">
                    <a:pos x="288" y="59"/>
                  </a:cxn>
                  <a:cxn ang="0">
                    <a:pos x="291" y="59"/>
                  </a:cxn>
                </a:cxnLst>
                <a:rect l="0" t="0" r="r" b="b"/>
                <a:pathLst>
                  <a:path w="291" h="339">
                    <a:moveTo>
                      <a:pt x="291" y="59"/>
                    </a:moveTo>
                    <a:lnTo>
                      <a:pt x="291" y="59"/>
                    </a:lnTo>
                    <a:lnTo>
                      <a:pt x="284" y="63"/>
                    </a:lnTo>
                    <a:lnTo>
                      <a:pt x="279" y="67"/>
                    </a:lnTo>
                    <a:lnTo>
                      <a:pt x="274" y="71"/>
                    </a:lnTo>
                    <a:lnTo>
                      <a:pt x="269" y="76"/>
                    </a:lnTo>
                    <a:lnTo>
                      <a:pt x="266" y="81"/>
                    </a:lnTo>
                    <a:lnTo>
                      <a:pt x="264" y="88"/>
                    </a:lnTo>
                    <a:lnTo>
                      <a:pt x="263" y="94"/>
                    </a:lnTo>
                    <a:lnTo>
                      <a:pt x="261" y="101"/>
                    </a:lnTo>
                    <a:lnTo>
                      <a:pt x="261" y="101"/>
                    </a:lnTo>
                    <a:lnTo>
                      <a:pt x="261" y="218"/>
                    </a:lnTo>
                    <a:lnTo>
                      <a:pt x="261" y="218"/>
                    </a:lnTo>
                    <a:lnTo>
                      <a:pt x="261" y="225"/>
                    </a:lnTo>
                    <a:lnTo>
                      <a:pt x="260" y="231"/>
                    </a:lnTo>
                    <a:lnTo>
                      <a:pt x="258" y="235"/>
                    </a:lnTo>
                    <a:lnTo>
                      <a:pt x="256" y="241"/>
                    </a:lnTo>
                    <a:lnTo>
                      <a:pt x="249" y="249"/>
                    </a:lnTo>
                    <a:lnTo>
                      <a:pt x="240" y="256"/>
                    </a:lnTo>
                    <a:lnTo>
                      <a:pt x="222" y="267"/>
                    </a:lnTo>
                    <a:lnTo>
                      <a:pt x="215" y="274"/>
                    </a:lnTo>
                    <a:lnTo>
                      <a:pt x="210" y="280"/>
                    </a:lnTo>
                    <a:lnTo>
                      <a:pt x="210" y="280"/>
                    </a:lnTo>
                    <a:lnTo>
                      <a:pt x="205" y="280"/>
                    </a:lnTo>
                    <a:lnTo>
                      <a:pt x="200" y="281"/>
                    </a:lnTo>
                    <a:lnTo>
                      <a:pt x="191" y="285"/>
                    </a:lnTo>
                    <a:lnTo>
                      <a:pt x="183" y="288"/>
                    </a:lnTo>
                    <a:lnTo>
                      <a:pt x="174" y="292"/>
                    </a:lnTo>
                    <a:lnTo>
                      <a:pt x="174" y="292"/>
                    </a:lnTo>
                    <a:lnTo>
                      <a:pt x="104" y="339"/>
                    </a:lnTo>
                    <a:lnTo>
                      <a:pt x="104" y="339"/>
                    </a:lnTo>
                    <a:lnTo>
                      <a:pt x="104" y="339"/>
                    </a:lnTo>
                    <a:lnTo>
                      <a:pt x="105" y="332"/>
                    </a:lnTo>
                    <a:lnTo>
                      <a:pt x="105" y="326"/>
                    </a:lnTo>
                    <a:lnTo>
                      <a:pt x="104" y="321"/>
                    </a:lnTo>
                    <a:lnTo>
                      <a:pt x="103" y="318"/>
                    </a:lnTo>
                    <a:lnTo>
                      <a:pt x="100" y="316"/>
                    </a:lnTo>
                    <a:lnTo>
                      <a:pt x="97" y="315"/>
                    </a:lnTo>
                    <a:lnTo>
                      <a:pt x="90" y="313"/>
                    </a:lnTo>
                    <a:lnTo>
                      <a:pt x="83" y="313"/>
                    </a:lnTo>
                    <a:lnTo>
                      <a:pt x="75" y="312"/>
                    </a:lnTo>
                    <a:lnTo>
                      <a:pt x="72" y="311"/>
                    </a:lnTo>
                    <a:lnTo>
                      <a:pt x="68" y="310"/>
                    </a:lnTo>
                    <a:lnTo>
                      <a:pt x="66" y="307"/>
                    </a:lnTo>
                    <a:lnTo>
                      <a:pt x="63" y="303"/>
                    </a:lnTo>
                    <a:lnTo>
                      <a:pt x="63" y="303"/>
                    </a:lnTo>
                    <a:lnTo>
                      <a:pt x="57" y="283"/>
                    </a:lnTo>
                    <a:lnTo>
                      <a:pt x="51" y="266"/>
                    </a:lnTo>
                    <a:lnTo>
                      <a:pt x="44" y="250"/>
                    </a:lnTo>
                    <a:lnTo>
                      <a:pt x="36" y="235"/>
                    </a:lnTo>
                    <a:lnTo>
                      <a:pt x="20" y="206"/>
                    </a:lnTo>
                    <a:lnTo>
                      <a:pt x="0" y="174"/>
                    </a:lnTo>
                    <a:lnTo>
                      <a:pt x="0" y="174"/>
                    </a:lnTo>
                    <a:lnTo>
                      <a:pt x="12" y="173"/>
                    </a:lnTo>
                    <a:lnTo>
                      <a:pt x="20" y="171"/>
                    </a:lnTo>
                    <a:lnTo>
                      <a:pt x="26" y="166"/>
                    </a:lnTo>
                    <a:lnTo>
                      <a:pt x="29" y="162"/>
                    </a:lnTo>
                    <a:lnTo>
                      <a:pt x="31" y="155"/>
                    </a:lnTo>
                    <a:lnTo>
                      <a:pt x="34" y="147"/>
                    </a:lnTo>
                    <a:lnTo>
                      <a:pt x="34" y="126"/>
                    </a:lnTo>
                    <a:lnTo>
                      <a:pt x="34" y="126"/>
                    </a:lnTo>
                    <a:lnTo>
                      <a:pt x="34" y="74"/>
                    </a:lnTo>
                    <a:lnTo>
                      <a:pt x="34" y="74"/>
                    </a:lnTo>
                    <a:lnTo>
                      <a:pt x="34" y="69"/>
                    </a:lnTo>
                    <a:lnTo>
                      <a:pt x="36" y="65"/>
                    </a:lnTo>
                    <a:lnTo>
                      <a:pt x="38" y="59"/>
                    </a:lnTo>
                    <a:lnTo>
                      <a:pt x="42" y="54"/>
                    </a:lnTo>
                    <a:lnTo>
                      <a:pt x="50" y="44"/>
                    </a:lnTo>
                    <a:lnTo>
                      <a:pt x="61" y="34"/>
                    </a:lnTo>
                    <a:lnTo>
                      <a:pt x="73" y="23"/>
                    </a:lnTo>
                    <a:lnTo>
                      <a:pt x="85" y="15"/>
                    </a:lnTo>
                    <a:lnTo>
                      <a:pt x="107" y="0"/>
                    </a:lnTo>
                    <a:lnTo>
                      <a:pt x="107" y="0"/>
                    </a:lnTo>
                    <a:lnTo>
                      <a:pt x="111" y="6"/>
                    </a:lnTo>
                    <a:lnTo>
                      <a:pt x="114" y="11"/>
                    </a:lnTo>
                    <a:lnTo>
                      <a:pt x="119" y="14"/>
                    </a:lnTo>
                    <a:lnTo>
                      <a:pt x="122" y="15"/>
                    </a:lnTo>
                    <a:lnTo>
                      <a:pt x="126" y="15"/>
                    </a:lnTo>
                    <a:lnTo>
                      <a:pt x="126" y="15"/>
                    </a:lnTo>
                    <a:lnTo>
                      <a:pt x="129" y="15"/>
                    </a:lnTo>
                    <a:lnTo>
                      <a:pt x="133" y="14"/>
                    </a:lnTo>
                    <a:lnTo>
                      <a:pt x="138" y="11"/>
                    </a:lnTo>
                    <a:lnTo>
                      <a:pt x="144" y="6"/>
                    </a:lnTo>
                    <a:lnTo>
                      <a:pt x="147" y="5"/>
                    </a:lnTo>
                    <a:lnTo>
                      <a:pt x="151" y="5"/>
                    </a:lnTo>
                    <a:lnTo>
                      <a:pt x="151" y="5"/>
                    </a:lnTo>
                    <a:lnTo>
                      <a:pt x="154" y="5"/>
                    </a:lnTo>
                    <a:lnTo>
                      <a:pt x="158" y="7"/>
                    </a:lnTo>
                    <a:lnTo>
                      <a:pt x="164" y="12"/>
                    </a:lnTo>
                    <a:lnTo>
                      <a:pt x="168" y="19"/>
                    </a:lnTo>
                    <a:lnTo>
                      <a:pt x="173" y="27"/>
                    </a:lnTo>
                    <a:lnTo>
                      <a:pt x="177" y="35"/>
                    </a:lnTo>
                    <a:lnTo>
                      <a:pt x="183" y="42"/>
                    </a:lnTo>
                    <a:lnTo>
                      <a:pt x="187" y="44"/>
                    </a:lnTo>
                    <a:lnTo>
                      <a:pt x="191" y="46"/>
                    </a:lnTo>
                    <a:lnTo>
                      <a:pt x="195" y="48"/>
                    </a:lnTo>
                    <a:lnTo>
                      <a:pt x="199" y="49"/>
                    </a:lnTo>
                    <a:lnTo>
                      <a:pt x="199" y="49"/>
                    </a:lnTo>
                    <a:lnTo>
                      <a:pt x="208" y="48"/>
                    </a:lnTo>
                    <a:lnTo>
                      <a:pt x="214" y="45"/>
                    </a:lnTo>
                    <a:lnTo>
                      <a:pt x="219" y="42"/>
                    </a:lnTo>
                    <a:lnTo>
                      <a:pt x="221" y="37"/>
                    </a:lnTo>
                    <a:lnTo>
                      <a:pt x="223" y="34"/>
                    </a:lnTo>
                    <a:lnTo>
                      <a:pt x="227" y="30"/>
                    </a:lnTo>
                    <a:lnTo>
                      <a:pt x="231" y="28"/>
                    </a:lnTo>
                    <a:lnTo>
                      <a:pt x="240" y="27"/>
                    </a:lnTo>
                    <a:lnTo>
                      <a:pt x="240" y="27"/>
                    </a:lnTo>
                    <a:lnTo>
                      <a:pt x="248" y="28"/>
                    </a:lnTo>
                    <a:lnTo>
                      <a:pt x="256" y="30"/>
                    </a:lnTo>
                    <a:lnTo>
                      <a:pt x="261" y="34"/>
                    </a:lnTo>
                    <a:lnTo>
                      <a:pt x="266" y="40"/>
                    </a:lnTo>
                    <a:lnTo>
                      <a:pt x="276" y="50"/>
                    </a:lnTo>
                    <a:lnTo>
                      <a:pt x="281" y="54"/>
                    </a:lnTo>
                    <a:lnTo>
                      <a:pt x="288" y="59"/>
                    </a:lnTo>
                    <a:lnTo>
                      <a:pt x="288" y="59"/>
                    </a:lnTo>
                    <a:lnTo>
                      <a:pt x="291" y="59"/>
                    </a:lnTo>
                    <a:lnTo>
                      <a:pt x="291" y="5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2" name="Freeform 77"/>
              <p:cNvSpPr>
                <a:spLocks noChangeAspect="1"/>
              </p:cNvSpPr>
              <p:nvPr/>
            </p:nvSpPr>
            <p:spPr bwMode="auto">
              <a:xfrm>
                <a:off x="882177" y="4019545"/>
                <a:ext cx="321777" cy="296407"/>
              </a:xfrm>
              <a:custGeom>
                <a:avLst/>
                <a:gdLst/>
                <a:ahLst/>
                <a:cxnLst>
                  <a:cxn ang="0">
                    <a:pos x="404" y="297"/>
                  </a:cxn>
                  <a:cxn ang="0">
                    <a:pos x="405" y="284"/>
                  </a:cxn>
                  <a:cxn ang="0">
                    <a:pos x="400" y="274"/>
                  </a:cxn>
                  <a:cxn ang="0">
                    <a:pos x="383" y="271"/>
                  </a:cxn>
                  <a:cxn ang="0">
                    <a:pos x="368" y="268"/>
                  </a:cxn>
                  <a:cxn ang="0">
                    <a:pos x="363" y="261"/>
                  </a:cxn>
                  <a:cxn ang="0">
                    <a:pos x="344" y="208"/>
                  </a:cxn>
                  <a:cxn ang="0">
                    <a:pos x="300" y="132"/>
                  </a:cxn>
                  <a:cxn ang="0">
                    <a:pos x="279" y="128"/>
                  </a:cxn>
                  <a:cxn ang="0">
                    <a:pos x="250" y="109"/>
                  </a:cxn>
                  <a:cxn ang="0">
                    <a:pos x="231" y="84"/>
                  </a:cxn>
                  <a:cxn ang="0">
                    <a:pos x="229" y="69"/>
                  </a:cxn>
                  <a:cxn ang="0">
                    <a:pos x="229" y="48"/>
                  </a:cxn>
                  <a:cxn ang="0">
                    <a:pos x="216" y="40"/>
                  </a:cxn>
                  <a:cxn ang="0">
                    <a:pos x="194" y="19"/>
                  </a:cxn>
                  <a:cxn ang="0">
                    <a:pos x="179" y="6"/>
                  </a:cxn>
                  <a:cxn ang="0">
                    <a:pos x="159" y="2"/>
                  </a:cxn>
                  <a:cxn ang="0">
                    <a:pos x="134" y="1"/>
                  </a:cxn>
                  <a:cxn ang="0">
                    <a:pos x="125" y="10"/>
                  </a:cxn>
                  <a:cxn ang="0">
                    <a:pos x="102" y="47"/>
                  </a:cxn>
                  <a:cxn ang="0">
                    <a:pos x="80" y="80"/>
                  </a:cxn>
                  <a:cxn ang="0">
                    <a:pos x="83" y="90"/>
                  </a:cxn>
                  <a:cxn ang="0">
                    <a:pos x="84" y="99"/>
                  </a:cxn>
                  <a:cxn ang="0">
                    <a:pos x="71" y="110"/>
                  </a:cxn>
                  <a:cxn ang="0">
                    <a:pos x="70" y="117"/>
                  </a:cxn>
                  <a:cxn ang="0">
                    <a:pos x="93" y="138"/>
                  </a:cxn>
                  <a:cxn ang="0">
                    <a:pos x="93" y="144"/>
                  </a:cxn>
                  <a:cxn ang="0">
                    <a:pos x="73" y="163"/>
                  </a:cxn>
                  <a:cxn ang="0">
                    <a:pos x="70" y="168"/>
                  </a:cxn>
                  <a:cxn ang="0">
                    <a:pos x="76" y="184"/>
                  </a:cxn>
                  <a:cxn ang="0">
                    <a:pos x="76" y="200"/>
                  </a:cxn>
                  <a:cxn ang="0">
                    <a:pos x="64" y="225"/>
                  </a:cxn>
                  <a:cxn ang="0">
                    <a:pos x="38" y="252"/>
                  </a:cxn>
                  <a:cxn ang="0">
                    <a:pos x="11" y="281"/>
                  </a:cxn>
                  <a:cxn ang="0">
                    <a:pos x="1" y="308"/>
                  </a:cxn>
                  <a:cxn ang="0">
                    <a:pos x="1" y="325"/>
                  </a:cxn>
                  <a:cxn ang="0">
                    <a:pos x="18" y="384"/>
                  </a:cxn>
                  <a:cxn ang="0">
                    <a:pos x="25" y="400"/>
                  </a:cxn>
                  <a:cxn ang="0">
                    <a:pos x="30" y="390"/>
                  </a:cxn>
                  <a:cxn ang="0">
                    <a:pos x="42" y="389"/>
                  </a:cxn>
                  <a:cxn ang="0">
                    <a:pos x="59" y="395"/>
                  </a:cxn>
                  <a:cxn ang="0">
                    <a:pos x="84" y="414"/>
                  </a:cxn>
                  <a:cxn ang="0">
                    <a:pos x="103" y="424"/>
                  </a:cxn>
                  <a:cxn ang="0">
                    <a:pos x="117" y="426"/>
                  </a:cxn>
                  <a:cxn ang="0">
                    <a:pos x="144" y="420"/>
                  </a:cxn>
                  <a:cxn ang="0">
                    <a:pos x="168" y="414"/>
                  </a:cxn>
                  <a:cxn ang="0">
                    <a:pos x="181" y="418"/>
                  </a:cxn>
                  <a:cxn ang="0">
                    <a:pos x="187" y="415"/>
                  </a:cxn>
                  <a:cxn ang="0">
                    <a:pos x="195" y="397"/>
                  </a:cxn>
                  <a:cxn ang="0">
                    <a:pos x="224" y="358"/>
                  </a:cxn>
                  <a:cxn ang="0">
                    <a:pos x="244" y="323"/>
                  </a:cxn>
                  <a:cxn ang="0">
                    <a:pos x="323" y="315"/>
                  </a:cxn>
                  <a:cxn ang="0">
                    <a:pos x="330" y="317"/>
                  </a:cxn>
                  <a:cxn ang="0">
                    <a:pos x="353" y="338"/>
                  </a:cxn>
                  <a:cxn ang="0">
                    <a:pos x="382" y="362"/>
                  </a:cxn>
                  <a:cxn ang="0">
                    <a:pos x="392" y="367"/>
                  </a:cxn>
                  <a:cxn ang="0">
                    <a:pos x="403" y="332"/>
                  </a:cxn>
                  <a:cxn ang="0">
                    <a:pos x="404" y="327"/>
                  </a:cxn>
                </a:cxnLst>
                <a:rect l="0" t="0" r="r" b="b"/>
                <a:pathLst>
                  <a:path w="405" h="426">
                    <a:moveTo>
                      <a:pt x="404" y="327"/>
                    </a:moveTo>
                    <a:lnTo>
                      <a:pt x="404" y="327"/>
                    </a:lnTo>
                    <a:lnTo>
                      <a:pt x="404" y="297"/>
                    </a:lnTo>
                    <a:lnTo>
                      <a:pt x="404" y="297"/>
                    </a:lnTo>
                    <a:lnTo>
                      <a:pt x="405" y="290"/>
                    </a:lnTo>
                    <a:lnTo>
                      <a:pt x="405" y="284"/>
                    </a:lnTo>
                    <a:lnTo>
                      <a:pt x="404" y="279"/>
                    </a:lnTo>
                    <a:lnTo>
                      <a:pt x="403" y="276"/>
                    </a:lnTo>
                    <a:lnTo>
                      <a:pt x="400" y="274"/>
                    </a:lnTo>
                    <a:lnTo>
                      <a:pt x="397" y="273"/>
                    </a:lnTo>
                    <a:lnTo>
                      <a:pt x="390" y="271"/>
                    </a:lnTo>
                    <a:lnTo>
                      <a:pt x="383" y="271"/>
                    </a:lnTo>
                    <a:lnTo>
                      <a:pt x="375" y="270"/>
                    </a:lnTo>
                    <a:lnTo>
                      <a:pt x="372" y="269"/>
                    </a:lnTo>
                    <a:lnTo>
                      <a:pt x="368" y="268"/>
                    </a:lnTo>
                    <a:lnTo>
                      <a:pt x="366" y="265"/>
                    </a:lnTo>
                    <a:lnTo>
                      <a:pt x="363" y="261"/>
                    </a:lnTo>
                    <a:lnTo>
                      <a:pt x="363" y="261"/>
                    </a:lnTo>
                    <a:lnTo>
                      <a:pt x="357" y="241"/>
                    </a:lnTo>
                    <a:lnTo>
                      <a:pt x="351" y="224"/>
                    </a:lnTo>
                    <a:lnTo>
                      <a:pt x="344" y="208"/>
                    </a:lnTo>
                    <a:lnTo>
                      <a:pt x="336" y="193"/>
                    </a:lnTo>
                    <a:lnTo>
                      <a:pt x="320" y="164"/>
                    </a:lnTo>
                    <a:lnTo>
                      <a:pt x="300" y="132"/>
                    </a:lnTo>
                    <a:lnTo>
                      <a:pt x="300" y="132"/>
                    </a:lnTo>
                    <a:lnTo>
                      <a:pt x="291" y="131"/>
                    </a:lnTo>
                    <a:lnTo>
                      <a:pt x="279" y="128"/>
                    </a:lnTo>
                    <a:lnTo>
                      <a:pt x="269" y="123"/>
                    </a:lnTo>
                    <a:lnTo>
                      <a:pt x="259" y="116"/>
                    </a:lnTo>
                    <a:lnTo>
                      <a:pt x="250" y="109"/>
                    </a:lnTo>
                    <a:lnTo>
                      <a:pt x="242" y="101"/>
                    </a:lnTo>
                    <a:lnTo>
                      <a:pt x="236" y="92"/>
                    </a:lnTo>
                    <a:lnTo>
                      <a:pt x="231" y="84"/>
                    </a:lnTo>
                    <a:lnTo>
                      <a:pt x="231" y="84"/>
                    </a:lnTo>
                    <a:lnTo>
                      <a:pt x="230" y="76"/>
                    </a:lnTo>
                    <a:lnTo>
                      <a:pt x="229" y="69"/>
                    </a:lnTo>
                    <a:lnTo>
                      <a:pt x="230" y="57"/>
                    </a:lnTo>
                    <a:lnTo>
                      <a:pt x="230" y="53"/>
                    </a:lnTo>
                    <a:lnTo>
                      <a:pt x="229" y="48"/>
                    </a:lnTo>
                    <a:lnTo>
                      <a:pt x="224" y="44"/>
                    </a:lnTo>
                    <a:lnTo>
                      <a:pt x="216" y="40"/>
                    </a:lnTo>
                    <a:lnTo>
                      <a:pt x="216" y="40"/>
                    </a:lnTo>
                    <a:lnTo>
                      <a:pt x="210" y="37"/>
                    </a:lnTo>
                    <a:lnTo>
                      <a:pt x="205" y="32"/>
                    </a:lnTo>
                    <a:lnTo>
                      <a:pt x="194" y="19"/>
                    </a:lnTo>
                    <a:lnTo>
                      <a:pt x="190" y="14"/>
                    </a:lnTo>
                    <a:lnTo>
                      <a:pt x="184" y="9"/>
                    </a:lnTo>
                    <a:lnTo>
                      <a:pt x="179" y="6"/>
                    </a:lnTo>
                    <a:lnTo>
                      <a:pt x="172" y="3"/>
                    </a:lnTo>
                    <a:lnTo>
                      <a:pt x="172" y="3"/>
                    </a:lnTo>
                    <a:lnTo>
                      <a:pt x="159" y="2"/>
                    </a:lnTo>
                    <a:lnTo>
                      <a:pt x="149" y="2"/>
                    </a:lnTo>
                    <a:lnTo>
                      <a:pt x="140" y="2"/>
                    </a:lnTo>
                    <a:lnTo>
                      <a:pt x="134" y="1"/>
                    </a:lnTo>
                    <a:lnTo>
                      <a:pt x="129" y="0"/>
                    </a:lnTo>
                    <a:lnTo>
                      <a:pt x="129" y="0"/>
                    </a:lnTo>
                    <a:lnTo>
                      <a:pt x="125" y="10"/>
                    </a:lnTo>
                    <a:lnTo>
                      <a:pt x="120" y="22"/>
                    </a:lnTo>
                    <a:lnTo>
                      <a:pt x="111" y="34"/>
                    </a:lnTo>
                    <a:lnTo>
                      <a:pt x="102" y="47"/>
                    </a:lnTo>
                    <a:lnTo>
                      <a:pt x="87" y="68"/>
                    </a:lnTo>
                    <a:lnTo>
                      <a:pt x="82" y="76"/>
                    </a:lnTo>
                    <a:lnTo>
                      <a:pt x="80" y="80"/>
                    </a:lnTo>
                    <a:lnTo>
                      <a:pt x="80" y="80"/>
                    </a:lnTo>
                    <a:lnTo>
                      <a:pt x="80" y="85"/>
                    </a:lnTo>
                    <a:lnTo>
                      <a:pt x="83" y="90"/>
                    </a:lnTo>
                    <a:lnTo>
                      <a:pt x="84" y="94"/>
                    </a:lnTo>
                    <a:lnTo>
                      <a:pt x="84" y="99"/>
                    </a:lnTo>
                    <a:lnTo>
                      <a:pt x="84" y="99"/>
                    </a:lnTo>
                    <a:lnTo>
                      <a:pt x="79" y="103"/>
                    </a:lnTo>
                    <a:lnTo>
                      <a:pt x="75" y="107"/>
                    </a:lnTo>
                    <a:lnTo>
                      <a:pt x="71" y="110"/>
                    </a:lnTo>
                    <a:lnTo>
                      <a:pt x="70" y="114"/>
                    </a:lnTo>
                    <a:lnTo>
                      <a:pt x="70" y="117"/>
                    </a:lnTo>
                    <a:lnTo>
                      <a:pt x="70" y="117"/>
                    </a:lnTo>
                    <a:lnTo>
                      <a:pt x="80" y="128"/>
                    </a:lnTo>
                    <a:lnTo>
                      <a:pt x="90" y="136"/>
                    </a:lnTo>
                    <a:lnTo>
                      <a:pt x="93" y="138"/>
                    </a:lnTo>
                    <a:lnTo>
                      <a:pt x="95" y="139"/>
                    </a:lnTo>
                    <a:lnTo>
                      <a:pt x="95" y="139"/>
                    </a:lnTo>
                    <a:lnTo>
                      <a:pt x="93" y="144"/>
                    </a:lnTo>
                    <a:lnTo>
                      <a:pt x="90" y="148"/>
                    </a:lnTo>
                    <a:lnTo>
                      <a:pt x="80" y="156"/>
                    </a:lnTo>
                    <a:lnTo>
                      <a:pt x="73" y="163"/>
                    </a:lnTo>
                    <a:lnTo>
                      <a:pt x="70" y="166"/>
                    </a:lnTo>
                    <a:lnTo>
                      <a:pt x="70" y="168"/>
                    </a:lnTo>
                    <a:lnTo>
                      <a:pt x="70" y="168"/>
                    </a:lnTo>
                    <a:lnTo>
                      <a:pt x="71" y="174"/>
                    </a:lnTo>
                    <a:lnTo>
                      <a:pt x="73" y="178"/>
                    </a:lnTo>
                    <a:lnTo>
                      <a:pt x="76" y="184"/>
                    </a:lnTo>
                    <a:lnTo>
                      <a:pt x="77" y="191"/>
                    </a:lnTo>
                    <a:lnTo>
                      <a:pt x="77" y="191"/>
                    </a:lnTo>
                    <a:lnTo>
                      <a:pt x="76" y="200"/>
                    </a:lnTo>
                    <a:lnTo>
                      <a:pt x="73" y="209"/>
                    </a:lnTo>
                    <a:lnTo>
                      <a:pt x="70" y="217"/>
                    </a:lnTo>
                    <a:lnTo>
                      <a:pt x="64" y="225"/>
                    </a:lnTo>
                    <a:lnTo>
                      <a:pt x="59" y="232"/>
                    </a:lnTo>
                    <a:lnTo>
                      <a:pt x="53" y="239"/>
                    </a:lnTo>
                    <a:lnTo>
                      <a:pt x="38" y="252"/>
                    </a:lnTo>
                    <a:lnTo>
                      <a:pt x="24" y="266"/>
                    </a:lnTo>
                    <a:lnTo>
                      <a:pt x="17" y="273"/>
                    </a:lnTo>
                    <a:lnTo>
                      <a:pt x="11" y="281"/>
                    </a:lnTo>
                    <a:lnTo>
                      <a:pt x="7" y="289"/>
                    </a:lnTo>
                    <a:lnTo>
                      <a:pt x="3" y="298"/>
                    </a:lnTo>
                    <a:lnTo>
                      <a:pt x="1" y="308"/>
                    </a:lnTo>
                    <a:lnTo>
                      <a:pt x="0" y="320"/>
                    </a:lnTo>
                    <a:lnTo>
                      <a:pt x="0" y="320"/>
                    </a:lnTo>
                    <a:lnTo>
                      <a:pt x="1" y="325"/>
                    </a:lnTo>
                    <a:lnTo>
                      <a:pt x="2" y="335"/>
                    </a:lnTo>
                    <a:lnTo>
                      <a:pt x="10" y="359"/>
                    </a:lnTo>
                    <a:lnTo>
                      <a:pt x="18" y="384"/>
                    </a:lnTo>
                    <a:lnTo>
                      <a:pt x="22" y="393"/>
                    </a:lnTo>
                    <a:lnTo>
                      <a:pt x="25" y="400"/>
                    </a:lnTo>
                    <a:lnTo>
                      <a:pt x="25" y="400"/>
                    </a:lnTo>
                    <a:lnTo>
                      <a:pt x="25" y="396"/>
                    </a:lnTo>
                    <a:lnTo>
                      <a:pt x="26" y="391"/>
                    </a:lnTo>
                    <a:lnTo>
                      <a:pt x="30" y="390"/>
                    </a:lnTo>
                    <a:lnTo>
                      <a:pt x="36" y="389"/>
                    </a:lnTo>
                    <a:lnTo>
                      <a:pt x="36" y="389"/>
                    </a:lnTo>
                    <a:lnTo>
                      <a:pt x="42" y="389"/>
                    </a:lnTo>
                    <a:lnTo>
                      <a:pt x="48" y="390"/>
                    </a:lnTo>
                    <a:lnTo>
                      <a:pt x="54" y="392"/>
                    </a:lnTo>
                    <a:lnTo>
                      <a:pt x="59" y="395"/>
                    </a:lnTo>
                    <a:lnTo>
                      <a:pt x="68" y="400"/>
                    </a:lnTo>
                    <a:lnTo>
                      <a:pt x="76" y="407"/>
                    </a:lnTo>
                    <a:lnTo>
                      <a:pt x="84" y="414"/>
                    </a:lnTo>
                    <a:lnTo>
                      <a:pt x="93" y="420"/>
                    </a:lnTo>
                    <a:lnTo>
                      <a:pt x="98" y="422"/>
                    </a:lnTo>
                    <a:lnTo>
                      <a:pt x="103" y="424"/>
                    </a:lnTo>
                    <a:lnTo>
                      <a:pt x="110" y="426"/>
                    </a:lnTo>
                    <a:lnTo>
                      <a:pt x="117" y="426"/>
                    </a:lnTo>
                    <a:lnTo>
                      <a:pt x="117" y="426"/>
                    </a:lnTo>
                    <a:lnTo>
                      <a:pt x="125" y="426"/>
                    </a:lnTo>
                    <a:lnTo>
                      <a:pt x="132" y="424"/>
                    </a:lnTo>
                    <a:lnTo>
                      <a:pt x="144" y="420"/>
                    </a:lnTo>
                    <a:lnTo>
                      <a:pt x="155" y="416"/>
                    </a:lnTo>
                    <a:lnTo>
                      <a:pt x="162" y="415"/>
                    </a:lnTo>
                    <a:lnTo>
                      <a:pt x="168" y="414"/>
                    </a:lnTo>
                    <a:lnTo>
                      <a:pt x="168" y="414"/>
                    </a:lnTo>
                    <a:lnTo>
                      <a:pt x="175" y="415"/>
                    </a:lnTo>
                    <a:lnTo>
                      <a:pt x="181" y="418"/>
                    </a:lnTo>
                    <a:lnTo>
                      <a:pt x="187" y="422"/>
                    </a:lnTo>
                    <a:lnTo>
                      <a:pt x="187" y="422"/>
                    </a:lnTo>
                    <a:lnTo>
                      <a:pt x="187" y="415"/>
                    </a:lnTo>
                    <a:lnTo>
                      <a:pt x="190" y="409"/>
                    </a:lnTo>
                    <a:lnTo>
                      <a:pt x="192" y="403"/>
                    </a:lnTo>
                    <a:lnTo>
                      <a:pt x="195" y="397"/>
                    </a:lnTo>
                    <a:lnTo>
                      <a:pt x="204" y="384"/>
                    </a:lnTo>
                    <a:lnTo>
                      <a:pt x="214" y="372"/>
                    </a:lnTo>
                    <a:lnTo>
                      <a:pt x="224" y="358"/>
                    </a:lnTo>
                    <a:lnTo>
                      <a:pt x="233" y="344"/>
                    </a:lnTo>
                    <a:lnTo>
                      <a:pt x="240" y="330"/>
                    </a:lnTo>
                    <a:lnTo>
                      <a:pt x="244" y="323"/>
                    </a:lnTo>
                    <a:lnTo>
                      <a:pt x="245" y="315"/>
                    </a:lnTo>
                    <a:lnTo>
                      <a:pt x="245" y="315"/>
                    </a:lnTo>
                    <a:lnTo>
                      <a:pt x="323" y="315"/>
                    </a:lnTo>
                    <a:lnTo>
                      <a:pt x="323" y="315"/>
                    </a:lnTo>
                    <a:lnTo>
                      <a:pt x="327" y="315"/>
                    </a:lnTo>
                    <a:lnTo>
                      <a:pt x="330" y="317"/>
                    </a:lnTo>
                    <a:lnTo>
                      <a:pt x="337" y="322"/>
                    </a:lnTo>
                    <a:lnTo>
                      <a:pt x="345" y="330"/>
                    </a:lnTo>
                    <a:lnTo>
                      <a:pt x="353" y="338"/>
                    </a:lnTo>
                    <a:lnTo>
                      <a:pt x="362" y="347"/>
                    </a:lnTo>
                    <a:lnTo>
                      <a:pt x="372" y="355"/>
                    </a:lnTo>
                    <a:lnTo>
                      <a:pt x="382" y="362"/>
                    </a:lnTo>
                    <a:lnTo>
                      <a:pt x="386" y="365"/>
                    </a:lnTo>
                    <a:lnTo>
                      <a:pt x="392" y="367"/>
                    </a:lnTo>
                    <a:lnTo>
                      <a:pt x="392" y="367"/>
                    </a:lnTo>
                    <a:lnTo>
                      <a:pt x="398" y="352"/>
                    </a:lnTo>
                    <a:lnTo>
                      <a:pt x="401" y="339"/>
                    </a:lnTo>
                    <a:lnTo>
                      <a:pt x="403" y="332"/>
                    </a:lnTo>
                    <a:lnTo>
                      <a:pt x="404" y="327"/>
                    </a:lnTo>
                    <a:lnTo>
                      <a:pt x="404" y="327"/>
                    </a:lnTo>
                    <a:lnTo>
                      <a:pt x="404" y="32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3" name="Freeform 78"/>
              <p:cNvSpPr>
                <a:spLocks noChangeAspect="1"/>
              </p:cNvSpPr>
              <p:nvPr/>
            </p:nvSpPr>
            <p:spPr bwMode="auto">
              <a:xfrm>
                <a:off x="850475" y="3777410"/>
                <a:ext cx="212405" cy="219870"/>
              </a:xfrm>
              <a:custGeom>
                <a:avLst/>
                <a:gdLst/>
                <a:ahLst/>
                <a:cxnLst>
                  <a:cxn ang="0">
                    <a:pos x="204" y="20"/>
                  </a:cxn>
                  <a:cxn ang="0">
                    <a:pos x="210" y="39"/>
                  </a:cxn>
                  <a:cxn ang="0">
                    <a:pos x="214" y="79"/>
                  </a:cxn>
                  <a:cxn ang="0">
                    <a:pos x="219" y="99"/>
                  </a:cxn>
                  <a:cxn ang="0">
                    <a:pos x="225" y="107"/>
                  </a:cxn>
                  <a:cxn ang="0">
                    <a:pos x="246" y="127"/>
                  </a:cxn>
                  <a:cxn ang="0">
                    <a:pos x="258" y="142"/>
                  </a:cxn>
                  <a:cxn ang="0">
                    <a:pos x="263" y="157"/>
                  </a:cxn>
                  <a:cxn ang="0">
                    <a:pos x="263" y="162"/>
                  </a:cxn>
                  <a:cxn ang="0">
                    <a:pos x="263" y="176"/>
                  </a:cxn>
                  <a:cxn ang="0">
                    <a:pos x="265" y="193"/>
                  </a:cxn>
                  <a:cxn ang="0">
                    <a:pos x="268" y="199"/>
                  </a:cxn>
                  <a:cxn ang="0">
                    <a:pos x="250" y="213"/>
                  </a:cxn>
                  <a:cxn ang="0">
                    <a:pos x="237" y="229"/>
                  </a:cxn>
                  <a:cxn ang="0">
                    <a:pos x="226" y="247"/>
                  </a:cxn>
                  <a:cxn ang="0">
                    <a:pos x="219" y="273"/>
                  </a:cxn>
                  <a:cxn ang="0">
                    <a:pos x="218" y="280"/>
                  </a:cxn>
                  <a:cxn ang="0">
                    <a:pos x="212" y="289"/>
                  </a:cxn>
                  <a:cxn ang="0">
                    <a:pos x="203" y="293"/>
                  </a:cxn>
                  <a:cxn ang="0">
                    <a:pos x="187" y="296"/>
                  </a:cxn>
                  <a:cxn ang="0">
                    <a:pos x="171" y="298"/>
                  </a:cxn>
                  <a:cxn ang="0">
                    <a:pos x="163" y="303"/>
                  </a:cxn>
                  <a:cxn ang="0">
                    <a:pos x="158" y="311"/>
                  </a:cxn>
                  <a:cxn ang="0">
                    <a:pos x="157" y="316"/>
                  </a:cxn>
                  <a:cxn ang="0">
                    <a:pos x="149" y="313"/>
                  </a:cxn>
                  <a:cxn ang="0">
                    <a:pos x="142" y="306"/>
                  </a:cxn>
                  <a:cxn ang="0">
                    <a:pos x="131" y="291"/>
                  </a:cxn>
                  <a:cxn ang="0">
                    <a:pos x="124" y="275"/>
                  </a:cxn>
                  <a:cxn ang="0">
                    <a:pos x="118" y="251"/>
                  </a:cxn>
                  <a:cxn ang="0">
                    <a:pos x="109" y="199"/>
                  </a:cxn>
                  <a:cxn ang="0">
                    <a:pos x="102" y="181"/>
                  </a:cxn>
                  <a:cxn ang="0">
                    <a:pos x="101" y="178"/>
                  </a:cxn>
                  <a:cxn ang="0">
                    <a:pos x="92" y="173"/>
                  </a:cxn>
                  <a:cxn ang="0">
                    <a:pos x="78" y="167"/>
                  </a:cxn>
                  <a:cxn ang="0">
                    <a:pos x="59" y="161"/>
                  </a:cxn>
                  <a:cxn ang="0">
                    <a:pos x="58" y="159"/>
                  </a:cxn>
                  <a:cxn ang="0">
                    <a:pos x="55" y="145"/>
                  </a:cxn>
                  <a:cxn ang="0">
                    <a:pos x="48" y="120"/>
                  </a:cxn>
                  <a:cxn ang="0">
                    <a:pos x="39" y="105"/>
                  </a:cxn>
                  <a:cxn ang="0">
                    <a:pos x="31" y="98"/>
                  </a:cxn>
                  <a:cxn ang="0">
                    <a:pos x="20" y="92"/>
                  </a:cxn>
                  <a:cxn ang="0">
                    <a:pos x="6" y="89"/>
                  </a:cxn>
                  <a:cxn ang="0">
                    <a:pos x="0" y="89"/>
                  </a:cxn>
                  <a:cxn ang="0">
                    <a:pos x="29" y="73"/>
                  </a:cxn>
                  <a:cxn ang="0">
                    <a:pos x="46" y="60"/>
                  </a:cxn>
                  <a:cxn ang="0">
                    <a:pos x="56" y="40"/>
                  </a:cxn>
                  <a:cxn ang="0">
                    <a:pos x="58" y="26"/>
                  </a:cxn>
                  <a:cxn ang="0">
                    <a:pos x="73" y="30"/>
                  </a:cxn>
                  <a:cxn ang="0">
                    <a:pos x="90" y="33"/>
                  </a:cxn>
                  <a:cxn ang="0">
                    <a:pos x="95" y="32"/>
                  </a:cxn>
                  <a:cxn ang="0">
                    <a:pos x="103" y="25"/>
                  </a:cxn>
                  <a:cxn ang="0">
                    <a:pos x="111" y="8"/>
                  </a:cxn>
                  <a:cxn ang="0">
                    <a:pos x="120" y="0"/>
                  </a:cxn>
                  <a:cxn ang="0">
                    <a:pos x="126" y="5"/>
                  </a:cxn>
                  <a:cxn ang="0">
                    <a:pos x="140" y="13"/>
                  </a:cxn>
                  <a:cxn ang="0">
                    <a:pos x="156" y="17"/>
                  </a:cxn>
                  <a:cxn ang="0">
                    <a:pos x="187" y="20"/>
                  </a:cxn>
                  <a:cxn ang="0">
                    <a:pos x="195" y="18"/>
                  </a:cxn>
                  <a:cxn ang="0">
                    <a:pos x="204" y="15"/>
                  </a:cxn>
                  <a:cxn ang="0">
                    <a:pos x="204" y="20"/>
                  </a:cxn>
                </a:cxnLst>
                <a:rect l="0" t="0" r="r" b="b"/>
                <a:pathLst>
                  <a:path w="268" h="316">
                    <a:moveTo>
                      <a:pt x="204" y="20"/>
                    </a:moveTo>
                    <a:lnTo>
                      <a:pt x="204" y="20"/>
                    </a:lnTo>
                    <a:lnTo>
                      <a:pt x="208" y="29"/>
                    </a:lnTo>
                    <a:lnTo>
                      <a:pt x="210" y="39"/>
                    </a:lnTo>
                    <a:lnTo>
                      <a:pt x="212" y="59"/>
                    </a:lnTo>
                    <a:lnTo>
                      <a:pt x="214" y="79"/>
                    </a:lnTo>
                    <a:lnTo>
                      <a:pt x="216" y="90"/>
                    </a:lnTo>
                    <a:lnTo>
                      <a:pt x="219" y="99"/>
                    </a:lnTo>
                    <a:lnTo>
                      <a:pt x="219" y="99"/>
                    </a:lnTo>
                    <a:lnTo>
                      <a:pt x="225" y="107"/>
                    </a:lnTo>
                    <a:lnTo>
                      <a:pt x="231" y="114"/>
                    </a:lnTo>
                    <a:lnTo>
                      <a:pt x="246" y="127"/>
                    </a:lnTo>
                    <a:lnTo>
                      <a:pt x="253" y="134"/>
                    </a:lnTo>
                    <a:lnTo>
                      <a:pt x="258" y="142"/>
                    </a:lnTo>
                    <a:lnTo>
                      <a:pt x="262" y="151"/>
                    </a:lnTo>
                    <a:lnTo>
                      <a:pt x="263" y="157"/>
                    </a:lnTo>
                    <a:lnTo>
                      <a:pt x="263" y="162"/>
                    </a:lnTo>
                    <a:lnTo>
                      <a:pt x="263" y="162"/>
                    </a:lnTo>
                    <a:lnTo>
                      <a:pt x="263" y="176"/>
                    </a:lnTo>
                    <a:lnTo>
                      <a:pt x="263" y="176"/>
                    </a:lnTo>
                    <a:lnTo>
                      <a:pt x="264" y="188"/>
                    </a:lnTo>
                    <a:lnTo>
                      <a:pt x="265" y="193"/>
                    </a:lnTo>
                    <a:lnTo>
                      <a:pt x="268" y="199"/>
                    </a:lnTo>
                    <a:lnTo>
                      <a:pt x="268" y="199"/>
                    </a:lnTo>
                    <a:lnTo>
                      <a:pt x="258" y="206"/>
                    </a:lnTo>
                    <a:lnTo>
                      <a:pt x="250" y="213"/>
                    </a:lnTo>
                    <a:lnTo>
                      <a:pt x="244" y="221"/>
                    </a:lnTo>
                    <a:lnTo>
                      <a:pt x="237" y="229"/>
                    </a:lnTo>
                    <a:lnTo>
                      <a:pt x="231" y="238"/>
                    </a:lnTo>
                    <a:lnTo>
                      <a:pt x="226" y="247"/>
                    </a:lnTo>
                    <a:lnTo>
                      <a:pt x="223" y="259"/>
                    </a:lnTo>
                    <a:lnTo>
                      <a:pt x="219" y="273"/>
                    </a:lnTo>
                    <a:lnTo>
                      <a:pt x="219" y="273"/>
                    </a:lnTo>
                    <a:lnTo>
                      <a:pt x="218" y="280"/>
                    </a:lnTo>
                    <a:lnTo>
                      <a:pt x="216" y="284"/>
                    </a:lnTo>
                    <a:lnTo>
                      <a:pt x="212" y="289"/>
                    </a:lnTo>
                    <a:lnTo>
                      <a:pt x="208" y="291"/>
                    </a:lnTo>
                    <a:lnTo>
                      <a:pt x="203" y="293"/>
                    </a:lnTo>
                    <a:lnTo>
                      <a:pt x="199" y="295"/>
                    </a:lnTo>
                    <a:lnTo>
                      <a:pt x="187" y="296"/>
                    </a:lnTo>
                    <a:lnTo>
                      <a:pt x="176" y="297"/>
                    </a:lnTo>
                    <a:lnTo>
                      <a:pt x="171" y="298"/>
                    </a:lnTo>
                    <a:lnTo>
                      <a:pt x="166" y="299"/>
                    </a:lnTo>
                    <a:lnTo>
                      <a:pt x="163" y="303"/>
                    </a:lnTo>
                    <a:lnTo>
                      <a:pt x="160" y="306"/>
                    </a:lnTo>
                    <a:lnTo>
                      <a:pt x="158" y="311"/>
                    </a:lnTo>
                    <a:lnTo>
                      <a:pt x="157" y="316"/>
                    </a:lnTo>
                    <a:lnTo>
                      <a:pt x="157" y="316"/>
                    </a:lnTo>
                    <a:lnTo>
                      <a:pt x="149" y="313"/>
                    </a:lnTo>
                    <a:lnTo>
                      <a:pt x="149" y="313"/>
                    </a:lnTo>
                    <a:lnTo>
                      <a:pt x="149" y="313"/>
                    </a:lnTo>
                    <a:lnTo>
                      <a:pt x="142" y="306"/>
                    </a:lnTo>
                    <a:lnTo>
                      <a:pt x="135" y="299"/>
                    </a:lnTo>
                    <a:lnTo>
                      <a:pt x="131" y="291"/>
                    </a:lnTo>
                    <a:lnTo>
                      <a:pt x="126" y="283"/>
                    </a:lnTo>
                    <a:lnTo>
                      <a:pt x="124" y="275"/>
                    </a:lnTo>
                    <a:lnTo>
                      <a:pt x="122" y="267"/>
                    </a:lnTo>
                    <a:lnTo>
                      <a:pt x="118" y="251"/>
                    </a:lnTo>
                    <a:lnTo>
                      <a:pt x="112" y="216"/>
                    </a:lnTo>
                    <a:lnTo>
                      <a:pt x="109" y="199"/>
                    </a:lnTo>
                    <a:lnTo>
                      <a:pt x="105" y="190"/>
                    </a:lnTo>
                    <a:lnTo>
                      <a:pt x="102" y="181"/>
                    </a:lnTo>
                    <a:lnTo>
                      <a:pt x="102" y="181"/>
                    </a:lnTo>
                    <a:lnTo>
                      <a:pt x="101" y="178"/>
                    </a:lnTo>
                    <a:lnTo>
                      <a:pt x="99" y="176"/>
                    </a:lnTo>
                    <a:lnTo>
                      <a:pt x="92" y="173"/>
                    </a:lnTo>
                    <a:lnTo>
                      <a:pt x="85" y="169"/>
                    </a:lnTo>
                    <a:lnTo>
                      <a:pt x="78" y="167"/>
                    </a:lnTo>
                    <a:lnTo>
                      <a:pt x="64" y="163"/>
                    </a:lnTo>
                    <a:lnTo>
                      <a:pt x="59" y="161"/>
                    </a:lnTo>
                    <a:lnTo>
                      <a:pt x="58" y="160"/>
                    </a:lnTo>
                    <a:lnTo>
                      <a:pt x="58" y="159"/>
                    </a:lnTo>
                    <a:lnTo>
                      <a:pt x="58" y="159"/>
                    </a:lnTo>
                    <a:lnTo>
                      <a:pt x="55" y="145"/>
                    </a:lnTo>
                    <a:lnTo>
                      <a:pt x="51" y="132"/>
                    </a:lnTo>
                    <a:lnTo>
                      <a:pt x="48" y="120"/>
                    </a:lnTo>
                    <a:lnTo>
                      <a:pt x="42" y="109"/>
                    </a:lnTo>
                    <a:lnTo>
                      <a:pt x="39" y="105"/>
                    </a:lnTo>
                    <a:lnTo>
                      <a:pt x="35" y="101"/>
                    </a:lnTo>
                    <a:lnTo>
                      <a:pt x="31" y="98"/>
                    </a:lnTo>
                    <a:lnTo>
                      <a:pt x="26" y="94"/>
                    </a:lnTo>
                    <a:lnTo>
                      <a:pt x="20" y="92"/>
                    </a:lnTo>
                    <a:lnTo>
                      <a:pt x="13" y="90"/>
                    </a:lnTo>
                    <a:lnTo>
                      <a:pt x="6" y="89"/>
                    </a:lnTo>
                    <a:lnTo>
                      <a:pt x="0" y="89"/>
                    </a:lnTo>
                    <a:lnTo>
                      <a:pt x="0" y="89"/>
                    </a:lnTo>
                    <a:lnTo>
                      <a:pt x="20" y="78"/>
                    </a:lnTo>
                    <a:lnTo>
                      <a:pt x="29" y="73"/>
                    </a:lnTo>
                    <a:lnTo>
                      <a:pt x="39" y="67"/>
                    </a:lnTo>
                    <a:lnTo>
                      <a:pt x="46" y="60"/>
                    </a:lnTo>
                    <a:lnTo>
                      <a:pt x="51" y="51"/>
                    </a:lnTo>
                    <a:lnTo>
                      <a:pt x="56" y="40"/>
                    </a:lnTo>
                    <a:lnTo>
                      <a:pt x="58" y="26"/>
                    </a:lnTo>
                    <a:lnTo>
                      <a:pt x="58" y="26"/>
                    </a:lnTo>
                    <a:lnTo>
                      <a:pt x="65" y="28"/>
                    </a:lnTo>
                    <a:lnTo>
                      <a:pt x="73" y="30"/>
                    </a:lnTo>
                    <a:lnTo>
                      <a:pt x="81" y="32"/>
                    </a:lnTo>
                    <a:lnTo>
                      <a:pt x="90" y="33"/>
                    </a:lnTo>
                    <a:lnTo>
                      <a:pt x="90" y="33"/>
                    </a:lnTo>
                    <a:lnTo>
                      <a:pt x="95" y="32"/>
                    </a:lnTo>
                    <a:lnTo>
                      <a:pt x="100" y="30"/>
                    </a:lnTo>
                    <a:lnTo>
                      <a:pt x="103" y="25"/>
                    </a:lnTo>
                    <a:lnTo>
                      <a:pt x="105" y="20"/>
                    </a:lnTo>
                    <a:lnTo>
                      <a:pt x="111" y="8"/>
                    </a:lnTo>
                    <a:lnTo>
                      <a:pt x="116" y="3"/>
                    </a:lnTo>
                    <a:lnTo>
                      <a:pt x="120" y="0"/>
                    </a:lnTo>
                    <a:lnTo>
                      <a:pt x="120" y="0"/>
                    </a:lnTo>
                    <a:lnTo>
                      <a:pt x="126" y="5"/>
                    </a:lnTo>
                    <a:lnTo>
                      <a:pt x="133" y="9"/>
                    </a:lnTo>
                    <a:lnTo>
                      <a:pt x="140" y="13"/>
                    </a:lnTo>
                    <a:lnTo>
                      <a:pt x="148" y="15"/>
                    </a:lnTo>
                    <a:lnTo>
                      <a:pt x="156" y="17"/>
                    </a:lnTo>
                    <a:lnTo>
                      <a:pt x="166" y="18"/>
                    </a:lnTo>
                    <a:lnTo>
                      <a:pt x="187" y="20"/>
                    </a:lnTo>
                    <a:lnTo>
                      <a:pt x="187" y="20"/>
                    </a:lnTo>
                    <a:lnTo>
                      <a:pt x="195" y="18"/>
                    </a:lnTo>
                    <a:lnTo>
                      <a:pt x="200" y="17"/>
                    </a:lnTo>
                    <a:lnTo>
                      <a:pt x="204" y="15"/>
                    </a:lnTo>
                    <a:lnTo>
                      <a:pt x="204" y="15"/>
                    </a:lnTo>
                    <a:lnTo>
                      <a:pt x="204" y="20"/>
                    </a:lnTo>
                    <a:lnTo>
                      <a:pt x="204" y="2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4" name="Freeform 79"/>
              <p:cNvSpPr>
                <a:spLocks noChangeAspect="1"/>
              </p:cNvSpPr>
              <p:nvPr/>
            </p:nvSpPr>
            <p:spPr bwMode="auto">
              <a:xfrm>
                <a:off x="669773" y="3624336"/>
                <a:ext cx="277394" cy="231003"/>
              </a:xfrm>
              <a:custGeom>
                <a:avLst/>
                <a:gdLst/>
                <a:ahLst/>
                <a:cxnLst>
                  <a:cxn ang="0">
                    <a:pos x="194" y="50"/>
                  </a:cxn>
                  <a:cxn ang="0">
                    <a:pos x="187" y="61"/>
                  </a:cxn>
                  <a:cxn ang="0">
                    <a:pos x="179" y="66"/>
                  </a:cxn>
                  <a:cxn ang="0">
                    <a:pos x="163" y="64"/>
                  </a:cxn>
                  <a:cxn ang="0">
                    <a:pos x="144" y="51"/>
                  </a:cxn>
                  <a:cxn ang="0">
                    <a:pos x="117" y="21"/>
                  </a:cxn>
                  <a:cxn ang="0">
                    <a:pos x="96" y="4"/>
                  </a:cxn>
                  <a:cxn ang="0">
                    <a:pos x="84" y="0"/>
                  </a:cxn>
                  <a:cxn ang="0">
                    <a:pos x="75" y="5"/>
                  </a:cxn>
                  <a:cxn ang="0">
                    <a:pos x="72" y="28"/>
                  </a:cxn>
                  <a:cxn ang="0">
                    <a:pos x="72" y="43"/>
                  </a:cxn>
                  <a:cxn ang="0">
                    <a:pos x="62" y="60"/>
                  </a:cxn>
                  <a:cxn ang="0">
                    <a:pos x="23" y="87"/>
                  </a:cxn>
                  <a:cxn ang="0">
                    <a:pos x="7" y="104"/>
                  </a:cxn>
                  <a:cxn ang="0">
                    <a:pos x="0" y="128"/>
                  </a:cxn>
                  <a:cxn ang="0">
                    <a:pos x="2" y="144"/>
                  </a:cxn>
                  <a:cxn ang="0">
                    <a:pos x="11" y="158"/>
                  </a:cxn>
                  <a:cxn ang="0">
                    <a:pos x="29" y="161"/>
                  </a:cxn>
                  <a:cxn ang="0">
                    <a:pos x="46" y="157"/>
                  </a:cxn>
                  <a:cxn ang="0">
                    <a:pos x="55" y="146"/>
                  </a:cxn>
                  <a:cxn ang="0">
                    <a:pos x="83" y="192"/>
                  </a:cxn>
                  <a:cxn ang="0">
                    <a:pos x="95" y="209"/>
                  </a:cxn>
                  <a:cxn ang="0">
                    <a:pos x="134" y="221"/>
                  </a:cxn>
                  <a:cxn ang="0">
                    <a:pos x="153" y="232"/>
                  </a:cxn>
                  <a:cxn ang="0">
                    <a:pos x="161" y="246"/>
                  </a:cxn>
                  <a:cxn ang="0">
                    <a:pos x="161" y="260"/>
                  </a:cxn>
                  <a:cxn ang="0">
                    <a:pos x="147" y="291"/>
                  </a:cxn>
                  <a:cxn ang="0">
                    <a:pos x="147" y="334"/>
                  </a:cxn>
                  <a:cxn ang="0">
                    <a:pos x="149" y="329"/>
                  </a:cxn>
                  <a:cxn ang="0">
                    <a:pos x="168" y="312"/>
                  </a:cxn>
                  <a:cxn ang="0">
                    <a:pos x="171" y="318"/>
                  </a:cxn>
                  <a:cxn ang="0">
                    <a:pos x="183" y="319"/>
                  </a:cxn>
                  <a:cxn ang="0">
                    <a:pos x="217" y="313"/>
                  </a:cxn>
                  <a:cxn ang="0">
                    <a:pos x="239" y="306"/>
                  </a:cxn>
                  <a:cxn ang="0">
                    <a:pos x="266" y="288"/>
                  </a:cxn>
                  <a:cxn ang="0">
                    <a:pos x="283" y="260"/>
                  </a:cxn>
                  <a:cxn ang="0">
                    <a:pos x="286" y="246"/>
                  </a:cxn>
                  <a:cxn ang="0">
                    <a:pos x="309" y="252"/>
                  </a:cxn>
                  <a:cxn ang="0">
                    <a:pos x="323" y="252"/>
                  </a:cxn>
                  <a:cxn ang="0">
                    <a:pos x="333" y="240"/>
                  </a:cxn>
                  <a:cxn ang="0">
                    <a:pos x="348" y="220"/>
                  </a:cxn>
                  <a:cxn ang="0">
                    <a:pos x="340" y="211"/>
                  </a:cxn>
                  <a:cxn ang="0">
                    <a:pos x="330" y="177"/>
                  </a:cxn>
                  <a:cxn ang="0">
                    <a:pos x="331" y="162"/>
                  </a:cxn>
                  <a:cxn ang="0">
                    <a:pos x="345" y="134"/>
                  </a:cxn>
                  <a:cxn ang="0">
                    <a:pos x="348" y="121"/>
                  </a:cxn>
                  <a:cxn ang="0">
                    <a:pos x="339" y="105"/>
                  </a:cxn>
                  <a:cxn ang="0">
                    <a:pos x="323" y="92"/>
                  </a:cxn>
                  <a:cxn ang="0">
                    <a:pos x="318" y="81"/>
                  </a:cxn>
                  <a:cxn ang="0">
                    <a:pos x="328" y="61"/>
                  </a:cxn>
                  <a:cxn ang="0">
                    <a:pos x="328" y="41"/>
                  </a:cxn>
                  <a:cxn ang="0">
                    <a:pos x="304" y="42"/>
                  </a:cxn>
                  <a:cxn ang="0">
                    <a:pos x="262" y="53"/>
                  </a:cxn>
                  <a:cxn ang="0">
                    <a:pos x="238" y="55"/>
                  </a:cxn>
                  <a:cxn ang="0">
                    <a:pos x="213" y="54"/>
                  </a:cxn>
                  <a:cxn ang="0">
                    <a:pos x="202" y="44"/>
                  </a:cxn>
                  <a:cxn ang="0">
                    <a:pos x="201" y="37"/>
                  </a:cxn>
                </a:cxnLst>
                <a:rect l="0" t="0" r="r" b="b"/>
                <a:pathLst>
                  <a:path w="348" h="334">
                    <a:moveTo>
                      <a:pt x="198" y="47"/>
                    </a:moveTo>
                    <a:lnTo>
                      <a:pt x="198" y="47"/>
                    </a:lnTo>
                    <a:lnTo>
                      <a:pt x="194" y="50"/>
                    </a:lnTo>
                    <a:lnTo>
                      <a:pt x="192" y="52"/>
                    </a:lnTo>
                    <a:lnTo>
                      <a:pt x="188" y="59"/>
                    </a:lnTo>
                    <a:lnTo>
                      <a:pt x="187" y="61"/>
                    </a:lnTo>
                    <a:lnTo>
                      <a:pt x="185" y="64"/>
                    </a:lnTo>
                    <a:lnTo>
                      <a:pt x="183" y="66"/>
                    </a:lnTo>
                    <a:lnTo>
                      <a:pt x="179" y="66"/>
                    </a:lnTo>
                    <a:lnTo>
                      <a:pt x="179" y="66"/>
                    </a:lnTo>
                    <a:lnTo>
                      <a:pt x="171" y="66"/>
                    </a:lnTo>
                    <a:lnTo>
                      <a:pt x="163" y="64"/>
                    </a:lnTo>
                    <a:lnTo>
                      <a:pt x="156" y="60"/>
                    </a:lnTo>
                    <a:lnTo>
                      <a:pt x="149" y="55"/>
                    </a:lnTo>
                    <a:lnTo>
                      <a:pt x="144" y="51"/>
                    </a:lnTo>
                    <a:lnTo>
                      <a:pt x="138" y="45"/>
                    </a:lnTo>
                    <a:lnTo>
                      <a:pt x="127" y="34"/>
                    </a:lnTo>
                    <a:lnTo>
                      <a:pt x="117" y="21"/>
                    </a:lnTo>
                    <a:lnTo>
                      <a:pt x="108" y="11"/>
                    </a:lnTo>
                    <a:lnTo>
                      <a:pt x="102" y="6"/>
                    </a:lnTo>
                    <a:lnTo>
                      <a:pt x="96" y="4"/>
                    </a:lnTo>
                    <a:lnTo>
                      <a:pt x="91" y="1"/>
                    </a:lnTo>
                    <a:lnTo>
                      <a:pt x="84" y="0"/>
                    </a:lnTo>
                    <a:lnTo>
                      <a:pt x="84" y="0"/>
                    </a:lnTo>
                    <a:lnTo>
                      <a:pt x="80" y="0"/>
                    </a:lnTo>
                    <a:lnTo>
                      <a:pt x="78" y="1"/>
                    </a:lnTo>
                    <a:lnTo>
                      <a:pt x="75" y="5"/>
                    </a:lnTo>
                    <a:lnTo>
                      <a:pt x="72" y="9"/>
                    </a:lnTo>
                    <a:lnTo>
                      <a:pt x="71" y="16"/>
                    </a:lnTo>
                    <a:lnTo>
                      <a:pt x="72" y="28"/>
                    </a:lnTo>
                    <a:lnTo>
                      <a:pt x="73" y="37"/>
                    </a:lnTo>
                    <a:lnTo>
                      <a:pt x="73" y="37"/>
                    </a:lnTo>
                    <a:lnTo>
                      <a:pt x="72" y="43"/>
                    </a:lnTo>
                    <a:lnTo>
                      <a:pt x="70" y="50"/>
                    </a:lnTo>
                    <a:lnTo>
                      <a:pt x="66" y="54"/>
                    </a:lnTo>
                    <a:lnTo>
                      <a:pt x="62" y="60"/>
                    </a:lnTo>
                    <a:lnTo>
                      <a:pt x="49" y="68"/>
                    </a:lnTo>
                    <a:lnTo>
                      <a:pt x="37" y="77"/>
                    </a:lnTo>
                    <a:lnTo>
                      <a:pt x="23" y="87"/>
                    </a:lnTo>
                    <a:lnTo>
                      <a:pt x="17" y="92"/>
                    </a:lnTo>
                    <a:lnTo>
                      <a:pt x="11" y="98"/>
                    </a:lnTo>
                    <a:lnTo>
                      <a:pt x="7" y="104"/>
                    </a:lnTo>
                    <a:lnTo>
                      <a:pt x="3" y="112"/>
                    </a:lnTo>
                    <a:lnTo>
                      <a:pt x="1" y="120"/>
                    </a:lnTo>
                    <a:lnTo>
                      <a:pt x="0" y="128"/>
                    </a:lnTo>
                    <a:lnTo>
                      <a:pt x="0" y="128"/>
                    </a:lnTo>
                    <a:lnTo>
                      <a:pt x="0" y="137"/>
                    </a:lnTo>
                    <a:lnTo>
                      <a:pt x="2" y="144"/>
                    </a:lnTo>
                    <a:lnTo>
                      <a:pt x="4" y="150"/>
                    </a:lnTo>
                    <a:lnTo>
                      <a:pt x="8" y="154"/>
                    </a:lnTo>
                    <a:lnTo>
                      <a:pt x="11" y="158"/>
                    </a:lnTo>
                    <a:lnTo>
                      <a:pt x="17" y="160"/>
                    </a:lnTo>
                    <a:lnTo>
                      <a:pt x="23" y="161"/>
                    </a:lnTo>
                    <a:lnTo>
                      <a:pt x="29" y="161"/>
                    </a:lnTo>
                    <a:lnTo>
                      <a:pt x="29" y="161"/>
                    </a:lnTo>
                    <a:lnTo>
                      <a:pt x="39" y="160"/>
                    </a:lnTo>
                    <a:lnTo>
                      <a:pt x="46" y="157"/>
                    </a:lnTo>
                    <a:lnTo>
                      <a:pt x="52" y="152"/>
                    </a:lnTo>
                    <a:lnTo>
                      <a:pt x="55" y="146"/>
                    </a:lnTo>
                    <a:lnTo>
                      <a:pt x="55" y="146"/>
                    </a:lnTo>
                    <a:lnTo>
                      <a:pt x="65" y="161"/>
                    </a:lnTo>
                    <a:lnTo>
                      <a:pt x="75" y="177"/>
                    </a:lnTo>
                    <a:lnTo>
                      <a:pt x="83" y="192"/>
                    </a:lnTo>
                    <a:lnTo>
                      <a:pt x="92" y="205"/>
                    </a:lnTo>
                    <a:lnTo>
                      <a:pt x="92" y="205"/>
                    </a:lnTo>
                    <a:lnTo>
                      <a:pt x="95" y="209"/>
                    </a:lnTo>
                    <a:lnTo>
                      <a:pt x="101" y="211"/>
                    </a:lnTo>
                    <a:lnTo>
                      <a:pt x="111" y="215"/>
                    </a:lnTo>
                    <a:lnTo>
                      <a:pt x="134" y="221"/>
                    </a:lnTo>
                    <a:lnTo>
                      <a:pt x="145" y="226"/>
                    </a:lnTo>
                    <a:lnTo>
                      <a:pt x="149" y="228"/>
                    </a:lnTo>
                    <a:lnTo>
                      <a:pt x="153" y="232"/>
                    </a:lnTo>
                    <a:lnTo>
                      <a:pt x="156" y="236"/>
                    </a:lnTo>
                    <a:lnTo>
                      <a:pt x="160" y="241"/>
                    </a:lnTo>
                    <a:lnTo>
                      <a:pt x="161" y="246"/>
                    </a:lnTo>
                    <a:lnTo>
                      <a:pt x="161" y="253"/>
                    </a:lnTo>
                    <a:lnTo>
                      <a:pt x="161" y="253"/>
                    </a:lnTo>
                    <a:lnTo>
                      <a:pt x="161" y="260"/>
                    </a:lnTo>
                    <a:lnTo>
                      <a:pt x="159" y="267"/>
                    </a:lnTo>
                    <a:lnTo>
                      <a:pt x="154" y="280"/>
                    </a:lnTo>
                    <a:lnTo>
                      <a:pt x="147" y="291"/>
                    </a:lnTo>
                    <a:lnTo>
                      <a:pt x="142" y="302"/>
                    </a:lnTo>
                    <a:lnTo>
                      <a:pt x="142" y="302"/>
                    </a:lnTo>
                    <a:lnTo>
                      <a:pt x="147" y="334"/>
                    </a:lnTo>
                    <a:lnTo>
                      <a:pt x="147" y="334"/>
                    </a:lnTo>
                    <a:lnTo>
                      <a:pt x="147" y="334"/>
                    </a:lnTo>
                    <a:lnTo>
                      <a:pt x="149" y="329"/>
                    </a:lnTo>
                    <a:lnTo>
                      <a:pt x="154" y="324"/>
                    </a:lnTo>
                    <a:lnTo>
                      <a:pt x="161" y="318"/>
                    </a:lnTo>
                    <a:lnTo>
                      <a:pt x="168" y="312"/>
                    </a:lnTo>
                    <a:lnTo>
                      <a:pt x="168" y="312"/>
                    </a:lnTo>
                    <a:lnTo>
                      <a:pt x="169" y="316"/>
                    </a:lnTo>
                    <a:lnTo>
                      <a:pt x="171" y="318"/>
                    </a:lnTo>
                    <a:lnTo>
                      <a:pt x="176" y="319"/>
                    </a:lnTo>
                    <a:lnTo>
                      <a:pt x="183" y="319"/>
                    </a:lnTo>
                    <a:lnTo>
                      <a:pt x="183" y="319"/>
                    </a:lnTo>
                    <a:lnTo>
                      <a:pt x="194" y="319"/>
                    </a:lnTo>
                    <a:lnTo>
                      <a:pt x="206" y="316"/>
                    </a:lnTo>
                    <a:lnTo>
                      <a:pt x="217" y="313"/>
                    </a:lnTo>
                    <a:lnTo>
                      <a:pt x="231" y="312"/>
                    </a:lnTo>
                    <a:lnTo>
                      <a:pt x="231" y="312"/>
                    </a:lnTo>
                    <a:lnTo>
                      <a:pt x="239" y="306"/>
                    </a:lnTo>
                    <a:lnTo>
                      <a:pt x="248" y="299"/>
                    </a:lnTo>
                    <a:lnTo>
                      <a:pt x="257" y="294"/>
                    </a:lnTo>
                    <a:lnTo>
                      <a:pt x="266" y="288"/>
                    </a:lnTo>
                    <a:lnTo>
                      <a:pt x="272" y="280"/>
                    </a:lnTo>
                    <a:lnTo>
                      <a:pt x="279" y="271"/>
                    </a:lnTo>
                    <a:lnTo>
                      <a:pt x="283" y="260"/>
                    </a:lnTo>
                    <a:lnTo>
                      <a:pt x="285" y="253"/>
                    </a:lnTo>
                    <a:lnTo>
                      <a:pt x="286" y="246"/>
                    </a:lnTo>
                    <a:lnTo>
                      <a:pt x="286" y="246"/>
                    </a:lnTo>
                    <a:lnTo>
                      <a:pt x="293" y="248"/>
                    </a:lnTo>
                    <a:lnTo>
                      <a:pt x="301" y="250"/>
                    </a:lnTo>
                    <a:lnTo>
                      <a:pt x="309" y="252"/>
                    </a:lnTo>
                    <a:lnTo>
                      <a:pt x="318" y="253"/>
                    </a:lnTo>
                    <a:lnTo>
                      <a:pt x="318" y="253"/>
                    </a:lnTo>
                    <a:lnTo>
                      <a:pt x="323" y="252"/>
                    </a:lnTo>
                    <a:lnTo>
                      <a:pt x="328" y="250"/>
                    </a:lnTo>
                    <a:lnTo>
                      <a:pt x="331" y="245"/>
                    </a:lnTo>
                    <a:lnTo>
                      <a:pt x="333" y="240"/>
                    </a:lnTo>
                    <a:lnTo>
                      <a:pt x="339" y="228"/>
                    </a:lnTo>
                    <a:lnTo>
                      <a:pt x="344" y="223"/>
                    </a:lnTo>
                    <a:lnTo>
                      <a:pt x="348" y="220"/>
                    </a:lnTo>
                    <a:lnTo>
                      <a:pt x="348" y="220"/>
                    </a:lnTo>
                    <a:lnTo>
                      <a:pt x="344" y="215"/>
                    </a:lnTo>
                    <a:lnTo>
                      <a:pt x="340" y="211"/>
                    </a:lnTo>
                    <a:lnTo>
                      <a:pt x="335" y="199"/>
                    </a:lnTo>
                    <a:lnTo>
                      <a:pt x="331" y="184"/>
                    </a:lnTo>
                    <a:lnTo>
                      <a:pt x="330" y="177"/>
                    </a:lnTo>
                    <a:lnTo>
                      <a:pt x="330" y="169"/>
                    </a:lnTo>
                    <a:lnTo>
                      <a:pt x="330" y="169"/>
                    </a:lnTo>
                    <a:lnTo>
                      <a:pt x="331" y="162"/>
                    </a:lnTo>
                    <a:lnTo>
                      <a:pt x="332" y="157"/>
                    </a:lnTo>
                    <a:lnTo>
                      <a:pt x="339" y="145"/>
                    </a:lnTo>
                    <a:lnTo>
                      <a:pt x="345" y="134"/>
                    </a:lnTo>
                    <a:lnTo>
                      <a:pt x="347" y="128"/>
                    </a:lnTo>
                    <a:lnTo>
                      <a:pt x="348" y="121"/>
                    </a:lnTo>
                    <a:lnTo>
                      <a:pt x="348" y="121"/>
                    </a:lnTo>
                    <a:lnTo>
                      <a:pt x="347" y="115"/>
                    </a:lnTo>
                    <a:lnTo>
                      <a:pt x="344" y="110"/>
                    </a:lnTo>
                    <a:lnTo>
                      <a:pt x="339" y="105"/>
                    </a:lnTo>
                    <a:lnTo>
                      <a:pt x="333" y="102"/>
                    </a:lnTo>
                    <a:lnTo>
                      <a:pt x="328" y="97"/>
                    </a:lnTo>
                    <a:lnTo>
                      <a:pt x="323" y="92"/>
                    </a:lnTo>
                    <a:lnTo>
                      <a:pt x="320" y="87"/>
                    </a:lnTo>
                    <a:lnTo>
                      <a:pt x="318" y="81"/>
                    </a:lnTo>
                    <a:lnTo>
                      <a:pt x="318" y="81"/>
                    </a:lnTo>
                    <a:lnTo>
                      <a:pt x="320" y="76"/>
                    </a:lnTo>
                    <a:lnTo>
                      <a:pt x="322" y="72"/>
                    </a:lnTo>
                    <a:lnTo>
                      <a:pt x="328" y="61"/>
                    </a:lnTo>
                    <a:lnTo>
                      <a:pt x="330" y="54"/>
                    </a:lnTo>
                    <a:lnTo>
                      <a:pt x="330" y="49"/>
                    </a:lnTo>
                    <a:lnTo>
                      <a:pt x="328" y="41"/>
                    </a:lnTo>
                    <a:lnTo>
                      <a:pt x="323" y="34"/>
                    </a:lnTo>
                    <a:lnTo>
                      <a:pt x="323" y="34"/>
                    </a:lnTo>
                    <a:lnTo>
                      <a:pt x="304" y="42"/>
                    </a:lnTo>
                    <a:lnTo>
                      <a:pt x="283" y="49"/>
                    </a:lnTo>
                    <a:lnTo>
                      <a:pt x="272" y="51"/>
                    </a:lnTo>
                    <a:lnTo>
                      <a:pt x="262" y="53"/>
                    </a:lnTo>
                    <a:lnTo>
                      <a:pt x="251" y="54"/>
                    </a:lnTo>
                    <a:lnTo>
                      <a:pt x="238" y="55"/>
                    </a:lnTo>
                    <a:lnTo>
                      <a:pt x="238" y="55"/>
                    </a:lnTo>
                    <a:lnTo>
                      <a:pt x="225" y="55"/>
                    </a:lnTo>
                    <a:lnTo>
                      <a:pt x="218" y="55"/>
                    </a:lnTo>
                    <a:lnTo>
                      <a:pt x="213" y="54"/>
                    </a:lnTo>
                    <a:lnTo>
                      <a:pt x="208" y="52"/>
                    </a:lnTo>
                    <a:lnTo>
                      <a:pt x="205" y="49"/>
                    </a:lnTo>
                    <a:lnTo>
                      <a:pt x="202" y="44"/>
                    </a:lnTo>
                    <a:lnTo>
                      <a:pt x="201" y="37"/>
                    </a:lnTo>
                    <a:lnTo>
                      <a:pt x="201" y="37"/>
                    </a:lnTo>
                    <a:lnTo>
                      <a:pt x="201" y="37"/>
                    </a:lnTo>
                    <a:lnTo>
                      <a:pt x="198" y="47"/>
                    </a:lnTo>
                    <a:lnTo>
                      <a:pt x="198" y="4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5" name="Freeform 80"/>
              <p:cNvSpPr>
                <a:spLocks noChangeAspect="1"/>
              </p:cNvSpPr>
              <p:nvPr/>
            </p:nvSpPr>
            <p:spPr bwMode="auto">
              <a:xfrm>
                <a:off x="975698" y="3915177"/>
                <a:ext cx="229841" cy="197604"/>
              </a:xfrm>
              <a:custGeom>
                <a:avLst/>
                <a:gdLst/>
                <a:ahLst/>
                <a:cxnLst>
                  <a:cxn ang="0">
                    <a:pos x="116" y="9"/>
                  </a:cxn>
                  <a:cxn ang="0">
                    <a:pos x="131" y="33"/>
                  </a:cxn>
                  <a:cxn ang="0">
                    <a:pos x="148" y="44"/>
                  </a:cxn>
                  <a:cxn ang="0">
                    <a:pos x="173" y="44"/>
                  </a:cxn>
                  <a:cxn ang="0">
                    <a:pos x="174" y="31"/>
                  </a:cxn>
                  <a:cxn ang="0">
                    <a:pos x="181" y="17"/>
                  </a:cxn>
                  <a:cxn ang="0">
                    <a:pos x="192" y="10"/>
                  </a:cxn>
                  <a:cxn ang="0">
                    <a:pos x="235" y="7"/>
                  </a:cxn>
                  <a:cxn ang="0">
                    <a:pos x="228" y="29"/>
                  </a:cxn>
                  <a:cxn ang="0">
                    <a:pos x="228" y="42"/>
                  </a:cxn>
                  <a:cxn ang="0">
                    <a:pos x="234" y="53"/>
                  </a:cxn>
                  <a:cxn ang="0">
                    <a:pos x="245" y="59"/>
                  </a:cxn>
                  <a:cxn ang="0">
                    <a:pos x="275" y="59"/>
                  </a:cxn>
                  <a:cxn ang="0">
                    <a:pos x="281" y="60"/>
                  </a:cxn>
                  <a:cxn ang="0">
                    <a:pos x="288" y="69"/>
                  </a:cxn>
                  <a:cxn ang="0">
                    <a:pos x="289" y="101"/>
                  </a:cxn>
                  <a:cxn ang="0">
                    <a:pos x="268" y="124"/>
                  </a:cxn>
                  <a:cxn ang="0">
                    <a:pos x="233" y="153"/>
                  </a:cxn>
                  <a:cxn ang="0">
                    <a:pos x="219" y="174"/>
                  </a:cxn>
                  <a:cxn ang="0">
                    <a:pos x="217" y="183"/>
                  </a:cxn>
                  <a:cxn ang="0">
                    <a:pos x="217" y="256"/>
                  </a:cxn>
                  <a:cxn ang="0">
                    <a:pos x="209" y="275"/>
                  </a:cxn>
                  <a:cxn ang="0">
                    <a:pos x="183" y="283"/>
                  </a:cxn>
                  <a:cxn ang="0">
                    <a:pos x="162" y="279"/>
                  </a:cxn>
                  <a:cxn ang="0">
                    <a:pos x="133" y="260"/>
                  </a:cxn>
                  <a:cxn ang="0">
                    <a:pos x="114" y="235"/>
                  </a:cxn>
                  <a:cxn ang="0">
                    <a:pos x="112" y="220"/>
                  </a:cxn>
                  <a:cxn ang="0">
                    <a:pos x="112" y="199"/>
                  </a:cxn>
                  <a:cxn ang="0">
                    <a:pos x="99" y="191"/>
                  </a:cxn>
                  <a:cxn ang="0">
                    <a:pos x="77" y="170"/>
                  </a:cxn>
                  <a:cxn ang="0">
                    <a:pos x="62" y="157"/>
                  </a:cxn>
                  <a:cxn ang="0">
                    <a:pos x="40" y="153"/>
                  </a:cxn>
                  <a:cxn ang="0">
                    <a:pos x="16" y="150"/>
                  </a:cxn>
                  <a:cxn ang="0">
                    <a:pos x="7" y="143"/>
                  </a:cxn>
                  <a:cxn ang="0">
                    <a:pos x="0" y="127"/>
                  </a:cxn>
                  <a:cxn ang="0">
                    <a:pos x="1" y="112"/>
                  </a:cxn>
                  <a:cxn ang="0">
                    <a:pos x="9" y="100"/>
                  </a:cxn>
                  <a:cxn ang="0">
                    <a:pos x="30" y="97"/>
                  </a:cxn>
                  <a:cxn ang="0">
                    <a:pos x="51" y="92"/>
                  </a:cxn>
                  <a:cxn ang="0">
                    <a:pos x="61" y="81"/>
                  </a:cxn>
                  <a:cxn ang="0">
                    <a:pos x="66" y="60"/>
                  </a:cxn>
                  <a:cxn ang="0">
                    <a:pos x="80" y="30"/>
                  </a:cxn>
                  <a:cxn ang="0">
                    <a:pos x="106" y="0"/>
                  </a:cxn>
                  <a:cxn ang="0">
                    <a:pos x="114" y="4"/>
                  </a:cxn>
                </a:cxnLst>
                <a:rect l="0" t="0" r="r" b="b"/>
                <a:pathLst>
                  <a:path w="290" h="283">
                    <a:moveTo>
                      <a:pt x="114" y="4"/>
                    </a:moveTo>
                    <a:lnTo>
                      <a:pt x="114" y="4"/>
                    </a:lnTo>
                    <a:lnTo>
                      <a:pt x="116" y="9"/>
                    </a:lnTo>
                    <a:lnTo>
                      <a:pt x="119" y="15"/>
                    </a:lnTo>
                    <a:lnTo>
                      <a:pt x="127" y="28"/>
                    </a:lnTo>
                    <a:lnTo>
                      <a:pt x="131" y="33"/>
                    </a:lnTo>
                    <a:lnTo>
                      <a:pt x="136" y="38"/>
                    </a:lnTo>
                    <a:lnTo>
                      <a:pt x="142" y="42"/>
                    </a:lnTo>
                    <a:lnTo>
                      <a:pt x="148" y="44"/>
                    </a:lnTo>
                    <a:lnTo>
                      <a:pt x="148" y="44"/>
                    </a:lnTo>
                    <a:lnTo>
                      <a:pt x="173" y="44"/>
                    </a:lnTo>
                    <a:lnTo>
                      <a:pt x="173" y="44"/>
                    </a:lnTo>
                    <a:lnTo>
                      <a:pt x="173" y="44"/>
                    </a:lnTo>
                    <a:lnTo>
                      <a:pt x="173" y="37"/>
                    </a:lnTo>
                    <a:lnTo>
                      <a:pt x="174" y="31"/>
                    </a:lnTo>
                    <a:lnTo>
                      <a:pt x="176" y="25"/>
                    </a:lnTo>
                    <a:lnTo>
                      <a:pt x="179" y="21"/>
                    </a:lnTo>
                    <a:lnTo>
                      <a:pt x="181" y="17"/>
                    </a:lnTo>
                    <a:lnTo>
                      <a:pt x="184" y="14"/>
                    </a:lnTo>
                    <a:lnTo>
                      <a:pt x="189" y="12"/>
                    </a:lnTo>
                    <a:lnTo>
                      <a:pt x="192" y="10"/>
                    </a:lnTo>
                    <a:lnTo>
                      <a:pt x="203" y="8"/>
                    </a:lnTo>
                    <a:lnTo>
                      <a:pt x="213" y="7"/>
                    </a:lnTo>
                    <a:lnTo>
                      <a:pt x="235" y="7"/>
                    </a:lnTo>
                    <a:lnTo>
                      <a:pt x="235" y="7"/>
                    </a:lnTo>
                    <a:lnTo>
                      <a:pt x="230" y="22"/>
                    </a:lnTo>
                    <a:lnTo>
                      <a:pt x="228" y="29"/>
                    </a:lnTo>
                    <a:lnTo>
                      <a:pt x="228" y="37"/>
                    </a:lnTo>
                    <a:lnTo>
                      <a:pt x="228" y="37"/>
                    </a:lnTo>
                    <a:lnTo>
                      <a:pt x="228" y="42"/>
                    </a:lnTo>
                    <a:lnTo>
                      <a:pt x="229" y="46"/>
                    </a:lnTo>
                    <a:lnTo>
                      <a:pt x="232" y="50"/>
                    </a:lnTo>
                    <a:lnTo>
                      <a:pt x="234" y="53"/>
                    </a:lnTo>
                    <a:lnTo>
                      <a:pt x="236" y="55"/>
                    </a:lnTo>
                    <a:lnTo>
                      <a:pt x="241" y="58"/>
                    </a:lnTo>
                    <a:lnTo>
                      <a:pt x="245" y="59"/>
                    </a:lnTo>
                    <a:lnTo>
                      <a:pt x="250" y="59"/>
                    </a:lnTo>
                    <a:lnTo>
                      <a:pt x="250" y="59"/>
                    </a:lnTo>
                    <a:lnTo>
                      <a:pt x="275" y="59"/>
                    </a:lnTo>
                    <a:lnTo>
                      <a:pt x="275" y="59"/>
                    </a:lnTo>
                    <a:lnTo>
                      <a:pt x="279" y="59"/>
                    </a:lnTo>
                    <a:lnTo>
                      <a:pt x="281" y="60"/>
                    </a:lnTo>
                    <a:lnTo>
                      <a:pt x="283" y="61"/>
                    </a:lnTo>
                    <a:lnTo>
                      <a:pt x="286" y="63"/>
                    </a:lnTo>
                    <a:lnTo>
                      <a:pt x="288" y="69"/>
                    </a:lnTo>
                    <a:lnTo>
                      <a:pt x="289" y="76"/>
                    </a:lnTo>
                    <a:lnTo>
                      <a:pt x="289" y="92"/>
                    </a:lnTo>
                    <a:lnTo>
                      <a:pt x="289" y="101"/>
                    </a:lnTo>
                    <a:lnTo>
                      <a:pt x="290" y="109"/>
                    </a:lnTo>
                    <a:lnTo>
                      <a:pt x="290" y="109"/>
                    </a:lnTo>
                    <a:lnTo>
                      <a:pt x="268" y="124"/>
                    </a:lnTo>
                    <a:lnTo>
                      <a:pt x="256" y="132"/>
                    </a:lnTo>
                    <a:lnTo>
                      <a:pt x="244" y="143"/>
                    </a:lnTo>
                    <a:lnTo>
                      <a:pt x="233" y="153"/>
                    </a:lnTo>
                    <a:lnTo>
                      <a:pt x="225" y="163"/>
                    </a:lnTo>
                    <a:lnTo>
                      <a:pt x="221" y="168"/>
                    </a:lnTo>
                    <a:lnTo>
                      <a:pt x="219" y="174"/>
                    </a:lnTo>
                    <a:lnTo>
                      <a:pt x="217" y="178"/>
                    </a:lnTo>
                    <a:lnTo>
                      <a:pt x="217" y="183"/>
                    </a:lnTo>
                    <a:lnTo>
                      <a:pt x="217" y="183"/>
                    </a:lnTo>
                    <a:lnTo>
                      <a:pt x="217" y="235"/>
                    </a:lnTo>
                    <a:lnTo>
                      <a:pt x="217" y="235"/>
                    </a:lnTo>
                    <a:lnTo>
                      <a:pt x="217" y="256"/>
                    </a:lnTo>
                    <a:lnTo>
                      <a:pt x="214" y="264"/>
                    </a:lnTo>
                    <a:lnTo>
                      <a:pt x="212" y="271"/>
                    </a:lnTo>
                    <a:lnTo>
                      <a:pt x="209" y="275"/>
                    </a:lnTo>
                    <a:lnTo>
                      <a:pt x="203" y="280"/>
                    </a:lnTo>
                    <a:lnTo>
                      <a:pt x="195" y="282"/>
                    </a:lnTo>
                    <a:lnTo>
                      <a:pt x="183" y="283"/>
                    </a:lnTo>
                    <a:lnTo>
                      <a:pt x="183" y="283"/>
                    </a:lnTo>
                    <a:lnTo>
                      <a:pt x="174" y="282"/>
                    </a:lnTo>
                    <a:lnTo>
                      <a:pt x="162" y="279"/>
                    </a:lnTo>
                    <a:lnTo>
                      <a:pt x="152" y="274"/>
                    </a:lnTo>
                    <a:lnTo>
                      <a:pt x="142" y="267"/>
                    </a:lnTo>
                    <a:lnTo>
                      <a:pt x="133" y="260"/>
                    </a:lnTo>
                    <a:lnTo>
                      <a:pt x="125" y="252"/>
                    </a:lnTo>
                    <a:lnTo>
                      <a:pt x="119" y="243"/>
                    </a:lnTo>
                    <a:lnTo>
                      <a:pt x="114" y="235"/>
                    </a:lnTo>
                    <a:lnTo>
                      <a:pt x="114" y="235"/>
                    </a:lnTo>
                    <a:lnTo>
                      <a:pt x="113" y="227"/>
                    </a:lnTo>
                    <a:lnTo>
                      <a:pt x="112" y="220"/>
                    </a:lnTo>
                    <a:lnTo>
                      <a:pt x="113" y="208"/>
                    </a:lnTo>
                    <a:lnTo>
                      <a:pt x="113" y="204"/>
                    </a:lnTo>
                    <a:lnTo>
                      <a:pt x="112" y="199"/>
                    </a:lnTo>
                    <a:lnTo>
                      <a:pt x="107" y="195"/>
                    </a:lnTo>
                    <a:lnTo>
                      <a:pt x="99" y="191"/>
                    </a:lnTo>
                    <a:lnTo>
                      <a:pt x="99" y="191"/>
                    </a:lnTo>
                    <a:lnTo>
                      <a:pt x="93" y="188"/>
                    </a:lnTo>
                    <a:lnTo>
                      <a:pt x="88" y="183"/>
                    </a:lnTo>
                    <a:lnTo>
                      <a:pt x="77" y="170"/>
                    </a:lnTo>
                    <a:lnTo>
                      <a:pt x="73" y="165"/>
                    </a:lnTo>
                    <a:lnTo>
                      <a:pt x="67" y="160"/>
                    </a:lnTo>
                    <a:lnTo>
                      <a:pt x="62" y="157"/>
                    </a:lnTo>
                    <a:lnTo>
                      <a:pt x="55" y="154"/>
                    </a:lnTo>
                    <a:lnTo>
                      <a:pt x="55" y="154"/>
                    </a:lnTo>
                    <a:lnTo>
                      <a:pt x="40" y="153"/>
                    </a:lnTo>
                    <a:lnTo>
                      <a:pt x="27" y="152"/>
                    </a:lnTo>
                    <a:lnTo>
                      <a:pt x="22" y="152"/>
                    </a:lnTo>
                    <a:lnTo>
                      <a:pt x="16" y="150"/>
                    </a:lnTo>
                    <a:lnTo>
                      <a:pt x="12" y="147"/>
                    </a:lnTo>
                    <a:lnTo>
                      <a:pt x="7" y="143"/>
                    </a:lnTo>
                    <a:lnTo>
                      <a:pt x="7" y="143"/>
                    </a:lnTo>
                    <a:lnTo>
                      <a:pt x="4" y="137"/>
                    </a:lnTo>
                    <a:lnTo>
                      <a:pt x="1" y="131"/>
                    </a:lnTo>
                    <a:lnTo>
                      <a:pt x="0" y="127"/>
                    </a:lnTo>
                    <a:lnTo>
                      <a:pt x="0" y="117"/>
                    </a:lnTo>
                    <a:lnTo>
                      <a:pt x="0" y="117"/>
                    </a:lnTo>
                    <a:lnTo>
                      <a:pt x="1" y="112"/>
                    </a:lnTo>
                    <a:lnTo>
                      <a:pt x="3" y="107"/>
                    </a:lnTo>
                    <a:lnTo>
                      <a:pt x="6" y="104"/>
                    </a:lnTo>
                    <a:lnTo>
                      <a:pt x="9" y="100"/>
                    </a:lnTo>
                    <a:lnTo>
                      <a:pt x="14" y="99"/>
                    </a:lnTo>
                    <a:lnTo>
                      <a:pt x="19" y="98"/>
                    </a:lnTo>
                    <a:lnTo>
                      <a:pt x="30" y="97"/>
                    </a:lnTo>
                    <a:lnTo>
                      <a:pt x="42" y="96"/>
                    </a:lnTo>
                    <a:lnTo>
                      <a:pt x="46" y="94"/>
                    </a:lnTo>
                    <a:lnTo>
                      <a:pt x="51" y="92"/>
                    </a:lnTo>
                    <a:lnTo>
                      <a:pt x="55" y="90"/>
                    </a:lnTo>
                    <a:lnTo>
                      <a:pt x="59" y="85"/>
                    </a:lnTo>
                    <a:lnTo>
                      <a:pt x="61" y="81"/>
                    </a:lnTo>
                    <a:lnTo>
                      <a:pt x="62" y="74"/>
                    </a:lnTo>
                    <a:lnTo>
                      <a:pt x="62" y="74"/>
                    </a:lnTo>
                    <a:lnTo>
                      <a:pt x="66" y="60"/>
                    </a:lnTo>
                    <a:lnTo>
                      <a:pt x="69" y="48"/>
                    </a:lnTo>
                    <a:lnTo>
                      <a:pt x="74" y="39"/>
                    </a:lnTo>
                    <a:lnTo>
                      <a:pt x="80" y="30"/>
                    </a:lnTo>
                    <a:lnTo>
                      <a:pt x="85" y="22"/>
                    </a:lnTo>
                    <a:lnTo>
                      <a:pt x="91" y="14"/>
                    </a:lnTo>
                    <a:lnTo>
                      <a:pt x="106" y="0"/>
                    </a:lnTo>
                    <a:lnTo>
                      <a:pt x="106" y="0"/>
                    </a:lnTo>
                    <a:lnTo>
                      <a:pt x="114" y="4"/>
                    </a:lnTo>
                    <a:lnTo>
                      <a:pt x="114" y="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6" name="Freeform 81"/>
              <p:cNvSpPr>
                <a:spLocks noChangeAspect="1"/>
              </p:cNvSpPr>
              <p:nvPr/>
            </p:nvSpPr>
            <p:spPr bwMode="auto">
              <a:xfrm>
                <a:off x="1622423" y="4270030"/>
                <a:ext cx="337628" cy="258834"/>
              </a:xfrm>
              <a:custGeom>
                <a:avLst/>
                <a:gdLst/>
                <a:ahLst/>
                <a:cxnLst>
                  <a:cxn ang="0">
                    <a:pos x="123" y="367"/>
                  </a:cxn>
                  <a:cxn ang="0">
                    <a:pos x="155" y="359"/>
                  </a:cxn>
                  <a:cxn ang="0">
                    <a:pos x="189" y="351"/>
                  </a:cxn>
                  <a:cxn ang="0">
                    <a:pos x="205" y="339"/>
                  </a:cxn>
                  <a:cxn ang="0">
                    <a:pos x="242" y="297"/>
                  </a:cxn>
                  <a:cxn ang="0">
                    <a:pos x="266" y="282"/>
                  </a:cxn>
                  <a:cxn ang="0">
                    <a:pos x="279" y="279"/>
                  </a:cxn>
                  <a:cxn ang="0">
                    <a:pos x="300" y="275"/>
                  </a:cxn>
                  <a:cxn ang="0">
                    <a:pos x="315" y="263"/>
                  </a:cxn>
                  <a:cxn ang="0">
                    <a:pos x="338" y="230"/>
                  </a:cxn>
                  <a:cxn ang="0">
                    <a:pos x="352" y="209"/>
                  </a:cxn>
                  <a:cxn ang="0">
                    <a:pos x="368" y="195"/>
                  </a:cxn>
                  <a:cxn ang="0">
                    <a:pos x="388" y="185"/>
                  </a:cxn>
                  <a:cxn ang="0">
                    <a:pos x="401" y="174"/>
                  </a:cxn>
                  <a:cxn ang="0">
                    <a:pos x="405" y="159"/>
                  </a:cxn>
                  <a:cxn ang="0">
                    <a:pos x="410" y="128"/>
                  </a:cxn>
                  <a:cxn ang="0">
                    <a:pos x="417" y="120"/>
                  </a:cxn>
                  <a:cxn ang="0">
                    <a:pos x="426" y="118"/>
                  </a:cxn>
                  <a:cxn ang="0">
                    <a:pos x="398" y="71"/>
                  </a:cxn>
                  <a:cxn ang="0">
                    <a:pos x="361" y="18"/>
                  </a:cxn>
                  <a:cxn ang="0">
                    <a:pos x="354" y="27"/>
                  </a:cxn>
                  <a:cxn ang="0">
                    <a:pos x="352" y="41"/>
                  </a:cxn>
                  <a:cxn ang="0">
                    <a:pos x="320" y="40"/>
                  </a:cxn>
                  <a:cxn ang="0">
                    <a:pos x="298" y="30"/>
                  </a:cxn>
                  <a:cxn ang="0">
                    <a:pos x="277" y="9"/>
                  </a:cxn>
                  <a:cxn ang="0">
                    <a:pos x="269" y="13"/>
                  </a:cxn>
                  <a:cxn ang="0">
                    <a:pos x="253" y="44"/>
                  </a:cxn>
                  <a:cxn ang="0">
                    <a:pos x="224" y="61"/>
                  </a:cxn>
                  <a:cxn ang="0">
                    <a:pos x="207" y="62"/>
                  </a:cxn>
                  <a:cxn ang="0">
                    <a:pos x="172" y="45"/>
                  </a:cxn>
                  <a:cxn ang="0">
                    <a:pos x="117" y="16"/>
                  </a:cxn>
                  <a:cxn ang="0">
                    <a:pos x="92" y="9"/>
                  </a:cxn>
                  <a:cxn ang="0">
                    <a:pos x="81" y="9"/>
                  </a:cxn>
                  <a:cxn ang="0">
                    <a:pos x="70" y="17"/>
                  </a:cxn>
                  <a:cxn ang="0">
                    <a:pos x="66" y="34"/>
                  </a:cxn>
                  <a:cxn ang="0">
                    <a:pos x="39" y="29"/>
                  </a:cxn>
                  <a:cxn ang="0">
                    <a:pos x="28" y="32"/>
                  </a:cxn>
                  <a:cxn ang="0">
                    <a:pos x="18" y="56"/>
                  </a:cxn>
                  <a:cxn ang="0">
                    <a:pos x="18" y="69"/>
                  </a:cxn>
                  <a:cxn ang="0">
                    <a:pos x="24" y="93"/>
                  </a:cxn>
                  <a:cxn ang="0">
                    <a:pos x="24" y="113"/>
                  </a:cxn>
                  <a:cxn ang="0">
                    <a:pos x="13" y="128"/>
                  </a:cxn>
                  <a:cxn ang="0">
                    <a:pos x="1" y="140"/>
                  </a:cxn>
                  <a:cxn ang="0">
                    <a:pos x="0" y="154"/>
                  </a:cxn>
                  <a:cxn ang="0">
                    <a:pos x="7" y="172"/>
                  </a:cxn>
                  <a:cxn ang="0">
                    <a:pos x="43" y="209"/>
                  </a:cxn>
                  <a:cxn ang="0">
                    <a:pos x="59" y="224"/>
                  </a:cxn>
                  <a:cxn ang="0">
                    <a:pos x="82" y="275"/>
                  </a:cxn>
                  <a:cxn ang="0">
                    <a:pos x="101" y="332"/>
                  </a:cxn>
                  <a:cxn ang="0">
                    <a:pos x="117" y="365"/>
                  </a:cxn>
                </a:cxnLst>
                <a:rect l="0" t="0" r="r" b="b"/>
                <a:pathLst>
                  <a:path w="426" h="372">
                    <a:moveTo>
                      <a:pt x="114" y="372"/>
                    </a:moveTo>
                    <a:lnTo>
                      <a:pt x="114" y="372"/>
                    </a:lnTo>
                    <a:lnTo>
                      <a:pt x="123" y="367"/>
                    </a:lnTo>
                    <a:lnTo>
                      <a:pt x="134" y="363"/>
                    </a:lnTo>
                    <a:lnTo>
                      <a:pt x="144" y="361"/>
                    </a:lnTo>
                    <a:lnTo>
                      <a:pt x="155" y="359"/>
                    </a:lnTo>
                    <a:lnTo>
                      <a:pt x="167" y="357"/>
                    </a:lnTo>
                    <a:lnTo>
                      <a:pt x="178" y="354"/>
                    </a:lnTo>
                    <a:lnTo>
                      <a:pt x="189" y="351"/>
                    </a:lnTo>
                    <a:lnTo>
                      <a:pt x="198" y="346"/>
                    </a:lnTo>
                    <a:lnTo>
                      <a:pt x="198" y="346"/>
                    </a:lnTo>
                    <a:lnTo>
                      <a:pt x="205" y="339"/>
                    </a:lnTo>
                    <a:lnTo>
                      <a:pt x="213" y="329"/>
                    </a:lnTo>
                    <a:lnTo>
                      <a:pt x="231" y="307"/>
                    </a:lnTo>
                    <a:lnTo>
                      <a:pt x="242" y="297"/>
                    </a:lnTo>
                    <a:lnTo>
                      <a:pt x="253" y="288"/>
                    </a:lnTo>
                    <a:lnTo>
                      <a:pt x="259" y="284"/>
                    </a:lnTo>
                    <a:lnTo>
                      <a:pt x="266" y="282"/>
                    </a:lnTo>
                    <a:lnTo>
                      <a:pt x="273" y="281"/>
                    </a:lnTo>
                    <a:lnTo>
                      <a:pt x="279" y="279"/>
                    </a:lnTo>
                    <a:lnTo>
                      <a:pt x="279" y="279"/>
                    </a:lnTo>
                    <a:lnTo>
                      <a:pt x="287" y="279"/>
                    </a:lnTo>
                    <a:lnTo>
                      <a:pt x="293" y="277"/>
                    </a:lnTo>
                    <a:lnTo>
                      <a:pt x="300" y="275"/>
                    </a:lnTo>
                    <a:lnTo>
                      <a:pt x="306" y="271"/>
                    </a:lnTo>
                    <a:lnTo>
                      <a:pt x="311" y="268"/>
                    </a:lnTo>
                    <a:lnTo>
                      <a:pt x="315" y="263"/>
                    </a:lnTo>
                    <a:lnTo>
                      <a:pt x="323" y="253"/>
                    </a:lnTo>
                    <a:lnTo>
                      <a:pt x="331" y="242"/>
                    </a:lnTo>
                    <a:lnTo>
                      <a:pt x="338" y="230"/>
                    </a:lnTo>
                    <a:lnTo>
                      <a:pt x="345" y="218"/>
                    </a:lnTo>
                    <a:lnTo>
                      <a:pt x="352" y="209"/>
                    </a:lnTo>
                    <a:lnTo>
                      <a:pt x="352" y="209"/>
                    </a:lnTo>
                    <a:lnTo>
                      <a:pt x="357" y="204"/>
                    </a:lnTo>
                    <a:lnTo>
                      <a:pt x="363" y="199"/>
                    </a:lnTo>
                    <a:lnTo>
                      <a:pt x="368" y="195"/>
                    </a:lnTo>
                    <a:lnTo>
                      <a:pt x="375" y="193"/>
                    </a:lnTo>
                    <a:lnTo>
                      <a:pt x="381" y="190"/>
                    </a:lnTo>
                    <a:lnTo>
                      <a:pt x="388" y="185"/>
                    </a:lnTo>
                    <a:lnTo>
                      <a:pt x="395" y="181"/>
                    </a:lnTo>
                    <a:lnTo>
                      <a:pt x="401" y="174"/>
                    </a:lnTo>
                    <a:lnTo>
                      <a:pt x="401" y="174"/>
                    </a:lnTo>
                    <a:lnTo>
                      <a:pt x="402" y="170"/>
                    </a:lnTo>
                    <a:lnTo>
                      <a:pt x="403" y="167"/>
                    </a:lnTo>
                    <a:lnTo>
                      <a:pt x="405" y="159"/>
                    </a:lnTo>
                    <a:lnTo>
                      <a:pt x="406" y="140"/>
                    </a:lnTo>
                    <a:lnTo>
                      <a:pt x="407" y="131"/>
                    </a:lnTo>
                    <a:lnTo>
                      <a:pt x="410" y="128"/>
                    </a:lnTo>
                    <a:lnTo>
                      <a:pt x="411" y="124"/>
                    </a:lnTo>
                    <a:lnTo>
                      <a:pt x="413" y="122"/>
                    </a:lnTo>
                    <a:lnTo>
                      <a:pt x="417" y="120"/>
                    </a:lnTo>
                    <a:lnTo>
                      <a:pt x="421" y="118"/>
                    </a:lnTo>
                    <a:lnTo>
                      <a:pt x="426" y="118"/>
                    </a:lnTo>
                    <a:lnTo>
                      <a:pt x="426" y="118"/>
                    </a:lnTo>
                    <a:lnTo>
                      <a:pt x="419" y="108"/>
                    </a:lnTo>
                    <a:lnTo>
                      <a:pt x="412" y="97"/>
                    </a:lnTo>
                    <a:lnTo>
                      <a:pt x="398" y="71"/>
                    </a:lnTo>
                    <a:lnTo>
                      <a:pt x="371" y="15"/>
                    </a:lnTo>
                    <a:lnTo>
                      <a:pt x="371" y="15"/>
                    </a:lnTo>
                    <a:lnTo>
                      <a:pt x="361" y="18"/>
                    </a:lnTo>
                    <a:lnTo>
                      <a:pt x="359" y="21"/>
                    </a:lnTo>
                    <a:lnTo>
                      <a:pt x="356" y="24"/>
                    </a:lnTo>
                    <a:lnTo>
                      <a:pt x="354" y="27"/>
                    </a:lnTo>
                    <a:lnTo>
                      <a:pt x="353" y="31"/>
                    </a:lnTo>
                    <a:lnTo>
                      <a:pt x="352" y="41"/>
                    </a:lnTo>
                    <a:lnTo>
                      <a:pt x="352" y="41"/>
                    </a:lnTo>
                    <a:lnTo>
                      <a:pt x="327" y="41"/>
                    </a:lnTo>
                    <a:lnTo>
                      <a:pt x="327" y="41"/>
                    </a:lnTo>
                    <a:lnTo>
                      <a:pt x="320" y="40"/>
                    </a:lnTo>
                    <a:lnTo>
                      <a:pt x="312" y="38"/>
                    </a:lnTo>
                    <a:lnTo>
                      <a:pt x="305" y="34"/>
                    </a:lnTo>
                    <a:lnTo>
                      <a:pt x="298" y="30"/>
                    </a:lnTo>
                    <a:lnTo>
                      <a:pt x="290" y="24"/>
                    </a:lnTo>
                    <a:lnTo>
                      <a:pt x="283" y="17"/>
                    </a:lnTo>
                    <a:lnTo>
                      <a:pt x="277" y="9"/>
                    </a:lnTo>
                    <a:lnTo>
                      <a:pt x="272" y="0"/>
                    </a:lnTo>
                    <a:lnTo>
                      <a:pt x="272" y="0"/>
                    </a:lnTo>
                    <a:lnTo>
                      <a:pt x="269" y="13"/>
                    </a:lnTo>
                    <a:lnTo>
                      <a:pt x="266" y="24"/>
                    </a:lnTo>
                    <a:lnTo>
                      <a:pt x="260" y="34"/>
                    </a:lnTo>
                    <a:lnTo>
                      <a:pt x="253" y="44"/>
                    </a:lnTo>
                    <a:lnTo>
                      <a:pt x="245" y="52"/>
                    </a:lnTo>
                    <a:lnTo>
                      <a:pt x="235" y="57"/>
                    </a:lnTo>
                    <a:lnTo>
                      <a:pt x="224" y="61"/>
                    </a:lnTo>
                    <a:lnTo>
                      <a:pt x="213" y="63"/>
                    </a:lnTo>
                    <a:lnTo>
                      <a:pt x="213" y="63"/>
                    </a:lnTo>
                    <a:lnTo>
                      <a:pt x="207" y="62"/>
                    </a:lnTo>
                    <a:lnTo>
                      <a:pt x="201" y="60"/>
                    </a:lnTo>
                    <a:lnTo>
                      <a:pt x="188" y="54"/>
                    </a:lnTo>
                    <a:lnTo>
                      <a:pt x="172" y="45"/>
                    </a:lnTo>
                    <a:lnTo>
                      <a:pt x="154" y="36"/>
                    </a:lnTo>
                    <a:lnTo>
                      <a:pt x="136" y="25"/>
                    </a:lnTo>
                    <a:lnTo>
                      <a:pt x="117" y="16"/>
                    </a:lnTo>
                    <a:lnTo>
                      <a:pt x="109" y="13"/>
                    </a:lnTo>
                    <a:lnTo>
                      <a:pt x="100" y="10"/>
                    </a:lnTo>
                    <a:lnTo>
                      <a:pt x="92" y="9"/>
                    </a:lnTo>
                    <a:lnTo>
                      <a:pt x="84" y="8"/>
                    </a:lnTo>
                    <a:lnTo>
                      <a:pt x="84" y="8"/>
                    </a:lnTo>
                    <a:lnTo>
                      <a:pt x="81" y="9"/>
                    </a:lnTo>
                    <a:lnTo>
                      <a:pt x="77" y="10"/>
                    </a:lnTo>
                    <a:lnTo>
                      <a:pt x="74" y="14"/>
                    </a:lnTo>
                    <a:lnTo>
                      <a:pt x="70" y="17"/>
                    </a:lnTo>
                    <a:lnTo>
                      <a:pt x="67" y="25"/>
                    </a:lnTo>
                    <a:lnTo>
                      <a:pt x="66" y="34"/>
                    </a:lnTo>
                    <a:lnTo>
                      <a:pt x="66" y="34"/>
                    </a:lnTo>
                    <a:lnTo>
                      <a:pt x="55" y="33"/>
                    </a:lnTo>
                    <a:lnTo>
                      <a:pt x="46" y="31"/>
                    </a:lnTo>
                    <a:lnTo>
                      <a:pt x="39" y="29"/>
                    </a:lnTo>
                    <a:lnTo>
                      <a:pt x="32" y="26"/>
                    </a:lnTo>
                    <a:lnTo>
                      <a:pt x="32" y="26"/>
                    </a:lnTo>
                    <a:lnTo>
                      <a:pt x="28" y="32"/>
                    </a:lnTo>
                    <a:lnTo>
                      <a:pt x="23" y="40"/>
                    </a:lnTo>
                    <a:lnTo>
                      <a:pt x="20" y="50"/>
                    </a:lnTo>
                    <a:lnTo>
                      <a:pt x="18" y="56"/>
                    </a:lnTo>
                    <a:lnTo>
                      <a:pt x="18" y="63"/>
                    </a:lnTo>
                    <a:lnTo>
                      <a:pt x="18" y="63"/>
                    </a:lnTo>
                    <a:lnTo>
                      <a:pt x="18" y="69"/>
                    </a:lnTo>
                    <a:lnTo>
                      <a:pt x="20" y="75"/>
                    </a:lnTo>
                    <a:lnTo>
                      <a:pt x="22" y="85"/>
                    </a:lnTo>
                    <a:lnTo>
                      <a:pt x="24" y="93"/>
                    </a:lnTo>
                    <a:lnTo>
                      <a:pt x="25" y="103"/>
                    </a:lnTo>
                    <a:lnTo>
                      <a:pt x="25" y="103"/>
                    </a:lnTo>
                    <a:lnTo>
                      <a:pt x="24" y="113"/>
                    </a:lnTo>
                    <a:lnTo>
                      <a:pt x="22" y="120"/>
                    </a:lnTo>
                    <a:lnTo>
                      <a:pt x="17" y="124"/>
                    </a:lnTo>
                    <a:lnTo>
                      <a:pt x="13" y="128"/>
                    </a:lnTo>
                    <a:lnTo>
                      <a:pt x="8" y="131"/>
                    </a:lnTo>
                    <a:lnTo>
                      <a:pt x="4" y="136"/>
                    </a:lnTo>
                    <a:lnTo>
                      <a:pt x="1" y="140"/>
                    </a:lnTo>
                    <a:lnTo>
                      <a:pt x="0" y="147"/>
                    </a:lnTo>
                    <a:lnTo>
                      <a:pt x="0" y="147"/>
                    </a:lnTo>
                    <a:lnTo>
                      <a:pt x="0" y="154"/>
                    </a:lnTo>
                    <a:lnTo>
                      <a:pt x="1" y="161"/>
                    </a:lnTo>
                    <a:lnTo>
                      <a:pt x="4" y="167"/>
                    </a:lnTo>
                    <a:lnTo>
                      <a:pt x="7" y="172"/>
                    </a:lnTo>
                    <a:lnTo>
                      <a:pt x="15" y="183"/>
                    </a:lnTo>
                    <a:lnTo>
                      <a:pt x="23" y="193"/>
                    </a:lnTo>
                    <a:lnTo>
                      <a:pt x="43" y="209"/>
                    </a:lnTo>
                    <a:lnTo>
                      <a:pt x="52" y="217"/>
                    </a:lnTo>
                    <a:lnTo>
                      <a:pt x="59" y="224"/>
                    </a:lnTo>
                    <a:lnTo>
                      <a:pt x="59" y="224"/>
                    </a:lnTo>
                    <a:lnTo>
                      <a:pt x="68" y="239"/>
                    </a:lnTo>
                    <a:lnTo>
                      <a:pt x="75" y="256"/>
                    </a:lnTo>
                    <a:lnTo>
                      <a:pt x="82" y="275"/>
                    </a:lnTo>
                    <a:lnTo>
                      <a:pt x="88" y="294"/>
                    </a:lnTo>
                    <a:lnTo>
                      <a:pt x="94" y="314"/>
                    </a:lnTo>
                    <a:lnTo>
                      <a:pt x="101" y="332"/>
                    </a:lnTo>
                    <a:lnTo>
                      <a:pt x="108" y="350"/>
                    </a:lnTo>
                    <a:lnTo>
                      <a:pt x="117" y="365"/>
                    </a:lnTo>
                    <a:lnTo>
                      <a:pt x="117" y="365"/>
                    </a:lnTo>
                    <a:lnTo>
                      <a:pt x="114" y="372"/>
                    </a:lnTo>
                    <a:lnTo>
                      <a:pt x="114" y="37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7" name="Freeform 82"/>
              <p:cNvSpPr>
                <a:spLocks noChangeAspect="1"/>
              </p:cNvSpPr>
              <p:nvPr/>
            </p:nvSpPr>
            <p:spPr bwMode="auto">
              <a:xfrm>
                <a:off x="1525731" y="4119739"/>
                <a:ext cx="312266" cy="232394"/>
              </a:xfrm>
              <a:custGeom>
                <a:avLst/>
                <a:gdLst/>
                <a:ahLst/>
                <a:cxnLst>
                  <a:cxn ang="0">
                    <a:pos x="132" y="333"/>
                  </a:cxn>
                  <a:cxn ang="0">
                    <a:pos x="63" y="318"/>
                  </a:cxn>
                  <a:cxn ang="0">
                    <a:pos x="12" y="296"/>
                  </a:cxn>
                  <a:cxn ang="0">
                    <a:pos x="0" y="283"/>
                  </a:cxn>
                  <a:cxn ang="0">
                    <a:pos x="4" y="271"/>
                  </a:cxn>
                  <a:cxn ang="0">
                    <a:pos x="22" y="252"/>
                  </a:cxn>
                  <a:cxn ang="0">
                    <a:pos x="56" y="220"/>
                  </a:cxn>
                  <a:cxn ang="0">
                    <a:pos x="66" y="202"/>
                  </a:cxn>
                  <a:cxn ang="0">
                    <a:pos x="66" y="188"/>
                  </a:cxn>
                  <a:cxn ang="0">
                    <a:pos x="58" y="178"/>
                  </a:cxn>
                  <a:cxn ang="0">
                    <a:pos x="50" y="168"/>
                  </a:cxn>
                  <a:cxn ang="0">
                    <a:pos x="50" y="154"/>
                  </a:cxn>
                  <a:cxn ang="0">
                    <a:pos x="61" y="131"/>
                  </a:cxn>
                  <a:cxn ang="0">
                    <a:pos x="67" y="107"/>
                  </a:cxn>
                  <a:cxn ang="0">
                    <a:pos x="65" y="85"/>
                  </a:cxn>
                  <a:cxn ang="0">
                    <a:pos x="58" y="71"/>
                  </a:cxn>
                  <a:cxn ang="0">
                    <a:pos x="48" y="66"/>
                  </a:cxn>
                  <a:cxn ang="0">
                    <a:pos x="48" y="44"/>
                  </a:cxn>
                  <a:cxn ang="0">
                    <a:pos x="74" y="44"/>
                  </a:cxn>
                  <a:cxn ang="0">
                    <a:pos x="99" y="57"/>
                  </a:cxn>
                  <a:cxn ang="0">
                    <a:pos x="122" y="63"/>
                  </a:cxn>
                  <a:cxn ang="0">
                    <a:pos x="130" y="61"/>
                  </a:cxn>
                  <a:cxn ang="0">
                    <a:pos x="142" y="49"/>
                  </a:cxn>
                  <a:cxn ang="0">
                    <a:pos x="147" y="20"/>
                  </a:cxn>
                  <a:cxn ang="0">
                    <a:pos x="149" y="3"/>
                  </a:cxn>
                  <a:cxn ang="0">
                    <a:pos x="174" y="36"/>
                  </a:cxn>
                  <a:cxn ang="0">
                    <a:pos x="201" y="64"/>
                  </a:cxn>
                  <a:cxn ang="0">
                    <a:pos x="210" y="70"/>
                  </a:cxn>
                  <a:cxn ang="0">
                    <a:pos x="236" y="74"/>
                  </a:cxn>
                  <a:cxn ang="0">
                    <a:pos x="266" y="74"/>
                  </a:cxn>
                  <a:cxn ang="0">
                    <a:pos x="277" y="82"/>
                  </a:cxn>
                  <a:cxn ang="0">
                    <a:pos x="289" y="111"/>
                  </a:cxn>
                  <a:cxn ang="0">
                    <a:pos x="299" y="122"/>
                  </a:cxn>
                  <a:cxn ang="0">
                    <a:pos x="308" y="125"/>
                  </a:cxn>
                  <a:cxn ang="0">
                    <a:pos x="352" y="122"/>
                  </a:cxn>
                  <a:cxn ang="0">
                    <a:pos x="364" y="124"/>
                  </a:cxn>
                  <a:cxn ang="0">
                    <a:pos x="367" y="145"/>
                  </a:cxn>
                  <a:cxn ang="0">
                    <a:pos x="367" y="157"/>
                  </a:cxn>
                  <a:cxn ang="0">
                    <a:pos x="375" y="186"/>
                  </a:cxn>
                  <a:cxn ang="0">
                    <a:pos x="394" y="216"/>
                  </a:cxn>
                  <a:cxn ang="0">
                    <a:pos x="382" y="250"/>
                  </a:cxn>
                  <a:cxn ang="0">
                    <a:pos x="357" y="273"/>
                  </a:cxn>
                  <a:cxn ang="0">
                    <a:pos x="335" y="279"/>
                  </a:cxn>
                  <a:cxn ang="0">
                    <a:pos x="310" y="270"/>
                  </a:cxn>
                  <a:cxn ang="0">
                    <a:pos x="258" y="241"/>
                  </a:cxn>
                  <a:cxn ang="0">
                    <a:pos x="222" y="226"/>
                  </a:cxn>
                  <a:cxn ang="0">
                    <a:pos x="206" y="224"/>
                  </a:cxn>
                  <a:cxn ang="0">
                    <a:pos x="196" y="230"/>
                  </a:cxn>
                  <a:cxn ang="0">
                    <a:pos x="188" y="250"/>
                  </a:cxn>
                  <a:cxn ang="0">
                    <a:pos x="168" y="247"/>
                  </a:cxn>
                  <a:cxn ang="0">
                    <a:pos x="154" y="242"/>
                  </a:cxn>
                  <a:cxn ang="0">
                    <a:pos x="142" y="266"/>
                  </a:cxn>
                  <a:cxn ang="0">
                    <a:pos x="140" y="279"/>
                  </a:cxn>
                  <a:cxn ang="0">
                    <a:pos x="144" y="301"/>
                  </a:cxn>
                  <a:cxn ang="0">
                    <a:pos x="147" y="319"/>
                  </a:cxn>
                  <a:cxn ang="0">
                    <a:pos x="151" y="332"/>
                  </a:cxn>
                  <a:cxn ang="0">
                    <a:pos x="147" y="334"/>
                  </a:cxn>
                </a:cxnLst>
                <a:rect l="0" t="0" r="r" b="b"/>
                <a:pathLst>
                  <a:path w="394" h="334">
                    <a:moveTo>
                      <a:pt x="147" y="334"/>
                    </a:moveTo>
                    <a:lnTo>
                      <a:pt x="147" y="334"/>
                    </a:lnTo>
                    <a:lnTo>
                      <a:pt x="132" y="333"/>
                    </a:lnTo>
                    <a:lnTo>
                      <a:pt x="113" y="330"/>
                    </a:lnTo>
                    <a:lnTo>
                      <a:pt x="89" y="324"/>
                    </a:lnTo>
                    <a:lnTo>
                      <a:pt x="63" y="318"/>
                    </a:lnTo>
                    <a:lnTo>
                      <a:pt x="39" y="310"/>
                    </a:lnTo>
                    <a:lnTo>
                      <a:pt x="20" y="301"/>
                    </a:lnTo>
                    <a:lnTo>
                      <a:pt x="12" y="296"/>
                    </a:lnTo>
                    <a:lnTo>
                      <a:pt x="6" y="292"/>
                    </a:lnTo>
                    <a:lnTo>
                      <a:pt x="2" y="287"/>
                    </a:lnTo>
                    <a:lnTo>
                      <a:pt x="0" y="283"/>
                    </a:lnTo>
                    <a:lnTo>
                      <a:pt x="0" y="283"/>
                    </a:lnTo>
                    <a:lnTo>
                      <a:pt x="1" y="277"/>
                    </a:lnTo>
                    <a:lnTo>
                      <a:pt x="4" y="271"/>
                    </a:lnTo>
                    <a:lnTo>
                      <a:pt x="7" y="265"/>
                    </a:lnTo>
                    <a:lnTo>
                      <a:pt x="10" y="261"/>
                    </a:lnTo>
                    <a:lnTo>
                      <a:pt x="22" y="252"/>
                    </a:lnTo>
                    <a:lnTo>
                      <a:pt x="33" y="241"/>
                    </a:lnTo>
                    <a:lnTo>
                      <a:pt x="46" y="232"/>
                    </a:lnTo>
                    <a:lnTo>
                      <a:pt x="56" y="220"/>
                    </a:lnTo>
                    <a:lnTo>
                      <a:pt x="60" y="215"/>
                    </a:lnTo>
                    <a:lnTo>
                      <a:pt x="63" y="209"/>
                    </a:lnTo>
                    <a:lnTo>
                      <a:pt x="66" y="202"/>
                    </a:lnTo>
                    <a:lnTo>
                      <a:pt x="67" y="195"/>
                    </a:lnTo>
                    <a:lnTo>
                      <a:pt x="67" y="195"/>
                    </a:lnTo>
                    <a:lnTo>
                      <a:pt x="66" y="188"/>
                    </a:lnTo>
                    <a:lnTo>
                      <a:pt x="63" y="185"/>
                    </a:lnTo>
                    <a:lnTo>
                      <a:pt x="61" y="181"/>
                    </a:lnTo>
                    <a:lnTo>
                      <a:pt x="58" y="178"/>
                    </a:lnTo>
                    <a:lnTo>
                      <a:pt x="54" y="176"/>
                    </a:lnTo>
                    <a:lnTo>
                      <a:pt x="51" y="172"/>
                    </a:lnTo>
                    <a:lnTo>
                      <a:pt x="50" y="168"/>
                    </a:lnTo>
                    <a:lnTo>
                      <a:pt x="48" y="162"/>
                    </a:lnTo>
                    <a:lnTo>
                      <a:pt x="48" y="162"/>
                    </a:lnTo>
                    <a:lnTo>
                      <a:pt x="50" y="154"/>
                    </a:lnTo>
                    <a:lnTo>
                      <a:pt x="51" y="148"/>
                    </a:lnTo>
                    <a:lnTo>
                      <a:pt x="58" y="136"/>
                    </a:lnTo>
                    <a:lnTo>
                      <a:pt x="61" y="131"/>
                    </a:lnTo>
                    <a:lnTo>
                      <a:pt x="63" y="124"/>
                    </a:lnTo>
                    <a:lnTo>
                      <a:pt x="66" y="116"/>
                    </a:lnTo>
                    <a:lnTo>
                      <a:pt x="67" y="107"/>
                    </a:lnTo>
                    <a:lnTo>
                      <a:pt x="67" y="107"/>
                    </a:lnTo>
                    <a:lnTo>
                      <a:pt x="66" y="92"/>
                    </a:lnTo>
                    <a:lnTo>
                      <a:pt x="65" y="85"/>
                    </a:lnTo>
                    <a:lnTo>
                      <a:pt x="63" y="79"/>
                    </a:lnTo>
                    <a:lnTo>
                      <a:pt x="60" y="74"/>
                    </a:lnTo>
                    <a:lnTo>
                      <a:pt x="58" y="71"/>
                    </a:lnTo>
                    <a:lnTo>
                      <a:pt x="53" y="67"/>
                    </a:lnTo>
                    <a:lnTo>
                      <a:pt x="48" y="66"/>
                    </a:lnTo>
                    <a:lnTo>
                      <a:pt x="48" y="66"/>
                    </a:lnTo>
                    <a:lnTo>
                      <a:pt x="48" y="44"/>
                    </a:lnTo>
                    <a:lnTo>
                      <a:pt x="48" y="44"/>
                    </a:lnTo>
                    <a:lnTo>
                      <a:pt x="48" y="44"/>
                    </a:lnTo>
                    <a:lnTo>
                      <a:pt x="67" y="44"/>
                    </a:lnTo>
                    <a:lnTo>
                      <a:pt x="67" y="44"/>
                    </a:lnTo>
                    <a:lnTo>
                      <a:pt x="74" y="44"/>
                    </a:lnTo>
                    <a:lnTo>
                      <a:pt x="81" y="47"/>
                    </a:lnTo>
                    <a:lnTo>
                      <a:pt x="93" y="54"/>
                    </a:lnTo>
                    <a:lnTo>
                      <a:pt x="99" y="57"/>
                    </a:lnTo>
                    <a:lnTo>
                      <a:pt x="105" y="59"/>
                    </a:lnTo>
                    <a:lnTo>
                      <a:pt x="113" y="62"/>
                    </a:lnTo>
                    <a:lnTo>
                      <a:pt x="122" y="63"/>
                    </a:lnTo>
                    <a:lnTo>
                      <a:pt x="122" y="63"/>
                    </a:lnTo>
                    <a:lnTo>
                      <a:pt x="127" y="62"/>
                    </a:lnTo>
                    <a:lnTo>
                      <a:pt x="130" y="61"/>
                    </a:lnTo>
                    <a:lnTo>
                      <a:pt x="134" y="58"/>
                    </a:lnTo>
                    <a:lnTo>
                      <a:pt x="137" y="56"/>
                    </a:lnTo>
                    <a:lnTo>
                      <a:pt x="142" y="49"/>
                    </a:lnTo>
                    <a:lnTo>
                      <a:pt x="144" y="41"/>
                    </a:lnTo>
                    <a:lnTo>
                      <a:pt x="146" y="31"/>
                    </a:lnTo>
                    <a:lnTo>
                      <a:pt x="147" y="20"/>
                    </a:lnTo>
                    <a:lnTo>
                      <a:pt x="147" y="0"/>
                    </a:lnTo>
                    <a:lnTo>
                      <a:pt x="147" y="0"/>
                    </a:lnTo>
                    <a:lnTo>
                      <a:pt x="149" y="3"/>
                    </a:lnTo>
                    <a:lnTo>
                      <a:pt x="151" y="9"/>
                    </a:lnTo>
                    <a:lnTo>
                      <a:pt x="161" y="21"/>
                    </a:lnTo>
                    <a:lnTo>
                      <a:pt x="174" y="36"/>
                    </a:lnTo>
                    <a:lnTo>
                      <a:pt x="188" y="51"/>
                    </a:lnTo>
                    <a:lnTo>
                      <a:pt x="188" y="51"/>
                    </a:lnTo>
                    <a:lnTo>
                      <a:pt x="201" y="64"/>
                    </a:lnTo>
                    <a:lnTo>
                      <a:pt x="206" y="69"/>
                    </a:lnTo>
                    <a:lnTo>
                      <a:pt x="210" y="70"/>
                    </a:lnTo>
                    <a:lnTo>
                      <a:pt x="210" y="70"/>
                    </a:lnTo>
                    <a:lnTo>
                      <a:pt x="220" y="72"/>
                    </a:lnTo>
                    <a:lnTo>
                      <a:pt x="228" y="74"/>
                    </a:lnTo>
                    <a:lnTo>
                      <a:pt x="236" y="74"/>
                    </a:lnTo>
                    <a:lnTo>
                      <a:pt x="244" y="74"/>
                    </a:lnTo>
                    <a:lnTo>
                      <a:pt x="259" y="74"/>
                    </a:lnTo>
                    <a:lnTo>
                      <a:pt x="266" y="74"/>
                    </a:lnTo>
                    <a:lnTo>
                      <a:pt x="273" y="77"/>
                    </a:lnTo>
                    <a:lnTo>
                      <a:pt x="273" y="77"/>
                    </a:lnTo>
                    <a:lnTo>
                      <a:pt x="277" y="82"/>
                    </a:lnTo>
                    <a:lnTo>
                      <a:pt x="280" y="88"/>
                    </a:lnTo>
                    <a:lnTo>
                      <a:pt x="285" y="103"/>
                    </a:lnTo>
                    <a:lnTo>
                      <a:pt x="289" y="111"/>
                    </a:lnTo>
                    <a:lnTo>
                      <a:pt x="292" y="117"/>
                    </a:lnTo>
                    <a:lnTo>
                      <a:pt x="296" y="120"/>
                    </a:lnTo>
                    <a:lnTo>
                      <a:pt x="299" y="122"/>
                    </a:lnTo>
                    <a:lnTo>
                      <a:pt x="304" y="124"/>
                    </a:lnTo>
                    <a:lnTo>
                      <a:pt x="308" y="125"/>
                    </a:lnTo>
                    <a:lnTo>
                      <a:pt x="308" y="125"/>
                    </a:lnTo>
                    <a:lnTo>
                      <a:pt x="321" y="124"/>
                    </a:lnTo>
                    <a:lnTo>
                      <a:pt x="334" y="123"/>
                    </a:lnTo>
                    <a:lnTo>
                      <a:pt x="352" y="122"/>
                    </a:lnTo>
                    <a:lnTo>
                      <a:pt x="352" y="122"/>
                    </a:lnTo>
                    <a:lnTo>
                      <a:pt x="360" y="122"/>
                    </a:lnTo>
                    <a:lnTo>
                      <a:pt x="364" y="124"/>
                    </a:lnTo>
                    <a:lnTo>
                      <a:pt x="366" y="127"/>
                    </a:lnTo>
                    <a:lnTo>
                      <a:pt x="367" y="133"/>
                    </a:lnTo>
                    <a:lnTo>
                      <a:pt x="367" y="145"/>
                    </a:lnTo>
                    <a:lnTo>
                      <a:pt x="367" y="150"/>
                    </a:lnTo>
                    <a:lnTo>
                      <a:pt x="367" y="157"/>
                    </a:lnTo>
                    <a:lnTo>
                      <a:pt x="367" y="157"/>
                    </a:lnTo>
                    <a:lnTo>
                      <a:pt x="368" y="163"/>
                    </a:lnTo>
                    <a:lnTo>
                      <a:pt x="369" y="170"/>
                    </a:lnTo>
                    <a:lnTo>
                      <a:pt x="375" y="186"/>
                    </a:lnTo>
                    <a:lnTo>
                      <a:pt x="383" y="202"/>
                    </a:lnTo>
                    <a:lnTo>
                      <a:pt x="394" y="216"/>
                    </a:lnTo>
                    <a:lnTo>
                      <a:pt x="394" y="216"/>
                    </a:lnTo>
                    <a:lnTo>
                      <a:pt x="391" y="229"/>
                    </a:lnTo>
                    <a:lnTo>
                      <a:pt x="388" y="240"/>
                    </a:lnTo>
                    <a:lnTo>
                      <a:pt x="382" y="250"/>
                    </a:lnTo>
                    <a:lnTo>
                      <a:pt x="375" y="260"/>
                    </a:lnTo>
                    <a:lnTo>
                      <a:pt x="367" y="268"/>
                    </a:lnTo>
                    <a:lnTo>
                      <a:pt x="357" y="273"/>
                    </a:lnTo>
                    <a:lnTo>
                      <a:pt x="346" y="277"/>
                    </a:lnTo>
                    <a:lnTo>
                      <a:pt x="335" y="279"/>
                    </a:lnTo>
                    <a:lnTo>
                      <a:pt x="335" y="279"/>
                    </a:lnTo>
                    <a:lnTo>
                      <a:pt x="329" y="278"/>
                    </a:lnTo>
                    <a:lnTo>
                      <a:pt x="323" y="276"/>
                    </a:lnTo>
                    <a:lnTo>
                      <a:pt x="310" y="270"/>
                    </a:lnTo>
                    <a:lnTo>
                      <a:pt x="294" y="261"/>
                    </a:lnTo>
                    <a:lnTo>
                      <a:pt x="276" y="252"/>
                    </a:lnTo>
                    <a:lnTo>
                      <a:pt x="258" y="241"/>
                    </a:lnTo>
                    <a:lnTo>
                      <a:pt x="239" y="232"/>
                    </a:lnTo>
                    <a:lnTo>
                      <a:pt x="231" y="229"/>
                    </a:lnTo>
                    <a:lnTo>
                      <a:pt x="222" y="226"/>
                    </a:lnTo>
                    <a:lnTo>
                      <a:pt x="214" y="225"/>
                    </a:lnTo>
                    <a:lnTo>
                      <a:pt x="206" y="224"/>
                    </a:lnTo>
                    <a:lnTo>
                      <a:pt x="206" y="224"/>
                    </a:lnTo>
                    <a:lnTo>
                      <a:pt x="203" y="225"/>
                    </a:lnTo>
                    <a:lnTo>
                      <a:pt x="199" y="226"/>
                    </a:lnTo>
                    <a:lnTo>
                      <a:pt x="196" y="230"/>
                    </a:lnTo>
                    <a:lnTo>
                      <a:pt x="192" y="233"/>
                    </a:lnTo>
                    <a:lnTo>
                      <a:pt x="189" y="241"/>
                    </a:lnTo>
                    <a:lnTo>
                      <a:pt x="188" y="250"/>
                    </a:lnTo>
                    <a:lnTo>
                      <a:pt x="188" y="250"/>
                    </a:lnTo>
                    <a:lnTo>
                      <a:pt x="177" y="249"/>
                    </a:lnTo>
                    <a:lnTo>
                      <a:pt x="168" y="247"/>
                    </a:lnTo>
                    <a:lnTo>
                      <a:pt x="161" y="245"/>
                    </a:lnTo>
                    <a:lnTo>
                      <a:pt x="154" y="242"/>
                    </a:lnTo>
                    <a:lnTo>
                      <a:pt x="154" y="242"/>
                    </a:lnTo>
                    <a:lnTo>
                      <a:pt x="150" y="248"/>
                    </a:lnTo>
                    <a:lnTo>
                      <a:pt x="145" y="256"/>
                    </a:lnTo>
                    <a:lnTo>
                      <a:pt x="142" y="266"/>
                    </a:lnTo>
                    <a:lnTo>
                      <a:pt x="140" y="272"/>
                    </a:lnTo>
                    <a:lnTo>
                      <a:pt x="140" y="279"/>
                    </a:lnTo>
                    <a:lnTo>
                      <a:pt x="140" y="279"/>
                    </a:lnTo>
                    <a:lnTo>
                      <a:pt x="140" y="285"/>
                    </a:lnTo>
                    <a:lnTo>
                      <a:pt x="142" y="291"/>
                    </a:lnTo>
                    <a:lnTo>
                      <a:pt x="144" y="301"/>
                    </a:lnTo>
                    <a:lnTo>
                      <a:pt x="146" y="309"/>
                    </a:lnTo>
                    <a:lnTo>
                      <a:pt x="147" y="319"/>
                    </a:lnTo>
                    <a:lnTo>
                      <a:pt x="147" y="319"/>
                    </a:lnTo>
                    <a:lnTo>
                      <a:pt x="149" y="325"/>
                    </a:lnTo>
                    <a:lnTo>
                      <a:pt x="151" y="330"/>
                    </a:lnTo>
                    <a:lnTo>
                      <a:pt x="151" y="332"/>
                    </a:lnTo>
                    <a:lnTo>
                      <a:pt x="147" y="334"/>
                    </a:lnTo>
                    <a:lnTo>
                      <a:pt x="147" y="334"/>
                    </a:lnTo>
                    <a:lnTo>
                      <a:pt x="147" y="33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8" name="Freeform 83"/>
              <p:cNvSpPr>
                <a:spLocks noChangeAspect="1"/>
              </p:cNvSpPr>
              <p:nvPr/>
            </p:nvSpPr>
            <p:spPr bwMode="auto">
              <a:xfrm>
                <a:off x="1013741" y="3753753"/>
                <a:ext cx="201309" cy="192038"/>
              </a:xfrm>
              <a:custGeom>
                <a:avLst/>
                <a:gdLst/>
                <a:ahLst/>
                <a:cxnLst>
                  <a:cxn ang="0">
                    <a:pos x="0" y="52"/>
                  </a:cxn>
                  <a:cxn ang="0">
                    <a:pos x="6" y="71"/>
                  </a:cxn>
                  <a:cxn ang="0">
                    <a:pos x="10" y="111"/>
                  </a:cxn>
                  <a:cxn ang="0">
                    <a:pos x="15" y="131"/>
                  </a:cxn>
                  <a:cxn ang="0">
                    <a:pos x="21" y="139"/>
                  </a:cxn>
                  <a:cxn ang="0">
                    <a:pos x="42" y="159"/>
                  </a:cxn>
                  <a:cxn ang="0">
                    <a:pos x="54" y="174"/>
                  </a:cxn>
                  <a:cxn ang="0">
                    <a:pos x="59" y="189"/>
                  </a:cxn>
                  <a:cxn ang="0">
                    <a:pos x="59" y="194"/>
                  </a:cxn>
                  <a:cxn ang="0">
                    <a:pos x="59" y="208"/>
                  </a:cxn>
                  <a:cxn ang="0">
                    <a:pos x="63" y="226"/>
                  </a:cxn>
                  <a:cxn ang="0">
                    <a:pos x="72" y="246"/>
                  </a:cxn>
                  <a:cxn ang="0">
                    <a:pos x="84" y="263"/>
                  </a:cxn>
                  <a:cxn ang="0">
                    <a:pos x="101" y="275"/>
                  </a:cxn>
                  <a:cxn ang="0">
                    <a:pos x="126" y="275"/>
                  </a:cxn>
                  <a:cxn ang="0">
                    <a:pos x="126" y="275"/>
                  </a:cxn>
                  <a:cxn ang="0">
                    <a:pos x="127" y="262"/>
                  </a:cxn>
                  <a:cxn ang="0">
                    <a:pos x="132" y="252"/>
                  </a:cxn>
                  <a:cxn ang="0">
                    <a:pos x="137" y="245"/>
                  </a:cxn>
                  <a:cxn ang="0">
                    <a:pos x="145" y="241"/>
                  </a:cxn>
                  <a:cxn ang="0">
                    <a:pos x="166" y="238"/>
                  </a:cxn>
                  <a:cxn ang="0">
                    <a:pos x="188" y="238"/>
                  </a:cxn>
                  <a:cxn ang="0">
                    <a:pos x="197" y="207"/>
                  </a:cxn>
                  <a:cxn ang="0">
                    <a:pos x="211" y="172"/>
                  </a:cxn>
                  <a:cxn ang="0">
                    <a:pos x="213" y="169"/>
                  </a:cxn>
                  <a:cxn ang="0">
                    <a:pos x="236" y="131"/>
                  </a:cxn>
                  <a:cxn ang="0">
                    <a:pos x="236" y="142"/>
                  </a:cxn>
                  <a:cxn ang="0">
                    <a:pos x="236" y="131"/>
                  </a:cxn>
                  <a:cxn ang="0">
                    <a:pos x="239" y="122"/>
                  </a:cxn>
                  <a:cxn ang="0">
                    <a:pos x="251" y="105"/>
                  </a:cxn>
                  <a:cxn ang="0">
                    <a:pos x="255" y="95"/>
                  </a:cxn>
                  <a:cxn ang="0">
                    <a:pos x="254" y="86"/>
                  </a:cxn>
                  <a:cxn ang="0">
                    <a:pos x="250" y="71"/>
                  </a:cxn>
                  <a:cxn ang="0">
                    <a:pos x="243" y="61"/>
                  </a:cxn>
                  <a:cxn ang="0">
                    <a:pos x="231" y="47"/>
                  </a:cxn>
                  <a:cxn ang="0">
                    <a:pos x="218" y="34"/>
                  </a:cxn>
                  <a:cxn ang="0">
                    <a:pos x="211" y="23"/>
                  </a:cxn>
                  <a:cxn ang="0">
                    <a:pos x="208" y="8"/>
                  </a:cxn>
                  <a:cxn ang="0">
                    <a:pos x="206" y="0"/>
                  </a:cxn>
                  <a:cxn ang="0">
                    <a:pos x="203" y="0"/>
                  </a:cxn>
                  <a:cxn ang="0">
                    <a:pos x="197" y="3"/>
                  </a:cxn>
                  <a:cxn ang="0">
                    <a:pos x="179" y="15"/>
                  </a:cxn>
                  <a:cxn ang="0">
                    <a:pos x="170" y="17"/>
                  </a:cxn>
                  <a:cxn ang="0">
                    <a:pos x="166" y="17"/>
                  </a:cxn>
                  <a:cxn ang="0">
                    <a:pos x="159" y="12"/>
                  </a:cxn>
                  <a:cxn ang="0">
                    <a:pos x="151" y="8"/>
                  </a:cxn>
                  <a:cxn ang="0">
                    <a:pos x="148" y="7"/>
                  </a:cxn>
                  <a:cxn ang="0">
                    <a:pos x="140" y="11"/>
                  </a:cxn>
                  <a:cxn ang="0">
                    <a:pos x="135" y="19"/>
                  </a:cxn>
                  <a:cxn ang="0">
                    <a:pos x="128" y="29"/>
                  </a:cxn>
                  <a:cxn ang="0">
                    <a:pos x="119" y="32"/>
                  </a:cxn>
                  <a:cxn ang="0">
                    <a:pos x="111" y="31"/>
                  </a:cxn>
                  <a:cxn ang="0">
                    <a:pos x="99" y="23"/>
                  </a:cxn>
                  <a:cxn ang="0">
                    <a:pos x="89" y="12"/>
                  </a:cxn>
                  <a:cxn ang="0">
                    <a:pos x="76" y="4"/>
                  </a:cxn>
                  <a:cxn ang="0">
                    <a:pos x="67" y="3"/>
                  </a:cxn>
                  <a:cxn ang="0">
                    <a:pos x="61" y="3"/>
                  </a:cxn>
                  <a:cxn ang="0">
                    <a:pos x="51" y="6"/>
                  </a:cxn>
                  <a:cxn ang="0">
                    <a:pos x="38" y="14"/>
                  </a:cxn>
                  <a:cxn ang="0">
                    <a:pos x="18" y="35"/>
                  </a:cxn>
                  <a:cxn ang="0">
                    <a:pos x="0" y="47"/>
                  </a:cxn>
                  <a:cxn ang="0">
                    <a:pos x="0" y="52"/>
                  </a:cxn>
                </a:cxnLst>
                <a:rect l="0" t="0" r="r" b="b"/>
                <a:pathLst>
                  <a:path w="255" h="275">
                    <a:moveTo>
                      <a:pt x="0" y="52"/>
                    </a:moveTo>
                    <a:lnTo>
                      <a:pt x="0" y="52"/>
                    </a:lnTo>
                    <a:lnTo>
                      <a:pt x="4" y="61"/>
                    </a:lnTo>
                    <a:lnTo>
                      <a:pt x="6" y="71"/>
                    </a:lnTo>
                    <a:lnTo>
                      <a:pt x="8" y="91"/>
                    </a:lnTo>
                    <a:lnTo>
                      <a:pt x="10" y="111"/>
                    </a:lnTo>
                    <a:lnTo>
                      <a:pt x="12" y="122"/>
                    </a:lnTo>
                    <a:lnTo>
                      <a:pt x="15" y="131"/>
                    </a:lnTo>
                    <a:lnTo>
                      <a:pt x="15" y="131"/>
                    </a:lnTo>
                    <a:lnTo>
                      <a:pt x="21" y="139"/>
                    </a:lnTo>
                    <a:lnTo>
                      <a:pt x="27" y="146"/>
                    </a:lnTo>
                    <a:lnTo>
                      <a:pt x="42" y="159"/>
                    </a:lnTo>
                    <a:lnTo>
                      <a:pt x="49" y="166"/>
                    </a:lnTo>
                    <a:lnTo>
                      <a:pt x="54" y="174"/>
                    </a:lnTo>
                    <a:lnTo>
                      <a:pt x="58" y="183"/>
                    </a:lnTo>
                    <a:lnTo>
                      <a:pt x="59" y="189"/>
                    </a:lnTo>
                    <a:lnTo>
                      <a:pt x="59" y="194"/>
                    </a:lnTo>
                    <a:lnTo>
                      <a:pt x="59" y="194"/>
                    </a:lnTo>
                    <a:lnTo>
                      <a:pt x="59" y="208"/>
                    </a:lnTo>
                    <a:lnTo>
                      <a:pt x="59" y="208"/>
                    </a:lnTo>
                    <a:lnTo>
                      <a:pt x="60" y="217"/>
                    </a:lnTo>
                    <a:lnTo>
                      <a:pt x="63" y="226"/>
                    </a:lnTo>
                    <a:lnTo>
                      <a:pt x="67" y="237"/>
                    </a:lnTo>
                    <a:lnTo>
                      <a:pt x="72" y="246"/>
                    </a:lnTo>
                    <a:lnTo>
                      <a:pt x="78" y="255"/>
                    </a:lnTo>
                    <a:lnTo>
                      <a:pt x="84" y="263"/>
                    </a:lnTo>
                    <a:lnTo>
                      <a:pt x="92" y="270"/>
                    </a:lnTo>
                    <a:lnTo>
                      <a:pt x="101" y="275"/>
                    </a:lnTo>
                    <a:lnTo>
                      <a:pt x="101" y="275"/>
                    </a:lnTo>
                    <a:lnTo>
                      <a:pt x="126" y="275"/>
                    </a:lnTo>
                    <a:lnTo>
                      <a:pt x="126" y="275"/>
                    </a:lnTo>
                    <a:lnTo>
                      <a:pt x="126" y="275"/>
                    </a:lnTo>
                    <a:lnTo>
                      <a:pt x="126" y="268"/>
                    </a:lnTo>
                    <a:lnTo>
                      <a:pt x="127" y="262"/>
                    </a:lnTo>
                    <a:lnTo>
                      <a:pt x="129" y="256"/>
                    </a:lnTo>
                    <a:lnTo>
                      <a:pt x="132" y="252"/>
                    </a:lnTo>
                    <a:lnTo>
                      <a:pt x="134" y="248"/>
                    </a:lnTo>
                    <a:lnTo>
                      <a:pt x="137" y="245"/>
                    </a:lnTo>
                    <a:lnTo>
                      <a:pt x="142" y="243"/>
                    </a:lnTo>
                    <a:lnTo>
                      <a:pt x="145" y="241"/>
                    </a:lnTo>
                    <a:lnTo>
                      <a:pt x="156" y="239"/>
                    </a:lnTo>
                    <a:lnTo>
                      <a:pt x="166" y="238"/>
                    </a:lnTo>
                    <a:lnTo>
                      <a:pt x="188" y="238"/>
                    </a:lnTo>
                    <a:lnTo>
                      <a:pt x="188" y="238"/>
                    </a:lnTo>
                    <a:lnTo>
                      <a:pt x="193" y="221"/>
                    </a:lnTo>
                    <a:lnTo>
                      <a:pt x="197" y="207"/>
                    </a:lnTo>
                    <a:lnTo>
                      <a:pt x="205" y="185"/>
                    </a:lnTo>
                    <a:lnTo>
                      <a:pt x="211" y="172"/>
                    </a:lnTo>
                    <a:lnTo>
                      <a:pt x="213" y="169"/>
                    </a:lnTo>
                    <a:lnTo>
                      <a:pt x="213" y="169"/>
                    </a:lnTo>
                    <a:lnTo>
                      <a:pt x="236" y="131"/>
                    </a:lnTo>
                    <a:lnTo>
                      <a:pt x="236" y="131"/>
                    </a:lnTo>
                    <a:lnTo>
                      <a:pt x="236" y="131"/>
                    </a:lnTo>
                    <a:lnTo>
                      <a:pt x="236" y="142"/>
                    </a:lnTo>
                    <a:lnTo>
                      <a:pt x="236" y="131"/>
                    </a:lnTo>
                    <a:lnTo>
                      <a:pt x="236" y="131"/>
                    </a:lnTo>
                    <a:lnTo>
                      <a:pt x="236" y="126"/>
                    </a:lnTo>
                    <a:lnTo>
                      <a:pt x="239" y="122"/>
                    </a:lnTo>
                    <a:lnTo>
                      <a:pt x="246" y="114"/>
                    </a:lnTo>
                    <a:lnTo>
                      <a:pt x="251" y="105"/>
                    </a:lnTo>
                    <a:lnTo>
                      <a:pt x="254" y="100"/>
                    </a:lnTo>
                    <a:lnTo>
                      <a:pt x="255" y="95"/>
                    </a:lnTo>
                    <a:lnTo>
                      <a:pt x="255" y="95"/>
                    </a:lnTo>
                    <a:lnTo>
                      <a:pt x="254" y="86"/>
                    </a:lnTo>
                    <a:lnTo>
                      <a:pt x="252" y="78"/>
                    </a:lnTo>
                    <a:lnTo>
                      <a:pt x="250" y="71"/>
                    </a:lnTo>
                    <a:lnTo>
                      <a:pt x="247" y="65"/>
                    </a:lnTo>
                    <a:lnTo>
                      <a:pt x="243" y="61"/>
                    </a:lnTo>
                    <a:lnTo>
                      <a:pt x="240" y="56"/>
                    </a:lnTo>
                    <a:lnTo>
                      <a:pt x="231" y="47"/>
                    </a:lnTo>
                    <a:lnTo>
                      <a:pt x="221" y="39"/>
                    </a:lnTo>
                    <a:lnTo>
                      <a:pt x="218" y="34"/>
                    </a:lnTo>
                    <a:lnTo>
                      <a:pt x="214" y="29"/>
                    </a:lnTo>
                    <a:lnTo>
                      <a:pt x="211" y="23"/>
                    </a:lnTo>
                    <a:lnTo>
                      <a:pt x="209" y="16"/>
                    </a:lnTo>
                    <a:lnTo>
                      <a:pt x="208" y="8"/>
                    </a:lnTo>
                    <a:lnTo>
                      <a:pt x="206" y="0"/>
                    </a:lnTo>
                    <a:lnTo>
                      <a:pt x="206" y="0"/>
                    </a:lnTo>
                    <a:lnTo>
                      <a:pt x="203" y="0"/>
                    </a:lnTo>
                    <a:lnTo>
                      <a:pt x="203" y="0"/>
                    </a:lnTo>
                    <a:lnTo>
                      <a:pt x="203" y="0"/>
                    </a:lnTo>
                    <a:lnTo>
                      <a:pt x="197" y="3"/>
                    </a:lnTo>
                    <a:lnTo>
                      <a:pt x="189" y="10"/>
                    </a:lnTo>
                    <a:lnTo>
                      <a:pt x="179" y="15"/>
                    </a:lnTo>
                    <a:lnTo>
                      <a:pt x="174" y="17"/>
                    </a:lnTo>
                    <a:lnTo>
                      <a:pt x="170" y="17"/>
                    </a:lnTo>
                    <a:lnTo>
                      <a:pt x="170" y="17"/>
                    </a:lnTo>
                    <a:lnTo>
                      <a:pt x="166" y="17"/>
                    </a:lnTo>
                    <a:lnTo>
                      <a:pt x="164" y="16"/>
                    </a:lnTo>
                    <a:lnTo>
                      <a:pt x="159" y="12"/>
                    </a:lnTo>
                    <a:lnTo>
                      <a:pt x="155" y="9"/>
                    </a:lnTo>
                    <a:lnTo>
                      <a:pt x="151" y="8"/>
                    </a:lnTo>
                    <a:lnTo>
                      <a:pt x="148" y="7"/>
                    </a:lnTo>
                    <a:lnTo>
                      <a:pt x="148" y="7"/>
                    </a:lnTo>
                    <a:lnTo>
                      <a:pt x="143" y="8"/>
                    </a:lnTo>
                    <a:lnTo>
                      <a:pt x="140" y="11"/>
                    </a:lnTo>
                    <a:lnTo>
                      <a:pt x="137" y="15"/>
                    </a:lnTo>
                    <a:lnTo>
                      <a:pt x="135" y="19"/>
                    </a:lnTo>
                    <a:lnTo>
                      <a:pt x="132" y="24"/>
                    </a:lnTo>
                    <a:lnTo>
                      <a:pt x="128" y="29"/>
                    </a:lnTo>
                    <a:lnTo>
                      <a:pt x="125" y="31"/>
                    </a:lnTo>
                    <a:lnTo>
                      <a:pt x="119" y="32"/>
                    </a:lnTo>
                    <a:lnTo>
                      <a:pt x="119" y="32"/>
                    </a:lnTo>
                    <a:lnTo>
                      <a:pt x="111" y="31"/>
                    </a:lnTo>
                    <a:lnTo>
                      <a:pt x="105" y="27"/>
                    </a:lnTo>
                    <a:lnTo>
                      <a:pt x="99" y="23"/>
                    </a:lnTo>
                    <a:lnTo>
                      <a:pt x="94" y="17"/>
                    </a:lnTo>
                    <a:lnTo>
                      <a:pt x="89" y="12"/>
                    </a:lnTo>
                    <a:lnTo>
                      <a:pt x="83" y="8"/>
                    </a:lnTo>
                    <a:lnTo>
                      <a:pt x="76" y="4"/>
                    </a:lnTo>
                    <a:lnTo>
                      <a:pt x="72" y="3"/>
                    </a:lnTo>
                    <a:lnTo>
                      <a:pt x="67" y="3"/>
                    </a:lnTo>
                    <a:lnTo>
                      <a:pt x="67" y="3"/>
                    </a:lnTo>
                    <a:lnTo>
                      <a:pt x="61" y="3"/>
                    </a:lnTo>
                    <a:lnTo>
                      <a:pt x="56" y="4"/>
                    </a:lnTo>
                    <a:lnTo>
                      <a:pt x="51" y="6"/>
                    </a:lnTo>
                    <a:lnTo>
                      <a:pt x="46" y="8"/>
                    </a:lnTo>
                    <a:lnTo>
                      <a:pt x="38" y="14"/>
                    </a:lnTo>
                    <a:lnTo>
                      <a:pt x="31" y="21"/>
                    </a:lnTo>
                    <a:lnTo>
                      <a:pt x="18" y="35"/>
                    </a:lnTo>
                    <a:lnTo>
                      <a:pt x="10" y="42"/>
                    </a:lnTo>
                    <a:lnTo>
                      <a:pt x="0" y="47"/>
                    </a:lnTo>
                    <a:lnTo>
                      <a:pt x="0" y="47"/>
                    </a:lnTo>
                    <a:lnTo>
                      <a:pt x="0" y="52"/>
                    </a:lnTo>
                    <a:lnTo>
                      <a:pt x="0" y="5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299" name="Freeform 84"/>
              <p:cNvSpPr>
                <a:spLocks noChangeAspect="1"/>
              </p:cNvSpPr>
              <p:nvPr/>
            </p:nvSpPr>
            <p:spPr bwMode="auto">
              <a:xfrm>
                <a:off x="1059709" y="4605401"/>
                <a:ext cx="221915" cy="352070"/>
              </a:xfrm>
              <a:custGeom>
                <a:avLst/>
                <a:gdLst/>
                <a:ahLst/>
                <a:cxnLst>
                  <a:cxn ang="0">
                    <a:pos x="210" y="123"/>
                  </a:cxn>
                  <a:cxn ang="0">
                    <a:pos x="199" y="99"/>
                  </a:cxn>
                  <a:cxn ang="0">
                    <a:pos x="204" y="78"/>
                  </a:cxn>
                  <a:cxn ang="0">
                    <a:pos x="228" y="54"/>
                  </a:cxn>
                  <a:cxn ang="0">
                    <a:pos x="221" y="31"/>
                  </a:cxn>
                  <a:cxn ang="0">
                    <a:pos x="208" y="7"/>
                  </a:cxn>
                  <a:cxn ang="0">
                    <a:pos x="189" y="0"/>
                  </a:cxn>
                  <a:cxn ang="0">
                    <a:pos x="162" y="6"/>
                  </a:cxn>
                  <a:cxn ang="0">
                    <a:pos x="122" y="3"/>
                  </a:cxn>
                  <a:cxn ang="0">
                    <a:pos x="83" y="0"/>
                  </a:cxn>
                  <a:cxn ang="0">
                    <a:pos x="67" y="12"/>
                  </a:cxn>
                  <a:cxn ang="0">
                    <a:pos x="89" y="85"/>
                  </a:cxn>
                  <a:cxn ang="0">
                    <a:pos x="96" y="143"/>
                  </a:cxn>
                  <a:cxn ang="0">
                    <a:pos x="103" y="183"/>
                  </a:cxn>
                  <a:cxn ang="0">
                    <a:pos x="132" y="198"/>
                  </a:cxn>
                  <a:cxn ang="0">
                    <a:pos x="132" y="221"/>
                  </a:cxn>
                  <a:cxn ang="0">
                    <a:pos x="111" y="250"/>
                  </a:cxn>
                  <a:cxn ang="0">
                    <a:pos x="113" y="270"/>
                  </a:cxn>
                  <a:cxn ang="0">
                    <a:pos x="122" y="319"/>
                  </a:cxn>
                  <a:cxn ang="0">
                    <a:pos x="115" y="328"/>
                  </a:cxn>
                  <a:cxn ang="0">
                    <a:pos x="78" y="348"/>
                  </a:cxn>
                  <a:cxn ang="0">
                    <a:pos x="68" y="346"/>
                  </a:cxn>
                  <a:cxn ang="0">
                    <a:pos x="52" y="338"/>
                  </a:cxn>
                  <a:cxn ang="0">
                    <a:pos x="43" y="342"/>
                  </a:cxn>
                  <a:cxn ang="0">
                    <a:pos x="37" y="360"/>
                  </a:cxn>
                  <a:cxn ang="0">
                    <a:pos x="50" y="390"/>
                  </a:cxn>
                  <a:cxn ang="0">
                    <a:pos x="51" y="406"/>
                  </a:cxn>
                  <a:cxn ang="0">
                    <a:pos x="36" y="425"/>
                  </a:cxn>
                  <a:cxn ang="0">
                    <a:pos x="6" y="444"/>
                  </a:cxn>
                  <a:cxn ang="0">
                    <a:pos x="0" y="459"/>
                  </a:cxn>
                  <a:cxn ang="0">
                    <a:pos x="12" y="474"/>
                  </a:cxn>
                  <a:cxn ang="0">
                    <a:pos x="37" y="489"/>
                  </a:cxn>
                  <a:cxn ang="0">
                    <a:pos x="52" y="493"/>
                  </a:cxn>
                  <a:cxn ang="0">
                    <a:pos x="107" y="504"/>
                  </a:cxn>
                  <a:cxn ang="0">
                    <a:pos x="155" y="502"/>
                  </a:cxn>
                  <a:cxn ang="0">
                    <a:pos x="243" y="503"/>
                  </a:cxn>
                  <a:cxn ang="0">
                    <a:pos x="224" y="481"/>
                  </a:cxn>
                  <a:cxn ang="0">
                    <a:pos x="224" y="412"/>
                  </a:cxn>
                  <a:cxn ang="0">
                    <a:pos x="250" y="426"/>
                  </a:cxn>
                  <a:cxn ang="0">
                    <a:pos x="273" y="441"/>
                  </a:cxn>
                  <a:cxn ang="0">
                    <a:pos x="281" y="399"/>
                  </a:cxn>
                  <a:cxn ang="0">
                    <a:pos x="281" y="322"/>
                  </a:cxn>
                  <a:cxn ang="0">
                    <a:pos x="274" y="268"/>
                  </a:cxn>
                  <a:cxn ang="0">
                    <a:pos x="258" y="245"/>
                  </a:cxn>
                  <a:cxn ang="0">
                    <a:pos x="241" y="238"/>
                  </a:cxn>
                  <a:cxn ang="0">
                    <a:pos x="205" y="226"/>
                  </a:cxn>
                  <a:cxn ang="0">
                    <a:pos x="199" y="206"/>
                  </a:cxn>
                  <a:cxn ang="0">
                    <a:pos x="207" y="181"/>
                  </a:cxn>
                  <a:cxn ang="0">
                    <a:pos x="236" y="147"/>
                  </a:cxn>
                </a:cxnLst>
                <a:rect l="0" t="0" r="r" b="b"/>
                <a:pathLst>
                  <a:path w="281" h="506">
                    <a:moveTo>
                      <a:pt x="224" y="136"/>
                    </a:moveTo>
                    <a:lnTo>
                      <a:pt x="224" y="136"/>
                    </a:lnTo>
                    <a:lnTo>
                      <a:pt x="218" y="130"/>
                    </a:lnTo>
                    <a:lnTo>
                      <a:pt x="210" y="123"/>
                    </a:lnTo>
                    <a:lnTo>
                      <a:pt x="205" y="119"/>
                    </a:lnTo>
                    <a:lnTo>
                      <a:pt x="201" y="113"/>
                    </a:lnTo>
                    <a:lnTo>
                      <a:pt x="199" y="106"/>
                    </a:lnTo>
                    <a:lnTo>
                      <a:pt x="199" y="99"/>
                    </a:lnTo>
                    <a:lnTo>
                      <a:pt x="199" y="99"/>
                    </a:lnTo>
                    <a:lnTo>
                      <a:pt x="199" y="91"/>
                    </a:lnTo>
                    <a:lnTo>
                      <a:pt x="201" y="84"/>
                    </a:lnTo>
                    <a:lnTo>
                      <a:pt x="204" y="78"/>
                    </a:lnTo>
                    <a:lnTo>
                      <a:pt x="208" y="72"/>
                    </a:lnTo>
                    <a:lnTo>
                      <a:pt x="212" y="68"/>
                    </a:lnTo>
                    <a:lnTo>
                      <a:pt x="218" y="63"/>
                    </a:lnTo>
                    <a:lnTo>
                      <a:pt x="228" y="54"/>
                    </a:lnTo>
                    <a:lnTo>
                      <a:pt x="228" y="54"/>
                    </a:lnTo>
                    <a:lnTo>
                      <a:pt x="224" y="48"/>
                    </a:lnTo>
                    <a:lnTo>
                      <a:pt x="222" y="40"/>
                    </a:lnTo>
                    <a:lnTo>
                      <a:pt x="221" y="31"/>
                    </a:lnTo>
                    <a:lnTo>
                      <a:pt x="218" y="22"/>
                    </a:lnTo>
                    <a:lnTo>
                      <a:pt x="214" y="14"/>
                    </a:lnTo>
                    <a:lnTo>
                      <a:pt x="212" y="9"/>
                    </a:lnTo>
                    <a:lnTo>
                      <a:pt x="208" y="7"/>
                    </a:lnTo>
                    <a:lnTo>
                      <a:pt x="205" y="3"/>
                    </a:lnTo>
                    <a:lnTo>
                      <a:pt x="200" y="1"/>
                    </a:lnTo>
                    <a:lnTo>
                      <a:pt x="195" y="0"/>
                    </a:lnTo>
                    <a:lnTo>
                      <a:pt x="189" y="0"/>
                    </a:lnTo>
                    <a:lnTo>
                      <a:pt x="189" y="0"/>
                    </a:lnTo>
                    <a:lnTo>
                      <a:pt x="178" y="1"/>
                    </a:lnTo>
                    <a:lnTo>
                      <a:pt x="172" y="3"/>
                    </a:lnTo>
                    <a:lnTo>
                      <a:pt x="162" y="6"/>
                    </a:lnTo>
                    <a:lnTo>
                      <a:pt x="151" y="7"/>
                    </a:lnTo>
                    <a:lnTo>
                      <a:pt x="151" y="7"/>
                    </a:lnTo>
                    <a:lnTo>
                      <a:pt x="135" y="6"/>
                    </a:lnTo>
                    <a:lnTo>
                      <a:pt x="122" y="3"/>
                    </a:lnTo>
                    <a:lnTo>
                      <a:pt x="108" y="1"/>
                    </a:lnTo>
                    <a:lnTo>
                      <a:pt x="92" y="0"/>
                    </a:lnTo>
                    <a:lnTo>
                      <a:pt x="92" y="0"/>
                    </a:lnTo>
                    <a:lnTo>
                      <a:pt x="83" y="0"/>
                    </a:lnTo>
                    <a:lnTo>
                      <a:pt x="77" y="2"/>
                    </a:lnTo>
                    <a:lnTo>
                      <a:pt x="71" y="6"/>
                    </a:lnTo>
                    <a:lnTo>
                      <a:pt x="67" y="12"/>
                    </a:lnTo>
                    <a:lnTo>
                      <a:pt x="67" y="12"/>
                    </a:lnTo>
                    <a:lnTo>
                      <a:pt x="70" y="29"/>
                    </a:lnTo>
                    <a:lnTo>
                      <a:pt x="74" y="44"/>
                    </a:lnTo>
                    <a:lnTo>
                      <a:pt x="84" y="71"/>
                    </a:lnTo>
                    <a:lnTo>
                      <a:pt x="89" y="85"/>
                    </a:lnTo>
                    <a:lnTo>
                      <a:pt x="92" y="101"/>
                    </a:lnTo>
                    <a:lnTo>
                      <a:pt x="94" y="120"/>
                    </a:lnTo>
                    <a:lnTo>
                      <a:pt x="96" y="143"/>
                    </a:lnTo>
                    <a:lnTo>
                      <a:pt x="96" y="143"/>
                    </a:lnTo>
                    <a:lnTo>
                      <a:pt x="96" y="155"/>
                    </a:lnTo>
                    <a:lnTo>
                      <a:pt x="97" y="167"/>
                    </a:lnTo>
                    <a:lnTo>
                      <a:pt x="99" y="176"/>
                    </a:lnTo>
                    <a:lnTo>
                      <a:pt x="103" y="183"/>
                    </a:lnTo>
                    <a:lnTo>
                      <a:pt x="107" y="189"/>
                    </a:lnTo>
                    <a:lnTo>
                      <a:pt x="113" y="193"/>
                    </a:lnTo>
                    <a:lnTo>
                      <a:pt x="122" y="196"/>
                    </a:lnTo>
                    <a:lnTo>
                      <a:pt x="132" y="198"/>
                    </a:lnTo>
                    <a:lnTo>
                      <a:pt x="132" y="198"/>
                    </a:lnTo>
                    <a:lnTo>
                      <a:pt x="132" y="221"/>
                    </a:lnTo>
                    <a:lnTo>
                      <a:pt x="132" y="221"/>
                    </a:lnTo>
                    <a:lnTo>
                      <a:pt x="132" y="221"/>
                    </a:lnTo>
                    <a:lnTo>
                      <a:pt x="124" y="230"/>
                    </a:lnTo>
                    <a:lnTo>
                      <a:pt x="117" y="238"/>
                    </a:lnTo>
                    <a:lnTo>
                      <a:pt x="113" y="245"/>
                    </a:lnTo>
                    <a:lnTo>
                      <a:pt x="111" y="250"/>
                    </a:lnTo>
                    <a:lnTo>
                      <a:pt x="111" y="253"/>
                    </a:lnTo>
                    <a:lnTo>
                      <a:pt x="111" y="253"/>
                    </a:lnTo>
                    <a:lnTo>
                      <a:pt x="111" y="262"/>
                    </a:lnTo>
                    <a:lnTo>
                      <a:pt x="113" y="270"/>
                    </a:lnTo>
                    <a:lnTo>
                      <a:pt x="116" y="287"/>
                    </a:lnTo>
                    <a:lnTo>
                      <a:pt x="120" y="301"/>
                    </a:lnTo>
                    <a:lnTo>
                      <a:pt x="121" y="310"/>
                    </a:lnTo>
                    <a:lnTo>
                      <a:pt x="122" y="319"/>
                    </a:lnTo>
                    <a:lnTo>
                      <a:pt x="122" y="319"/>
                    </a:lnTo>
                    <a:lnTo>
                      <a:pt x="121" y="321"/>
                    </a:lnTo>
                    <a:lnTo>
                      <a:pt x="120" y="323"/>
                    </a:lnTo>
                    <a:lnTo>
                      <a:pt x="115" y="328"/>
                    </a:lnTo>
                    <a:lnTo>
                      <a:pt x="108" y="334"/>
                    </a:lnTo>
                    <a:lnTo>
                      <a:pt x="100" y="338"/>
                    </a:lnTo>
                    <a:lnTo>
                      <a:pt x="84" y="345"/>
                    </a:lnTo>
                    <a:lnTo>
                      <a:pt x="78" y="348"/>
                    </a:lnTo>
                    <a:lnTo>
                      <a:pt x="74" y="349"/>
                    </a:lnTo>
                    <a:lnTo>
                      <a:pt x="74" y="349"/>
                    </a:lnTo>
                    <a:lnTo>
                      <a:pt x="70" y="348"/>
                    </a:lnTo>
                    <a:lnTo>
                      <a:pt x="68" y="346"/>
                    </a:lnTo>
                    <a:lnTo>
                      <a:pt x="63" y="343"/>
                    </a:lnTo>
                    <a:lnTo>
                      <a:pt x="59" y="339"/>
                    </a:lnTo>
                    <a:lnTo>
                      <a:pt x="55" y="338"/>
                    </a:lnTo>
                    <a:lnTo>
                      <a:pt x="52" y="338"/>
                    </a:lnTo>
                    <a:lnTo>
                      <a:pt x="52" y="338"/>
                    </a:lnTo>
                    <a:lnTo>
                      <a:pt x="48" y="338"/>
                    </a:lnTo>
                    <a:lnTo>
                      <a:pt x="45" y="339"/>
                    </a:lnTo>
                    <a:lnTo>
                      <a:pt x="43" y="342"/>
                    </a:lnTo>
                    <a:lnTo>
                      <a:pt x="40" y="345"/>
                    </a:lnTo>
                    <a:lnTo>
                      <a:pt x="38" y="352"/>
                    </a:lnTo>
                    <a:lnTo>
                      <a:pt x="37" y="360"/>
                    </a:lnTo>
                    <a:lnTo>
                      <a:pt x="37" y="360"/>
                    </a:lnTo>
                    <a:lnTo>
                      <a:pt x="38" y="365"/>
                    </a:lnTo>
                    <a:lnTo>
                      <a:pt x="39" y="371"/>
                    </a:lnTo>
                    <a:lnTo>
                      <a:pt x="45" y="380"/>
                    </a:lnTo>
                    <a:lnTo>
                      <a:pt x="50" y="390"/>
                    </a:lnTo>
                    <a:lnTo>
                      <a:pt x="51" y="395"/>
                    </a:lnTo>
                    <a:lnTo>
                      <a:pt x="52" y="400"/>
                    </a:lnTo>
                    <a:lnTo>
                      <a:pt x="52" y="400"/>
                    </a:lnTo>
                    <a:lnTo>
                      <a:pt x="51" y="406"/>
                    </a:lnTo>
                    <a:lnTo>
                      <a:pt x="50" y="411"/>
                    </a:lnTo>
                    <a:lnTo>
                      <a:pt x="47" y="415"/>
                    </a:lnTo>
                    <a:lnTo>
                      <a:pt x="44" y="419"/>
                    </a:lnTo>
                    <a:lnTo>
                      <a:pt x="36" y="425"/>
                    </a:lnTo>
                    <a:lnTo>
                      <a:pt x="27" y="429"/>
                    </a:lnTo>
                    <a:lnTo>
                      <a:pt x="17" y="435"/>
                    </a:lnTo>
                    <a:lnTo>
                      <a:pt x="8" y="441"/>
                    </a:lnTo>
                    <a:lnTo>
                      <a:pt x="6" y="444"/>
                    </a:lnTo>
                    <a:lnTo>
                      <a:pt x="2" y="449"/>
                    </a:lnTo>
                    <a:lnTo>
                      <a:pt x="1" y="453"/>
                    </a:lnTo>
                    <a:lnTo>
                      <a:pt x="0" y="459"/>
                    </a:lnTo>
                    <a:lnTo>
                      <a:pt x="0" y="459"/>
                    </a:lnTo>
                    <a:lnTo>
                      <a:pt x="1" y="463"/>
                    </a:lnTo>
                    <a:lnTo>
                      <a:pt x="2" y="465"/>
                    </a:lnTo>
                    <a:lnTo>
                      <a:pt x="6" y="471"/>
                    </a:lnTo>
                    <a:lnTo>
                      <a:pt x="12" y="474"/>
                    </a:lnTo>
                    <a:lnTo>
                      <a:pt x="17" y="478"/>
                    </a:lnTo>
                    <a:lnTo>
                      <a:pt x="30" y="483"/>
                    </a:lnTo>
                    <a:lnTo>
                      <a:pt x="35" y="486"/>
                    </a:lnTo>
                    <a:lnTo>
                      <a:pt x="37" y="489"/>
                    </a:lnTo>
                    <a:lnTo>
                      <a:pt x="37" y="489"/>
                    </a:lnTo>
                    <a:lnTo>
                      <a:pt x="52" y="493"/>
                    </a:lnTo>
                    <a:lnTo>
                      <a:pt x="52" y="493"/>
                    </a:lnTo>
                    <a:lnTo>
                      <a:pt x="52" y="493"/>
                    </a:lnTo>
                    <a:lnTo>
                      <a:pt x="61" y="493"/>
                    </a:lnTo>
                    <a:lnTo>
                      <a:pt x="70" y="494"/>
                    </a:lnTo>
                    <a:lnTo>
                      <a:pt x="89" y="499"/>
                    </a:lnTo>
                    <a:lnTo>
                      <a:pt x="107" y="504"/>
                    </a:lnTo>
                    <a:lnTo>
                      <a:pt x="116" y="505"/>
                    </a:lnTo>
                    <a:lnTo>
                      <a:pt x="126" y="506"/>
                    </a:lnTo>
                    <a:lnTo>
                      <a:pt x="126" y="506"/>
                    </a:lnTo>
                    <a:lnTo>
                      <a:pt x="155" y="502"/>
                    </a:lnTo>
                    <a:lnTo>
                      <a:pt x="185" y="499"/>
                    </a:lnTo>
                    <a:lnTo>
                      <a:pt x="215" y="501"/>
                    </a:lnTo>
                    <a:lnTo>
                      <a:pt x="243" y="503"/>
                    </a:lnTo>
                    <a:lnTo>
                      <a:pt x="243" y="503"/>
                    </a:lnTo>
                    <a:lnTo>
                      <a:pt x="237" y="496"/>
                    </a:lnTo>
                    <a:lnTo>
                      <a:pt x="234" y="491"/>
                    </a:lnTo>
                    <a:lnTo>
                      <a:pt x="230" y="488"/>
                    </a:lnTo>
                    <a:lnTo>
                      <a:pt x="224" y="481"/>
                    </a:lnTo>
                    <a:lnTo>
                      <a:pt x="224" y="481"/>
                    </a:lnTo>
                    <a:lnTo>
                      <a:pt x="224" y="412"/>
                    </a:lnTo>
                    <a:lnTo>
                      <a:pt x="224" y="412"/>
                    </a:lnTo>
                    <a:lnTo>
                      <a:pt x="224" y="412"/>
                    </a:lnTo>
                    <a:lnTo>
                      <a:pt x="234" y="414"/>
                    </a:lnTo>
                    <a:lnTo>
                      <a:pt x="239" y="418"/>
                    </a:lnTo>
                    <a:lnTo>
                      <a:pt x="245" y="422"/>
                    </a:lnTo>
                    <a:lnTo>
                      <a:pt x="250" y="426"/>
                    </a:lnTo>
                    <a:lnTo>
                      <a:pt x="259" y="434"/>
                    </a:lnTo>
                    <a:lnTo>
                      <a:pt x="265" y="437"/>
                    </a:lnTo>
                    <a:lnTo>
                      <a:pt x="273" y="441"/>
                    </a:lnTo>
                    <a:lnTo>
                      <a:pt x="273" y="441"/>
                    </a:lnTo>
                    <a:lnTo>
                      <a:pt x="276" y="429"/>
                    </a:lnTo>
                    <a:lnTo>
                      <a:pt x="279" y="419"/>
                    </a:lnTo>
                    <a:lnTo>
                      <a:pt x="280" y="409"/>
                    </a:lnTo>
                    <a:lnTo>
                      <a:pt x="281" y="399"/>
                    </a:lnTo>
                    <a:lnTo>
                      <a:pt x="281" y="379"/>
                    </a:lnTo>
                    <a:lnTo>
                      <a:pt x="280" y="353"/>
                    </a:lnTo>
                    <a:lnTo>
                      <a:pt x="280" y="353"/>
                    </a:lnTo>
                    <a:lnTo>
                      <a:pt x="281" y="322"/>
                    </a:lnTo>
                    <a:lnTo>
                      <a:pt x="281" y="307"/>
                    </a:lnTo>
                    <a:lnTo>
                      <a:pt x="280" y="293"/>
                    </a:lnTo>
                    <a:lnTo>
                      <a:pt x="277" y="280"/>
                    </a:lnTo>
                    <a:lnTo>
                      <a:pt x="274" y="268"/>
                    </a:lnTo>
                    <a:lnTo>
                      <a:pt x="271" y="261"/>
                    </a:lnTo>
                    <a:lnTo>
                      <a:pt x="267" y="255"/>
                    </a:lnTo>
                    <a:lnTo>
                      <a:pt x="262" y="251"/>
                    </a:lnTo>
                    <a:lnTo>
                      <a:pt x="258" y="245"/>
                    </a:lnTo>
                    <a:lnTo>
                      <a:pt x="258" y="245"/>
                    </a:lnTo>
                    <a:lnTo>
                      <a:pt x="254" y="243"/>
                    </a:lnTo>
                    <a:lnTo>
                      <a:pt x="250" y="242"/>
                    </a:lnTo>
                    <a:lnTo>
                      <a:pt x="241" y="238"/>
                    </a:lnTo>
                    <a:lnTo>
                      <a:pt x="221" y="234"/>
                    </a:lnTo>
                    <a:lnTo>
                      <a:pt x="213" y="230"/>
                    </a:lnTo>
                    <a:lnTo>
                      <a:pt x="208" y="228"/>
                    </a:lnTo>
                    <a:lnTo>
                      <a:pt x="205" y="226"/>
                    </a:lnTo>
                    <a:lnTo>
                      <a:pt x="203" y="222"/>
                    </a:lnTo>
                    <a:lnTo>
                      <a:pt x="200" y="217"/>
                    </a:lnTo>
                    <a:lnTo>
                      <a:pt x="199" y="212"/>
                    </a:lnTo>
                    <a:lnTo>
                      <a:pt x="199" y="206"/>
                    </a:lnTo>
                    <a:lnTo>
                      <a:pt x="199" y="206"/>
                    </a:lnTo>
                    <a:lnTo>
                      <a:pt x="200" y="196"/>
                    </a:lnTo>
                    <a:lnTo>
                      <a:pt x="203" y="188"/>
                    </a:lnTo>
                    <a:lnTo>
                      <a:pt x="207" y="181"/>
                    </a:lnTo>
                    <a:lnTo>
                      <a:pt x="213" y="175"/>
                    </a:lnTo>
                    <a:lnTo>
                      <a:pt x="226" y="162"/>
                    </a:lnTo>
                    <a:lnTo>
                      <a:pt x="231" y="155"/>
                    </a:lnTo>
                    <a:lnTo>
                      <a:pt x="236" y="147"/>
                    </a:lnTo>
                    <a:lnTo>
                      <a:pt x="236" y="147"/>
                    </a:lnTo>
                    <a:lnTo>
                      <a:pt x="224" y="136"/>
                    </a:lnTo>
                    <a:lnTo>
                      <a:pt x="224" y="13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0" name="Freeform 85"/>
              <p:cNvSpPr>
                <a:spLocks noChangeAspect="1"/>
              </p:cNvSpPr>
              <p:nvPr/>
            </p:nvSpPr>
            <p:spPr bwMode="auto">
              <a:xfrm>
                <a:off x="606368" y="4290904"/>
                <a:ext cx="442245" cy="439739"/>
              </a:xfrm>
              <a:custGeom>
                <a:avLst/>
                <a:gdLst/>
                <a:ahLst/>
                <a:cxnLst>
                  <a:cxn ang="0">
                    <a:pos x="482" y="35"/>
                  </a:cxn>
                  <a:cxn ang="0">
                    <a:pos x="448" y="33"/>
                  </a:cxn>
                  <a:cxn ang="0">
                    <a:pos x="404" y="3"/>
                  </a:cxn>
                  <a:cxn ang="0">
                    <a:pos x="375" y="2"/>
                  </a:cxn>
                  <a:cxn ang="0">
                    <a:pos x="375" y="33"/>
                  </a:cxn>
                  <a:cxn ang="0">
                    <a:pos x="323" y="52"/>
                  </a:cxn>
                  <a:cxn ang="0">
                    <a:pos x="311" y="78"/>
                  </a:cxn>
                  <a:cxn ang="0">
                    <a:pos x="283" y="85"/>
                  </a:cxn>
                  <a:cxn ang="0">
                    <a:pos x="261" y="110"/>
                  </a:cxn>
                  <a:cxn ang="0">
                    <a:pos x="235" y="164"/>
                  </a:cxn>
                  <a:cxn ang="0">
                    <a:pos x="199" y="179"/>
                  </a:cxn>
                  <a:cxn ang="0">
                    <a:pos x="170" y="161"/>
                  </a:cxn>
                  <a:cxn ang="0">
                    <a:pos x="124" y="122"/>
                  </a:cxn>
                  <a:cxn ang="0">
                    <a:pos x="108" y="130"/>
                  </a:cxn>
                  <a:cxn ang="0">
                    <a:pos x="86" y="125"/>
                  </a:cxn>
                  <a:cxn ang="0">
                    <a:pos x="59" y="110"/>
                  </a:cxn>
                  <a:cxn ang="0">
                    <a:pos x="12" y="141"/>
                  </a:cxn>
                  <a:cxn ang="0">
                    <a:pos x="44" y="177"/>
                  </a:cxn>
                  <a:cxn ang="0">
                    <a:pos x="89" y="202"/>
                  </a:cxn>
                  <a:cxn ang="0">
                    <a:pos x="85" y="221"/>
                  </a:cxn>
                  <a:cxn ang="0">
                    <a:pos x="25" y="244"/>
                  </a:cxn>
                  <a:cxn ang="0">
                    <a:pos x="71" y="277"/>
                  </a:cxn>
                  <a:cxn ang="0">
                    <a:pos x="120" y="309"/>
                  </a:cxn>
                  <a:cxn ang="0">
                    <a:pos x="114" y="340"/>
                  </a:cxn>
                  <a:cxn ang="0">
                    <a:pos x="97" y="382"/>
                  </a:cxn>
                  <a:cxn ang="0">
                    <a:pos x="116" y="417"/>
                  </a:cxn>
                  <a:cxn ang="0">
                    <a:pos x="137" y="449"/>
                  </a:cxn>
                  <a:cxn ang="0">
                    <a:pos x="130" y="498"/>
                  </a:cxn>
                  <a:cxn ang="0">
                    <a:pos x="150" y="500"/>
                  </a:cxn>
                  <a:cxn ang="0">
                    <a:pos x="174" y="516"/>
                  </a:cxn>
                  <a:cxn ang="0">
                    <a:pos x="199" y="499"/>
                  </a:cxn>
                  <a:cxn ang="0">
                    <a:pos x="230" y="513"/>
                  </a:cxn>
                  <a:cxn ang="0">
                    <a:pos x="250" y="504"/>
                  </a:cxn>
                  <a:cxn ang="0">
                    <a:pos x="273" y="484"/>
                  </a:cxn>
                  <a:cxn ang="0">
                    <a:pos x="288" y="526"/>
                  </a:cxn>
                  <a:cxn ang="0">
                    <a:pos x="327" y="576"/>
                  </a:cxn>
                  <a:cxn ang="0">
                    <a:pos x="345" y="620"/>
                  </a:cxn>
                  <a:cxn ang="0">
                    <a:pos x="379" y="630"/>
                  </a:cxn>
                  <a:cxn ang="0">
                    <a:pos x="398" y="628"/>
                  </a:cxn>
                  <a:cxn ang="0">
                    <a:pos x="407" y="606"/>
                  </a:cxn>
                  <a:cxn ang="0">
                    <a:pos x="420" y="584"/>
                  </a:cxn>
                  <a:cxn ang="0">
                    <a:pos x="494" y="557"/>
                  </a:cxn>
                  <a:cxn ang="0">
                    <a:pos x="518" y="516"/>
                  </a:cxn>
                  <a:cxn ang="0">
                    <a:pos x="501" y="492"/>
                  </a:cxn>
                  <a:cxn ang="0">
                    <a:pos x="482" y="503"/>
                  </a:cxn>
                  <a:cxn ang="0">
                    <a:pos x="471" y="489"/>
                  </a:cxn>
                  <a:cxn ang="0">
                    <a:pos x="467" y="481"/>
                  </a:cxn>
                  <a:cxn ang="0">
                    <a:pos x="448" y="460"/>
                  </a:cxn>
                  <a:cxn ang="0">
                    <a:pos x="412" y="408"/>
                  </a:cxn>
                  <a:cxn ang="0">
                    <a:pos x="422" y="360"/>
                  </a:cxn>
                  <a:cxn ang="0">
                    <a:pos x="414" y="331"/>
                  </a:cxn>
                  <a:cxn ang="0">
                    <a:pos x="394" y="305"/>
                  </a:cxn>
                  <a:cxn ang="0">
                    <a:pos x="421" y="272"/>
                  </a:cxn>
                  <a:cxn ang="0">
                    <a:pos x="458" y="266"/>
                  </a:cxn>
                  <a:cxn ang="0">
                    <a:pos x="503" y="275"/>
                  </a:cxn>
                  <a:cxn ang="0">
                    <a:pos x="516" y="252"/>
                  </a:cxn>
                  <a:cxn ang="0">
                    <a:pos x="516" y="172"/>
                  </a:cxn>
                  <a:cxn ang="0">
                    <a:pos x="545" y="132"/>
                  </a:cxn>
                  <a:cxn ang="0">
                    <a:pos x="559" y="95"/>
                  </a:cxn>
                  <a:cxn ang="0">
                    <a:pos x="539" y="41"/>
                  </a:cxn>
                  <a:cxn ang="0">
                    <a:pos x="518" y="25"/>
                  </a:cxn>
                </a:cxnLst>
                <a:rect l="0" t="0" r="r" b="b"/>
                <a:pathLst>
                  <a:path w="559" h="632">
                    <a:moveTo>
                      <a:pt x="518" y="25"/>
                    </a:moveTo>
                    <a:lnTo>
                      <a:pt x="518" y="25"/>
                    </a:lnTo>
                    <a:lnTo>
                      <a:pt x="512" y="26"/>
                    </a:lnTo>
                    <a:lnTo>
                      <a:pt x="505" y="27"/>
                    </a:lnTo>
                    <a:lnTo>
                      <a:pt x="494" y="31"/>
                    </a:lnTo>
                    <a:lnTo>
                      <a:pt x="482" y="35"/>
                    </a:lnTo>
                    <a:lnTo>
                      <a:pt x="475" y="37"/>
                    </a:lnTo>
                    <a:lnTo>
                      <a:pt x="467" y="37"/>
                    </a:lnTo>
                    <a:lnTo>
                      <a:pt x="467" y="37"/>
                    </a:lnTo>
                    <a:lnTo>
                      <a:pt x="460" y="37"/>
                    </a:lnTo>
                    <a:lnTo>
                      <a:pt x="453" y="35"/>
                    </a:lnTo>
                    <a:lnTo>
                      <a:pt x="448" y="33"/>
                    </a:lnTo>
                    <a:lnTo>
                      <a:pt x="443" y="31"/>
                    </a:lnTo>
                    <a:lnTo>
                      <a:pt x="434" y="25"/>
                    </a:lnTo>
                    <a:lnTo>
                      <a:pt x="426" y="18"/>
                    </a:lnTo>
                    <a:lnTo>
                      <a:pt x="418" y="11"/>
                    </a:lnTo>
                    <a:lnTo>
                      <a:pt x="409" y="6"/>
                    </a:lnTo>
                    <a:lnTo>
                      <a:pt x="404" y="3"/>
                    </a:lnTo>
                    <a:lnTo>
                      <a:pt x="398" y="1"/>
                    </a:lnTo>
                    <a:lnTo>
                      <a:pt x="392" y="0"/>
                    </a:lnTo>
                    <a:lnTo>
                      <a:pt x="386" y="0"/>
                    </a:lnTo>
                    <a:lnTo>
                      <a:pt x="386" y="0"/>
                    </a:lnTo>
                    <a:lnTo>
                      <a:pt x="380" y="0"/>
                    </a:lnTo>
                    <a:lnTo>
                      <a:pt x="375" y="2"/>
                    </a:lnTo>
                    <a:lnTo>
                      <a:pt x="374" y="6"/>
                    </a:lnTo>
                    <a:lnTo>
                      <a:pt x="374" y="9"/>
                    </a:lnTo>
                    <a:lnTo>
                      <a:pt x="375" y="19"/>
                    </a:lnTo>
                    <a:lnTo>
                      <a:pt x="376" y="26"/>
                    </a:lnTo>
                    <a:lnTo>
                      <a:pt x="375" y="33"/>
                    </a:lnTo>
                    <a:lnTo>
                      <a:pt x="375" y="33"/>
                    </a:lnTo>
                    <a:lnTo>
                      <a:pt x="369" y="40"/>
                    </a:lnTo>
                    <a:lnTo>
                      <a:pt x="363" y="45"/>
                    </a:lnTo>
                    <a:lnTo>
                      <a:pt x="353" y="48"/>
                    </a:lnTo>
                    <a:lnTo>
                      <a:pt x="344" y="50"/>
                    </a:lnTo>
                    <a:lnTo>
                      <a:pt x="335" y="52"/>
                    </a:lnTo>
                    <a:lnTo>
                      <a:pt x="323" y="52"/>
                    </a:lnTo>
                    <a:lnTo>
                      <a:pt x="302" y="52"/>
                    </a:lnTo>
                    <a:lnTo>
                      <a:pt x="302" y="52"/>
                    </a:lnTo>
                    <a:lnTo>
                      <a:pt x="303" y="57"/>
                    </a:lnTo>
                    <a:lnTo>
                      <a:pt x="304" y="63"/>
                    </a:lnTo>
                    <a:lnTo>
                      <a:pt x="307" y="71"/>
                    </a:lnTo>
                    <a:lnTo>
                      <a:pt x="311" y="78"/>
                    </a:lnTo>
                    <a:lnTo>
                      <a:pt x="312" y="83"/>
                    </a:lnTo>
                    <a:lnTo>
                      <a:pt x="313" y="88"/>
                    </a:lnTo>
                    <a:lnTo>
                      <a:pt x="313" y="88"/>
                    </a:lnTo>
                    <a:lnTo>
                      <a:pt x="303" y="88"/>
                    </a:lnTo>
                    <a:lnTo>
                      <a:pt x="295" y="87"/>
                    </a:lnTo>
                    <a:lnTo>
                      <a:pt x="283" y="85"/>
                    </a:lnTo>
                    <a:lnTo>
                      <a:pt x="277" y="84"/>
                    </a:lnTo>
                    <a:lnTo>
                      <a:pt x="273" y="84"/>
                    </a:lnTo>
                    <a:lnTo>
                      <a:pt x="268" y="85"/>
                    </a:lnTo>
                    <a:lnTo>
                      <a:pt x="261" y="88"/>
                    </a:lnTo>
                    <a:lnTo>
                      <a:pt x="261" y="88"/>
                    </a:lnTo>
                    <a:lnTo>
                      <a:pt x="261" y="110"/>
                    </a:lnTo>
                    <a:lnTo>
                      <a:pt x="261" y="110"/>
                    </a:lnTo>
                    <a:lnTo>
                      <a:pt x="260" y="121"/>
                    </a:lnTo>
                    <a:lnTo>
                      <a:pt x="257" y="132"/>
                    </a:lnTo>
                    <a:lnTo>
                      <a:pt x="251" y="144"/>
                    </a:lnTo>
                    <a:lnTo>
                      <a:pt x="244" y="154"/>
                    </a:lnTo>
                    <a:lnTo>
                      <a:pt x="235" y="164"/>
                    </a:lnTo>
                    <a:lnTo>
                      <a:pt x="230" y="169"/>
                    </a:lnTo>
                    <a:lnTo>
                      <a:pt x="224" y="172"/>
                    </a:lnTo>
                    <a:lnTo>
                      <a:pt x="219" y="176"/>
                    </a:lnTo>
                    <a:lnTo>
                      <a:pt x="212" y="178"/>
                    </a:lnTo>
                    <a:lnTo>
                      <a:pt x="206" y="179"/>
                    </a:lnTo>
                    <a:lnTo>
                      <a:pt x="199" y="179"/>
                    </a:lnTo>
                    <a:lnTo>
                      <a:pt x="199" y="179"/>
                    </a:lnTo>
                    <a:lnTo>
                      <a:pt x="193" y="179"/>
                    </a:lnTo>
                    <a:lnTo>
                      <a:pt x="189" y="177"/>
                    </a:lnTo>
                    <a:lnTo>
                      <a:pt x="184" y="175"/>
                    </a:lnTo>
                    <a:lnTo>
                      <a:pt x="180" y="170"/>
                    </a:lnTo>
                    <a:lnTo>
                      <a:pt x="170" y="161"/>
                    </a:lnTo>
                    <a:lnTo>
                      <a:pt x="161" y="151"/>
                    </a:lnTo>
                    <a:lnTo>
                      <a:pt x="152" y="139"/>
                    </a:lnTo>
                    <a:lnTo>
                      <a:pt x="142" y="130"/>
                    </a:lnTo>
                    <a:lnTo>
                      <a:pt x="137" y="126"/>
                    </a:lnTo>
                    <a:lnTo>
                      <a:pt x="131" y="123"/>
                    </a:lnTo>
                    <a:lnTo>
                      <a:pt x="124" y="122"/>
                    </a:lnTo>
                    <a:lnTo>
                      <a:pt x="117" y="121"/>
                    </a:lnTo>
                    <a:lnTo>
                      <a:pt x="117" y="121"/>
                    </a:lnTo>
                    <a:lnTo>
                      <a:pt x="116" y="122"/>
                    </a:lnTo>
                    <a:lnTo>
                      <a:pt x="115" y="123"/>
                    </a:lnTo>
                    <a:lnTo>
                      <a:pt x="112" y="126"/>
                    </a:lnTo>
                    <a:lnTo>
                      <a:pt x="108" y="130"/>
                    </a:lnTo>
                    <a:lnTo>
                      <a:pt x="106" y="131"/>
                    </a:lnTo>
                    <a:lnTo>
                      <a:pt x="104" y="132"/>
                    </a:lnTo>
                    <a:lnTo>
                      <a:pt x="104" y="132"/>
                    </a:lnTo>
                    <a:lnTo>
                      <a:pt x="97" y="131"/>
                    </a:lnTo>
                    <a:lnTo>
                      <a:pt x="91" y="129"/>
                    </a:lnTo>
                    <a:lnTo>
                      <a:pt x="86" y="125"/>
                    </a:lnTo>
                    <a:lnTo>
                      <a:pt x="82" y="121"/>
                    </a:lnTo>
                    <a:lnTo>
                      <a:pt x="77" y="117"/>
                    </a:lnTo>
                    <a:lnTo>
                      <a:pt x="71" y="114"/>
                    </a:lnTo>
                    <a:lnTo>
                      <a:pt x="66" y="111"/>
                    </a:lnTo>
                    <a:lnTo>
                      <a:pt x="59" y="110"/>
                    </a:lnTo>
                    <a:lnTo>
                      <a:pt x="59" y="110"/>
                    </a:lnTo>
                    <a:lnTo>
                      <a:pt x="51" y="111"/>
                    </a:lnTo>
                    <a:lnTo>
                      <a:pt x="43" y="115"/>
                    </a:lnTo>
                    <a:lnTo>
                      <a:pt x="33" y="121"/>
                    </a:lnTo>
                    <a:lnTo>
                      <a:pt x="25" y="126"/>
                    </a:lnTo>
                    <a:lnTo>
                      <a:pt x="18" y="134"/>
                    </a:lnTo>
                    <a:lnTo>
                      <a:pt x="12" y="141"/>
                    </a:lnTo>
                    <a:lnTo>
                      <a:pt x="0" y="154"/>
                    </a:lnTo>
                    <a:lnTo>
                      <a:pt x="0" y="154"/>
                    </a:lnTo>
                    <a:lnTo>
                      <a:pt x="12" y="163"/>
                    </a:lnTo>
                    <a:lnTo>
                      <a:pt x="23" y="169"/>
                    </a:lnTo>
                    <a:lnTo>
                      <a:pt x="33" y="174"/>
                    </a:lnTo>
                    <a:lnTo>
                      <a:pt x="44" y="177"/>
                    </a:lnTo>
                    <a:lnTo>
                      <a:pt x="62" y="183"/>
                    </a:lnTo>
                    <a:lnTo>
                      <a:pt x="69" y="185"/>
                    </a:lnTo>
                    <a:lnTo>
                      <a:pt x="74" y="187"/>
                    </a:lnTo>
                    <a:lnTo>
                      <a:pt x="74" y="187"/>
                    </a:lnTo>
                    <a:lnTo>
                      <a:pt x="85" y="198"/>
                    </a:lnTo>
                    <a:lnTo>
                      <a:pt x="89" y="202"/>
                    </a:lnTo>
                    <a:lnTo>
                      <a:pt x="91" y="207"/>
                    </a:lnTo>
                    <a:lnTo>
                      <a:pt x="92" y="210"/>
                    </a:lnTo>
                    <a:lnTo>
                      <a:pt x="92" y="214"/>
                    </a:lnTo>
                    <a:lnTo>
                      <a:pt x="91" y="216"/>
                    </a:lnTo>
                    <a:lnTo>
                      <a:pt x="89" y="218"/>
                    </a:lnTo>
                    <a:lnTo>
                      <a:pt x="85" y="221"/>
                    </a:lnTo>
                    <a:lnTo>
                      <a:pt x="81" y="223"/>
                    </a:lnTo>
                    <a:lnTo>
                      <a:pt x="67" y="224"/>
                    </a:lnTo>
                    <a:lnTo>
                      <a:pt x="48" y="223"/>
                    </a:lnTo>
                    <a:lnTo>
                      <a:pt x="27" y="221"/>
                    </a:lnTo>
                    <a:lnTo>
                      <a:pt x="27" y="221"/>
                    </a:lnTo>
                    <a:lnTo>
                      <a:pt x="25" y="244"/>
                    </a:lnTo>
                    <a:lnTo>
                      <a:pt x="24" y="258"/>
                    </a:lnTo>
                    <a:lnTo>
                      <a:pt x="27" y="272"/>
                    </a:lnTo>
                    <a:lnTo>
                      <a:pt x="27" y="272"/>
                    </a:lnTo>
                    <a:lnTo>
                      <a:pt x="40" y="271"/>
                    </a:lnTo>
                    <a:lnTo>
                      <a:pt x="55" y="274"/>
                    </a:lnTo>
                    <a:lnTo>
                      <a:pt x="71" y="277"/>
                    </a:lnTo>
                    <a:lnTo>
                      <a:pt x="86" y="283"/>
                    </a:lnTo>
                    <a:lnTo>
                      <a:pt x="100" y="291"/>
                    </a:lnTo>
                    <a:lnTo>
                      <a:pt x="107" y="294"/>
                    </a:lnTo>
                    <a:lnTo>
                      <a:pt x="112" y="299"/>
                    </a:lnTo>
                    <a:lnTo>
                      <a:pt x="116" y="304"/>
                    </a:lnTo>
                    <a:lnTo>
                      <a:pt x="120" y="309"/>
                    </a:lnTo>
                    <a:lnTo>
                      <a:pt x="121" y="314"/>
                    </a:lnTo>
                    <a:lnTo>
                      <a:pt x="122" y="320"/>
                    </a:lnTo>
                    <a:lnTo>
                      <a:pt x="122" y="320"/>
                    </a:lnTo>
                    <a:lnTo>
                      <a:pt x="121" y="327"/>
                    </a:lnTo>
                    <a:lnTo>
                      <a:pt x="119" y="333"/>
                    </a:lnTo>
                    <a:lnTo>
                      <a:pt x="114" y="340"/>
                    </a:lnTo>
                    <a:lnTo>
                      <a:pt x="109" y="346"/>
                    </a:lnTo>
                    <a:lnTo>
                      <a:pt x="105" y="353"/>
                    </a:lnTo>
                    <a:lnTo>
                      <a:pt x="100" y="361"/>
                    </a:lnTo>
                    <a:lnTo>
                      <a:pt x="98" y="370"/>
                    </a:lnTo>
                    <a:lnTo>
                      <a:pt x="97" y="382"/>
                    </a:lnTo>
                    <a:lnTo>
                      <a:pt x="97" y="382"/>
                    </a:lnTo>
                    <a:lnTo>
                      <a:pt x="97" y="388"/>
                    </a:lnTo>
                    <a:lnTo>
                      <a:pt x="98" y="393"/>
                    </a:lnTo>
                    <a:lnTo>
                      <a:pt x="100" y="398"/>
                    </a:lnTo>
                    <a:lnTo>
                      <a:pt x="102" y="403"/>
                    </a:lnTo>
                    <a:lnTo>
                      <a:pt x="109" y="411"/>
                    </a:lnTo>
                    <a:lnTo>
                      <a:pt x="116" y="417"/>
                    </a:lnTo>
                    <a:lnTo>
                      <a:pt x="124" y="424"/>
                    </a:lnTo>
                    <a:lnTo>
                      <a:pt x="130" y="431"/>
                    </a:lnTo>
                    <a:lnTo>
                      <a:pt x="135" y="439"/>
                    </a:lnTo>
                    <a:lnTo>
                      <a:pt x="136" y="444"/>
                    </a:lnTo>
                    <a:lnTo>
                      <a:pt x="137" y="449"/>
                    </a:lnTo>
                    <a:lnTo>
                      <a:pt x="137" y="449"/>
                    </a:lnTo>
                    <a:lnTo>
                      <a:pt x="136" y="461"/>
                    </a:lnTo>
                    <a:lnTo>
                      <a:pt x="134" y="474"/>
                    </a:lnTo>
                    <a:lnTo>
                      <a:pt x="130" y="487"/>
                    </a:lnTo>
                    <a:lnTo>
                      <a:pt x="129" y="499"/>
                    </a:lnTo>
                    <a:lnTo>
                      <a:pt x="129" y="499"/>
                    </a:lnTo>
                    <a:lnTo>
                      <a:pt x="130" y="498"/>
                    </a:lnTo>
                    <a:lnTo>
                      <a:pt x="132" y="498"/>
                    </a:lnTo>
                    <a:lnTo>
                      <a:pt x="136" y="499"/>
                    </a:lnTo>
                    <a:lnTo>
                      <a:pt x="140" y="499"/>
                    </a:lnTo>
                    <a:lnTo>
                      <a:pt x="140" y="499"/>
                    </a:lnTo>
                    <a:lnTo>
                      <a:pt x="145" y="500"/>
                    </a:lnTo>
                    <a:lnTo>
                      <a:pt x="150" y="500"/>
                    </a:lnTo>
                    <a:lnTo>
                      <a:pt x="154" y="503"/>
                    </a:lnTo>
                    <a:lnTo>
                      <a:pt x="158" y="505"/>
                    </a:lnTo>
                    <a:lnTo>
                      <a:pt x="166" y="512"/>
                    </a:lnTo>
                    <a:lnTo>
                      <a:pt x="174" y="521"/>
                    </a:lnTo>
                    <a:lnTo>
                      <a:pt x="174" y="521"/>
                    </a:lnTo>
                    <a:lnTo>
                      <a:pt x="174" y="516"/>
                    </a:lnTo>
                    <a:lnTo>
                      <a:pt x="176" y="512"/>
                    </a:lnTo>
                    <a:lnTo>
                      <a:pt x="178" y="508"/>
                    </a:lnTo>
                    <a:lnTo>
                      <a:pt x="182" y="505"/>
                    </a:lnTo>
                    <a:lnTo>
                      <a:pt x="186" y="503"/>
                    </a:lnTo>
                    <a:lnTo>
                      <a:pt x="190" y="500"/>
                    </a:lnTo>
                    <a:lnTo>
                      <a:pt x="199" y="499"/>
                    </a:lnTo>
                    <a:lnTo>
                      <a:pt x="199" y="499"/>
                    </a:lnTo>
                    <a:lnTo>
                      <a:pt x="205" y="500"/>
                    </a:lnTo>
                    <a:lnTo>
                      <a:pt x="209" y="501"/>
                    </a:lnTo>
                    <a:lnTo>
                      <a:pt x="218" y="507"/>
                    </a:lnTo>
                    <a:lnTo>
                      <a:pt x="226" y="512"/>
                    </a:lnTo>
                    <a:lnTo>
                      <a:pt x="230" y="513"/>
                    </a:lnTo>
                    <a:lnTo>
                      <a:pt x="236" y="514"/>
                    </a:lnTo>
                    <a:lnTo>
                      <a:pt x="236" y="514"/>
                    </a:lnTo>
                    <a:lnTo>
                      <a:pt x="241" y="513"/>
                    </a:lnTo>
                    <a:lnTo>
                      <a:pt x="244" y="511"/>
                    </a:lnTo>
                    <a:lnTo>
                      <a:pt x="247" y="508"/>
                    </a:lnTo>
                    <a:lnTo>
                      <a:pt x="250" y="504"/>
                    </a:lnTo>
                    <a:lnTo>
                      <a:pt x="253" y="495"/>
                    </a:lnTo>
                    <a:lnTo>
                      <a:pt x="255" y="489"/>
                    </a:lnTo>
                    <a:lnTo>
                      <a:pt x="258" y="484"/>
                    </a:lnTo>
                    <a:lnTo>
                      <a:pt x="258" y="484"/>
                    </a:lnTo>
                    <a:lnTo>
                      <a:pt x="273" y="484"/>
                    </a:lnTo>
                    <a:lnTo>
                      <a:pt x="273" y="484"/>
                    </a:lnTo>
                    <a:lnTo>
                      <a:pt x="273" y="484"/>
                    </a:lnTo>
                    <a:lnTo>
                      <a:pt x="273" y="492"/>
                    </a:lnTo>
                    <a:lnTo>
                      <a:pt x="275" y="500"/>
                    </a:lnTo>
                    <a:lnTo>
                      <a:pt x="276" y="507"/>
                    </a:lnTo>
                    <a:lnTo>
                      <a:pt x="280" y="514"/>
                    </a:lnTo>
                    <a:lnTo>
                      <a:pt x="288" y="526"/>
                    </a:lnTo>
                    <a:lnTo>
                      <a:pt x="296" y="536"/>
                    </a:lnTo>
                    <a:lnTo>
                      <a:pt x="314" y="556"/>
                    </a:lnTo>
                    <a:lnTo>
                      <a:pt x="322" y="566"/>
                    </a:lnTo>
                    <a:lnTo>
                      <a:pt x="325" y="572"/>
                    </a:lnTo>
                    <a:lnTo>
                      <a:pt x="327" y="576"/>
                    </a:lnTo>
                    <a:lnTo>
                      <a:pt x="327" y="576"/>
                    </a:lnTo>
                    <a:lnTo>
                      <a:pt x="329" y="584"/>
                    </a:lnTo>
                    <a:lnTo>
                      <a:pt x="331" y="592"/>
                    </a:lnTo>
                    <a:lnTo>
                      <a:pt x="334" y="607"/>
                    </a:lnTo>
                    <a:lnTo>
                      <a:pt x="336" y="613"/>
                    </a:lnTo>
                    <a:lnTo>
                      <a:pt x="339" y="617"/>
                    </a:lnTo>
                    <a:lnTo>
                      <a:pt x="345" y="620"/>
                    </a:lnTo>
                    <a:lnTo>
                      <a:pt x="353" y="621"/>
                    </a:lnTo>
                    <a:lnTo>
                      <a:pt x="353" y="621"/>
                    </a:lnTo>
                    <a:lnTo>
                      <a:pt x="358" y="621"/>
                    </a:lnTo>
                    <a:lnTo>
                      <a:pt x="363" y="622"/>
                    </a:lnTo>
                    <a:lnTo>
                      <a:pt x="372" y="626"/>
                    </a:lnTo>
                    <a:lnTo>
                      <a:pt x="379" y="630"/>
                    </a:lnTo>
                    <a:lnTo>
                      <a:pt x="382" y="632"/>
                    </a:lnTo>
                    <a:lnTo>
                      <a:pt x="386" y="632"/>
                    </a:lnTo>
                    <a:lnTo>
                      <a:pt x="386" y="632"/>
                    </a:lnTo>
                    <a:lnTo>
                      <a:pt x="391" y="632"/>
                    </a:lnTo>
                    <a:lnTo>
                      <a:pt x="395" y="630"/>
                    </a:lnTo>
                    <a:lnTo>
                      <a:pt x="398" y="628"/>
                    </a:lnTo>
                    <a:lnTo>
                      <a:pt x="400" y="626"/>
                    </a:lnTo>
                    <a:lnTo>
                      <a:pt x="403" y="623"/>
                    </a:lnTo>
                    <a:lnTo>
                      <a:pt x="404" y="619"/>
                    </a:lnTo>
                    <a:lnTo>
                      <a:pt x="405" y="610"/>
                    </a:lnTo>
                    <a:lnTo>
                      <a:pt x="405" y="610"/>
                    </a:lnTo>
                    <a:lnTo>
                      <a:pt x="407" y="606"/>
                    </a:lnTo>
                    <a:lnTo>
                      <a:pt x="409" y="603"/>
                    </a:lnTo>
                    <a:lnTo>
                      <a:pt x="410" y="596"/>
                    </a:lnTo>
                    <a:lnTo>
                      <a:pt x="411" y="592"/>
                    </a:lnTo>
                    <a:lnTo>
                      <a:pt x="412" y="589"/>
                    </a:lnTo>
                    <a:lnTo>
                      <a:pt x="415" y="585"/>
                    </a:lnTo>
                    <a:lnTo>
                      <a:pt x="420" y="584"/>
                    </a:lnTo>
                    <a:lnTo>
                      <a:pt x="420" y="584"/>
                    </a:lnTo>
                    <a:lnTo>
                      <a:pt x="437" y="577"/>
                    </a:lnTo>
                    <a:lnTo>
                      <a:pt x="456" y="573"/>
                    </a:lnTo>
                    <a:lnTo>
                      <a:pt x="472" y="567"/>
                    </a:lnTo>
                    <a:lnTo>
                      <a:pt x="487" y="560"/>
                    </a:lnTo>
                    <a:lnTo>
                      <a:pt x="494" y="557"/>
                    </a:lnTo>
                    <a:lnTo>
                      <a:pt x="499" y="552"/>
                    </a:lnTo>
                    <a:lnTo>
                      <a:pt x="505" y="546"/>
                    </a:lnTo>
                    <a:lnTo>
                      <a:pt x="510" y="541"/>
                    </a:lnTo>
                    <a:lnTo>
                      <a:pt x="513" y="534"/>
                    </a:lnTo>
                    <a:lnTo>
                      <a:pt x="516" y="526"/>
                    </a:lnTo>
                    <a:lnTo>
                      <a:pt x="518" y="516"/>
                    </a:lnTo>
                    <a:lnTo>
                      <a:pt x="518" y="506"/>
                    </a:lnTo>
                    <a:lnTo>
                      <a:pt x="518" y="506"/>
                    </a:lnTo>
                    <a:lnTo>
                      <a:pt x="518" y="492"/>
                    </a:lnTo>
                    <a:lnTo>
                      <a:pt x="518" y="492"/>
                    </a:lnTo>
                    <a:lnTo>
                      <a:pt x="501" y="492"/>
                    </a:lnTo>
                    <a:lnTo>
                      <a:pt x="501" y="492"/>
                    </a:lnTo>
                    <a:lnTo>
                      <a:pt x="501" y="492"/>
                    </a:lnTo>
                    <a:lnTo>
                      <a:pt x="496" y="497"/>
                    </a:lnTo>
                    <a:lnTo>
                      <a:pt x="494" y="500"/>
                    </a:lnTo>
                    <a:lnTo>
                      <a:pt x="490" y="503"/>
                    </a:lnTo>
                    <a:lnTo>
                      <a:pt x="482" y="503"/>
                    </a:lnTo>
                    <a:lnTo>
                      <a:pt x="482" y="503"/>
                    </a:lnTo>
                    <a:lnTo>
                      <a:pt x="479" y="503"/>
                    </a:lnTo>
                    <a:lnTo>
                      <a:pt x="475" y="501"/>
                    </a:lnTo>
                    <a:lnTo>
                      <a:pt x="473" y="499"/>
                    </a:lnTo>
                    <a:lnTo>
                      <a:pt x="472" y="497"/>
                    </a:lnTo>
                    <a:lnTo>
                      <a:pt x="471" y="492"/>
                    </a:lnTo>
                    <a:lnTo>
                      <a:pt x="471" y="489"/>
                    </a:lnTo>
                    <a:lnTo>
                      <a:pt x="471" y="489"/>
                    </a:lnTo>
                    <a:lnTo>
                      <a:pt x="471" y="489"/>
                    </a:lnTo>
                    <a:lnTo>
                      <a:pt x="470" y="489"/>
                    </a:lnTo>
                    <a:lnTo>
                      <a:pt x="467" y="487"/>
                    </a:lnTo>
                    <a:lnTo>
                      <a:pt x="467" y="481"/>
                    </a:lnTo>
                    <a:lnTo>
                      <a:pt x="467" y="481"/>
                    </a:lnTo>
                    <a:lnTo>
                      <a:pt x="464" y="467"/>
                    </a:lnTo>
                    <a:lnTo>
                      <a:pt x="464" y="467"/>
                    </a:lnTo>
                    <a:lnTo>
                      <a:pt x="464" y="467"/>
                    </a:lnTo>
                    <a:lnTo>
                      <a:pt x="460" y="466"/>
                    </a:lnTo>
                    <a:lnTo>
                      <a:pt x="456" y="465"/>
                    </a:lnTo>
                    <a:lnTo>
                      <a:pt x="448" y="460"/>
                    </a:lnTo>
                    <a:lnTo>
                      <a:pt x="440" y="453"/>
                    </a:lnTo>
                    <a:lnTo>
                      <a:pt x="430" y="445"/>
                    </a:lnTo>
                    <a:lnTo>
                      <a:pt x="423" y="436"/>
                    </a:lnTo>
                    <a:lnTo>
                      <a:pt x="418" y="427"/>
                    </a:lnTo>
                    <a:lnTo>
                      <a:pt x="413" y="416"/>
                    </a:lnTo>
                    <a:lnTo>
                      <a:pt x="412" y="408"/>
                    </a:lnTo>
                    <a:lnTo>
                      <a:pt x="412" y="408"/>
                    </a:lnTo>
                    <a:lnTo>
                      <a:pt x="412" y="400"/>
                    </a:lnTo>
                    <a:lnTo>
                      <a:pt x="413" y="393"/>
                    </a:lnTo>
                    <a:lnTo>
                      <a:pt x="418" y="381"/>
                    </a:lnTo>
                    <a:lnTo>
                      <a:pt x="421" y="367"/>
                    </a:lnTo>
                    <a:lnTo>
                      <a:pt x="422" y="360"/>
                    </a:lnTo>
                    <a:lnTo>
                      <a:pt x="423" y="353"/>
                    </a:lnTo>
                    <a:lnTo>
                      <a:pt x="423" y="353"/>
                    </a:lnTo>
                    <a:lnTo>
                      <a:pt x="422" y="348"/>
                    </a:lnTo>
                    <a:lnTo>
                      <a:pt x="422" y="344"/>
                    </a:lnTo>
                    <a:lnTo>
                      <a:pt x="419" y="337"/>
                    </a:lnTo>
                    <a:lnTo>
                      <a:pt x="414" y="331"/>
                    </a:lnTo>
                    <a:lnTo>
                      <a:pt x="409" y="325"/>
                    </a:lnTo>
                    <a:lnTo>
                      <a:pt x="403" y="321"/>
                    </a:lnTo>
                    <a:lnTo>
                      <a:pt x="398" y="316"/>
                    </a:lnTo>
                    <a:lnTo>
                      <a:pt x="395" y="312"/>
                    </a:lnTo>
                    <a:lnTo>
                      <a:pt x="394" y="305"/>
                    </a:lnTo>
                    <a:lnTo>
                      <a:pt x="394" y="305"/>
                    </a:lnTo>
                    <a:lnTo>
                      <a:pt x="394" y="301"/>
                    </a:lnTo>
                    <a:lnTo>
                      <a:pt x="395" y="298"/>
                    </a:lnTo>
                    <a:lnTo>
                      <a:pt x="399" y="291"/>
                    </a:lnTo>
                    <a:lnTo>
                      <a:pt x="405" y="284"/>
                    </a:lnTo>
                    <a:lnTo>
                      <a:pt x="412" y="278"/>
                    </a:lnTo>
                    <a:lnTo>
                      <a:pt x="421" y="272"/>
                    </a:lnTo>
                    <a:lnTo>
                      <a:pt x="429" y="268"/>
                    </a:lnTo>
                    <a:lnTo>
                      <a:pt x="437" y="266"/>
                    </a:lnTo>
                    <a:lnTo>
                      <a:pt x="445" y="264"/>
                    </a:lnTo>
                    <a:lnTo>
                      <a:pt x="445" y="264"/>
                    </a:lnTo>
                    <a:lnTo>
                      <a:pt x="451" y="264"/>
                    </a:lnTo>
                    <a:lnTo>
                      <a:pt x="458" y="266"/>
                    </a:lnTo>
                    <a:lnTo>
                      <a:pt x="470" y="270"/>
                    </a:lnTo>
                    <a:lnTo>
                      <a:pt x="480" y="274"/>
                    </a:lnTo>
                    <a:lnTo>
                      <a:pt x="487" y="275"/>
                    </a:lnTo>
                    <a:lnTo>
                      <a:pt x="494" y="276"/>
                    </a:lnTo>
                    <a:lnTo>
                      <a:pt x="494" y="276"/>
                    </a:lnTo>
                    <a:lnTo>
                      <a:pt x="503" y="275"/>
                    </a:lnTo>
                    <a:lnTo>
                      <a:pt x="506" y="272"/>
                    </a:lnTo>
                    <a:lnTo>
                      <a:pt x="509" y="271"/>
                    </a:lnTo>
                    <a:lnTo>
                      <a:pt x="511" y="269"/>
                    </a:lnTo>
                    <a:lnTo>
                      <a:pt x="513" y="266"/>
                    </a:lnTo>
                    <a:lnTo>
                      <a:pt x="516" y="260"/>
                    </a:lnTo>
                    <a:lnTo>
                      <a:pt x="516" y="252"/>
                    </a:lnTo>
                    <a:lnTo>
                      <a:pt x="516" y="243"/>
                    </a:lnTo>
                    <a:lnTo>
                      <a:pt x="514" y="224"/>
                    </a:lnTo>
                    <a:lnTo>
                      <a:pt x="514" y="224"/>
                    </a:lnTo>
                    <a:lnTo>
                      <a:pt x="514" y="179"/>
                    </a:lnTo>
                    <a:lnTo>
                      <a:pt x="514" y="179"/>
                    </a:lnTo>
                    <a:lnTo>
                      <a:pt x="516" y="172"/>
                    </a:lnTo>
                    <a:lnTo>
                      <a:pt x="517" y="167"/>
                    </a:lnTo>
                    <a:lnTo>
                      <a:pt x="519" y="161"/>
                    </a:lnTo>
                    <a:lnTo>
                      <a:pt x="521" y="156"/>
                    </a:lnTo>
                    <a:lnTo>
                      <a:pt x="529" y="148"/>
                    </a:lnTo>
                    <a:lnTo>
                      <a:pt x="537" y="140"/>
                    </a:lnTo>
                    <a:lnTo>
                      <a:pt x="545" y="132"/>
                    </a:lnTo>
                    <a:lnTo>
                      <a:pt x="552" y="123"/>
                    </a:lnTo>
                    <a:lnTo>
                      <a:pt x="555" y="117"/>
                    </a:lnTo>
                    <a:lnTo>
                      <a:pt x="557" y="111"/>
                    </a:lnTo>
                    <a:lnTo>
                      <a:pt x="558" y="104"/>
                    </a:lnTo>
                    <a:lnTo>
                      <a:pt x="559" y="95"/>
                    </a:lnTo>
                    <a:lnTo>
                      <a:pt x="559" y="95"/>
                    </a:lnTo>
                    <a:lnTo>
                      <a:pt x="558" y="86"/>
                    </a:lnTo>
                    <a:lnTo>
                      <a:pt x="556" y="78"/>
                    </a:lnTo>
                    <a:lnTo>
                      <a:pt x="552" y="70"/>
                    </a:lnTo>
                    <a:lnTo>
                      <a:pt x="548" y="63"/>
                    </a:lnTo>
                    <a:lnTo>
                      <a:pt x="541" y="48"/>
                    </a:lnTo>
                    <a:lnTo>
                      <a:pt x="539" y="41"/>
                    </a:lnTo>
                    <a:lnTo>
                      <a:pt x="537" y="33"/>
                    </a:lnTo>
                    <a:lnTo>
                      <a:pt x="537" y="33"/>
                    </a:lnTo>
                    <a:lnTo>
                      <a:pt x="531" y="29"/>
                    </a:lnTo>
                    <a:lnTo>
                      <a:pt x="525" y="26"/>
                    </a:lnTo>
                    <a:lnTo>
                      <a:pt x="518" y="25"/>
                    </a:lnTo>
                    <a:lnTo>
                      <a:pt x="518" y="25"/>
                    </a:lnTo>
                    <a:lnTo>
                      <a:pt x="518" y="2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1" name="Freeform 86"/>
              <p:cNvSpPr>
                <a:spLocks noChangeAspect="1"/>
              </p:cNvSpPr>
              <p:nvPr/>
            </p:nvSpPr>
            <p:spPr bwMode="auto">
              <a:xfrm>
                <a:off x="722081" y="3961099"/>
                <a:ext cx="242522" cy="281099"/>
              </a:xfrm>
              <a:custGeom>
                <a:avLst/>
                <a:gdLst/>
                <a:ahLst/>
                <a:cxnLst>
                  <a:cxn ang="0">
                    <a:pos x="204" y="393"/>
                  </a:cxn>
                  <a:cxn ang="0">
                    <a:pos x="214" y="366"/>
                  </a:cxn>
                  <a:cxn ang="0">
                    <a:pos x="241" y="337"/>
                  </a:cxn>
                  <a:cxn ang="0">
                    <a:pos x="267" y="310"/>
                  </a:cxn>
                  <a:cxn ang="0">
                    <a:pos x="279" y="285"/>
                  </a:cxn>
                  <a:cxn ang="0">
                    <a:pos x="279" y="269"/>
                  </a:cxn>
                  <a:cxn ang="0">
                    <a:pos x="273" y="253"/>
                  </a:cxn>
                  <a:cxn ang="0">
                    <a:pos x="276" y="248"/>
                  </a:cxn>
                  <a:cxn ang="0">
                    <a:pos x="296" y="229"/>
                  </a:cxn>
                  <a:cxn ang="0">
                    <a:pos x="296" y="223"/>
                  </a:cxn>
                  <a:cxn ang="0">
                    <a:pos x="273" y="202"/>
                  </a:cxn>
                  <a:cxn ang="0">
                    <a:pos x="274" y="195"/>
                  </a:cxn>
                  <a:cxn ang="0">
                    <a:pos x="287" y="184"/>
                  </a:cxn>
                  <a:cxn ang="0">
                    <a:pos x="286" y="175"/>
                  </a:cxn>
                  <a:cxn ang="0">
                    <a:pos x="283" y="165"/>
                  </a:cxn>
                  <a:cxn ang="0">
                    <a:pos x="297" y="140"/>
                  </a:cxn>
                  <a:cxn ang="0">
                    <a:pos x="289" y="117"/>
                  </a:cxn>
                  <a:cxn ang="0">
                    <a:pos x="239" y="103"/>
                  </a:cxn>
                  <a:cxn ang="0">
                    <a:pos x="166" y="81"/>
                  </a:cxn>
                  <a:cxn ang="0">
                    <a:pos x="157" y="77"/>
                  </a:cxn>
                  <a:cxn ang="0">
                    <a:pos x="140" y="50"/>
                  </a:cxn>
                  <a:cxn ang="0">
                    <a:pos x="125" y="30"/>
                  </a:cxn>
                  <a:cxn ang="0">
                    <a:pos x="111" y="26"/>
                  </a:cxn>
                  <a:cxn ang="0">
                    <a:pos x="85" y="26"/>
                  </a:cxn>
                  <a:cxn ang="0">
                    <a:pos x="71" y="20"/>
                  </a:cxn>
                  <a:cxn ang="0">
                    <a:pos x="59" y="4"/>
                  </a:cxn>
                  <a:cxn ang="0">
                    <a:pos x="51" y="4"/>
                  </a:cxn>
                  <a:cxn ang="0">
                    <a:pos x="42" y="20"/>
                  </a:cxn>
                  <a:cxn ang="0">
                    <a:pos x="34" y="40"/>
                  </a:cxn>
                  <a:cxn ang="0">
                    <a:pos x="26" y="49"/>
                  </a:cxn>
                  <a:cxn ang="0">
                    <a:pos x="5" y="65"/>
                  </a:cxn>
                  <a:cxn ang="0">
                    <a:pos x="0" y="77"/>
                  </a:cxn>
                  <a:cxn ang="0">
                    <a:pos x="3" y="93"/>
                  </a:cxn>
                  <a:cxn ang="0">
                    <a:pos x="11" y="102"/>
                  </a:cxn>
                  <a:cxn ang="0">
                    <a:pos x="36" y="112"/>
                  </a:cxn>
                  <a:cxn ang="0">
                    <a:pos x="45" y="127"/>
                  </a:cxn>
                  <a:cxn ang="0">
                    <a:pos x="49" y="153"/>
                  </a:cxn>
                  <a:cxn ang="0">
                    <a:pos x="53" y="173"/>
                  </a:cxn>
                  <a:cxn ang="0">
                    <a:pos x="66" y="184"/>
                  </a:cxn>
                  <a:cxn ang="0">
                    <a:pos x="105" y="194"/>
                  </a:cxn>
                  <a:cxn ang="0">
                    <a:pos x="119" y="203"/>
                  </a:cxn>
                  <a:cxn ang="0">
                    <a:pos x="121" y="209"/>
                  </a:cxn>
                  <a:cxn ang="0">
                    <a:pos x="120" y="262"/>
                  </a:cxn>
                  <a:cxn ang="0">
                    <a:pos x="120" y="285"/>
                  </a:cxn>
                  <a:cxn ang="0">
                    <a:pos x="126" y="298"/>
                  </a:cxn>
                  <a:cxn ang="0">
                    <a:pos x="138" y="309"/>
                  </a:cxn>
                  <a:cxn ang="0">
                    <a:pos x="155" y="314"/>
                  </a:cxn>
                  <a:cxn ang="0">
                    <a:pos x="163" y="323"/>
                  </a:cxn>
                  <a:cxn ang="0">
                    <a:pos x="203" y="405"/>
                  </a:cxn>
                </a:cxnLst>
                <a:rect l="0" t="0" r="r" b="b"/>
                <a:pathLst>
                  <a:path w="305" h="405">
                    <a:moveTo>
                      <a:pt x="203" y="405"/>
                    </a:moveTo>
                    <a:lnTo>
                      <a:pt x="203" y="405"/>
                    </a:lnTo>
                    <a:lnTo>
                      <a:pt x="204" y="393"/>
                    </a:lnTo>
                    <a:lnTo>
                      <a:pt x="206" y="383"/>
                    </a:lnTo>
                    <a:lnTo>
                      <a:pt x="210" y="374"/>
                    </a:lnTo>
                    <a:lnTo>
                      <a:pt x="214" y="366"/>
                    </a:lnTo>
                    <a:lnTo>
                      <a:pt x="220" y="358"/>
                    </a:lnTo>
                    <a:lnTo>
                      <a:pt x="227" y="351"/>
                    </a:lnTo>
                    <a:lnTo>
                      <a:pt x="241" y="337"/>
                    </a:lnTo>
                    <a:lnTo>
                      <a:pt x="256" y="324"/>
                    </a:lnTo>
                    <a:lnTo>
                      <a:pt x="262" y="317"/>
                    </a:lnTo>
                    <a:lnTo>
                      <a:pt x="267" y="310"/>
                    </a:lnTo>
                    <a:lnTo>
                      <a:pt x="273" y="302"/>
                    </a:lnTo>
                    <a:lnTo>
                      <a:pt x="276" y="294"/>
                    </a:lnTo>
                    <a:lnTo>
                      <a:pt x="279" y="285"/>
                    </a:lnTo>
                    <a:lnTo>
                      <a:pt x="280" y="276"/>
                    </a:lnTo>
                    <a:lnTo>
                      <a:pt x="280" y="276"/>
                    </a:lnTo>
                    <a:lnTo>
                      <a:pt x="279" y="269"/>
                    </a:lnTo>
                    <a:lnTo>
                      <a:pt x="276" y="263"/>
                    </a:lnTo>
                    <a:lnTo>
                      <a:pt x="274" y="259"/>
                    </a:lnTo>
                    <a:lnTo>
                      <a:pt x="273" y="253"/>
                    </a:lnTo>
                    <a:lnTo>
                      <a:pt x="273" y="253"/>
                    </a:lnTo>
                    <a:lnTo>
                      <a:pt x="273" y="251"/>
                    </a:lnTo>
                    <a:lnTo>
                      <a:pt x="276" y="248"/>
                    </a:lnTo>
                    <a:lnTo>
                      <a:pt x="283" y="241"/>
                    </a:lnTo>
                    <a:lnTo>
                      <a:pt x="293" y="233"/>
                    </a:lnTo>
                    <a:lnTo>
                      <a:pt x="296" y="229"/>
                    </a:lnTo>
                    <a:lnTo>
                      <a:pt x="298" y="224"/>
                    </a:lnTo>
                    <a:lnTo>
                      <a:pt x="298" y="224"/>
                    </a:lnTo>
                    <a:lnTo>
                      <a:pt x="296" y="223"/>
                    </a:lnTo>
                    <a:lnTo>
                      <a:pt x="293" y="221"/>
                    </a:lnTo>
                    <a:lnTo>
                      <a:pt x="283" y="213"/>
                    </a:lnTo>
                    <a:lnTo>
                      <a:pt x="273" y="202"/>
                    </a:lnTo>
                    <a:lnTo>
                      <a:pt x="273" y="202"/>
                    </a:lnTo>
                    <a:lnTo>
                      <a:pt x="273" y="199"/>
                    </a:lnTo>
                    <a:lnTo>
                      <a:pt x="274" y="195"/>
                    </a:lnTo>
                    <a:lnTo>
                      <a:pt x="278" y="192"/>
                    </a:lnTo>
                    <a:lnTo>
                      <a:pt x="282" y="188"/>
                    </a:lnTo>
                    <a:lnTo>
                      <a:pt x="287" y="184"/>
                    </a:lnTo>
                    <a:lnTo>
                      <a:pt x="287" y="184"/>
                    </a:lnTo>
                    <a:lnTo>
                      <a:pt x="287" y="179"/>
                    </a:lnTo>
                    <a:lnTo>
                      <a:pt x="286" y="175"/>
                    </a:lnTo>
                    <a:lnTo>
                      <a:pt x="283" y="170"/>
                    </a:lnTo>
                    <a:lnTo>
                      <a:pt x="283" y="165"/>
                    </a:lnTo>
                    <a:lnTo>
                      <a:pt x="283" y="165"/>
                    </a:lnTo>
                    <a:lnTo>
                      <a:pt x="285" y="161"/>
                    </a:lnTo>
                    <a:lnTo>
                      <a:pt x="290" y="152"/>
                    </a:lnTo>
                    <a:lnTo>
                      <a:pt x="297" y="140"/>
                    </a:lnTo>
                    <a:lnTo>
                      <a:pt x="305" y="125"/>
                    </a:lnTo>
                    <a:lnTo>
                      <a:pt x="305" y="125"/>
                    </a:lnTo>
                    <a:lnTo>
                      <a:pt x="289" y="117"/>
                    </a:lnTo>
                    <a:lnTo>
                      <a:pt x="272" y="111"/>
                    </a:lnTo>
                    <a:lnTo>
                      <a:pt x="256" y="107"/>
                    </a:lnTo>
                    <a:lnTo>
                      <a:pt x="239" y="103"/>
                    </a:lnTo>
                    <a:lnTo>
                      <a:pt x="203" y="94"/>
                    </a:lnTo>
                    <a:lnTo>
                      <a:pt x="184" y="88"/>
                    </a:lnTo>
                    <a:lnTo>
                      <a:pt x="166" y="81"/>
                    </a:lnTo>
                    <a:lnTo>
                      <a:pt x="166" y="81"/>
                    </a:lnTo>
                    <a:lnTo>
                      <a:pt x="161" y="79"/>
                    </a:lnTo>
                    <a:lnTo>
                      <a:pt x="157" y="77"/>
                    </a:lnTo>
                    <a:lnTo>
                      <a:pt x="151" y="69"/>
                    </a:lnTo>
                    <a:lnTo>
                      <a:pt x="145" y="60"/>
                    </a:lnTo>
                    <a:lnTo>
                      <a:pt x="140" y="50"/>
                    </a:lnTo>
                    <a:lnTo>
                      <a:pt x="135" y="41"/>
                    </a:lnTo>
                    <a:lnTo>
                      <a:pt x="128" y="33"/>
                    </a:lnTo>
                    <a:lnTo>
                      <a:pt x="125" y="30"/>
                    </a:lnTo>
                    <a:lnTo>
                      <a:pt x="121" y="27"/>
                    </a:lnTo>
                    <a:lnTo>
                      <a:pt x="117" y="26"/>
                    </a:lnTo>
                    <a:lnTo>
                      <a:pt x="111" y="26"/>
                    </a:lnTo>
                    <a:lnTo>
                      <a:pt x="111" y="26"/>
                    </a:lnTo>
                    <a:lnTo>
                      <a:pt x="85" y="26"/>
                    </a:lnTo>
                    <a:lnTo>
                      <a:pt x="85" y="26"/>
                    </a:lnTo>
                    <a:lnTo>
                      <a:pt x="79" y="25"/>
                    </a:lnTo>
                    <a:lnTo>
                      <a:pt x="74" y="23"/>
                    </a:lnTo>
                    <a:lnTo>
                      <a:pt x="71" y="20"/>
                    </a:lnTo>
                    <a:lnTo>
                      <a:pt x="68" y="17"/>
                    </a:lnTo>
                    <a:lnTo>
                      <a:pt x="62" y="9"/>
                    </a:lnTo>
                    <a:lnTo>
                      <a:pt x="59" y="4"/>
                    </a:lnTo>
                    <a:lnTo>
                      <a:pt x="56" y="0"/>
                    </a:lnTo>
                    <a:lnTo>
                      <a:pt x="56" y="0"/>
                    </a:lnTo>
                    <a:lnTo>
                      <a:pt x="51" y="4"/>
                    </a:lnTo>
                    <a:lnTo>
                      <a:pt x="48" y="9"/>
                    </a:lnTo>
                    <a:lnTo>
                      <a:pt x="44" y="15"/>
                    </a:lnTo>
                    <a:lnTo>
                      <a:pt x="42" y="20"/>
                    </a:lnTo>
                    <a:lnTo>
                      <a:pt x="38" y="31"/>
                    </a:lnTo>
                    <a:lnTo>
                      <a:pt x="36" y="35"/>
                    </a:lnTo>
                    <a:lnTo>
                      <a:pt x="34" y="40"/>
                    </a:lnTo>
                    <a:lnTo>
                      <a:pt x="34" y="40"/>
                    </a:lnTo>
                    <a:lnTo>
                      <a:pt x="30" y="46"/>
                    </a:lnTo>
                    <a:lnTo>
                      <a:pt x="26" y="49"/>
                    </a:lnTo>
                    <a:lnTo>
                      <a:pt x="14" y="57"/>
                    </a:lnTo>
                    <a:lnTo>
                      <a:pt x="8" y="61"/>
                    </a:lnTo>
                    <a:lnTo>
                      <a:pt x="5" y="65"/>
                    </a:lnTo>
                    <a:lnTo>
                      <a:pt x="1" y="71"/>
                    </a:lnTo>
                    <a:lnTo>
                      <a:pt x="0" y="77"/>
                    </a:lnTo>
                    <a:lnTo>
                      <a:pt x="0" y="77"/>
                    </a:lnTo>
                    <a:lnTo>
                      <a:pt x="0" y="84"/>
                    </a:lnTo>
                    <a:lnTo>
                      <a:pt x="1" y="88"/>
                    </a:lnTo>
                    <a:lnTo>
                      <a:pt x="3" y="93"/>
                    </a:lnTo>
                    <a:lnTo>
                      <a:pt x="5" y="96"/>
                    </a:lnTo>
                    <a:lnTo>
                      <a:pt x="7" y="100"/>
                    </a:lnTo>
                    <a:lnTo>
                      <a:pt x="11" y="102"/>
                    </a:lnTo>
                    <a:lnTo>
                      <a:pt x="16" y="106"/>
                    </a:lnTo>
                    <a:lnTo>
                      <a:pt x="30" y="110"/>
                    </a:lnTo>
                    <a:lnTo>
                      <a:pt x="36" y="112"/>
                    </a:lnTo>
                    <a:lnTo>
                      <a:pt x="41" y="117"/>
                    </a:lnTo>
                    <a:lnTo>
                      <a:pt x="41" y="117"/>
                    </a:lnTo>
                    <a:lnTo>
                      <a:pt x="45" y="127"/>
                    </a:lnTo>
                    <a:lnTo>
                      <a:pt x="48" y="135"/>
                    </a:lnTo>
                    <a:lnTo>
                      <a:pt x="49" y="145"/>
                    </a:lnTo>
                    <a:lnTo>
                      <a:pt x="49" y="153"/>
                    </a:lnTo>
                    <a:lnTo>
                      <a:pt x="50" y="161"/>
                    </a:lnTo>
                    <a:lnTo>
                      <a:pt x="51" y="168"/>
                    </a:lnTo>
                    <a:lnTo>
                      <a:pt x="53" y="173"/>
                    </a:lnTo>
                    <a:lnTo>
                      <a:pt x="59" y="179"/>
                    </a:lnTo>
                    <a:lnTo>
                      <a:pt x="59" y="179"/>
                    </a:lnTo>
                    <a:lnTo>
                      <a:pt x="66" y="184"/>
                    </a:lnTo>
                    <a:lnTo>
                      <a:pt x="75" y="186"/>
                    </a:lnTo>
                    <a:lnTo>
                      <a:pt x="96" y="192"/>
                    </a:lnTo>
                    <a:lnTo>
                      <a:pt x="105" y="194"/>
                    </a:lnTo>
                    <a:lnTo>
                      <a:pt x="114" y="199"/>
                    </a:lnTo>
                    <a:lnTo>
                      <a:pt x="117" y="201"/>
                    </a:lnTo>
                    <a:lnTo>
                      <a:pt x="119" y="203"/>
                    </a:lnTo>
                    <a:lnTo>
                      <a:pt x="121" y="206"/>
                    </a:lnTo>
                    <a:lnTo>
                      <a:pt x="121" y="209"/>
                    </a:lnTo>
                    <a:lnTo>
                      <a:pt x="121" y="209"/>
                    </a:lnTo>
                    <a:lnTo>
                      <a:pt x="121" y="249"/>
                    </a:lnTo>
                    <a:lnTo>
                      <a:pt x="121" y="249"/>
                    </a:lnTo>
                    <a:lnTo>
                      <a:pt x="120" y="262"/>
                    </a:lnTo>
                    <a:lnTo>
                      <a:pt x="119" y="274"/>
                    </a:lnTo>
                    <a:lnTo>
                      <a:pt x="119" y="279"/>
                    </a:lnTo>
                    <a:lnTo>
                      <a:pt x="120" y="285"/>
                    </a:lnTo>
                    <a:lnTo>
                      <a:pt x="122" y="291"/>
                    </a:lnTo>
                    <a:lnTo>
                      <a:pt x="126" y="298"/>
                    </a:lnTo>
                    <a:lnTo>
                      <a:pt x="126" y="298"/>
                    </a:lnTo>
                    <a:lnTo>
                      <a:pt x="129" y="303"/>
                    </a:lnTo>
                    <a:lnTo>
                      <a:pt x="134" y="307"/>
                    </a:lnTo>
                    <a:lnTo>
                      <a:pt x="138" y="309"/>
                    </a:lnTo>
                    <a:lnTo>
                      <a:pt x="144" y="310"/>
                    </a:lnTo>
                    <a:lnTo>
                      <a:pt x="149" y="312"/>
                    </a:lnTo>
                    <a:lnTo>
                      <a:pt x="155" y="314"/>
                    </a:lnTo>
                    <a:lnTo>
                      <a:pt x="159" y="317"/>
                    </a:lnTo>
                    <a:lnTo>
                      <a:pt x="163" y="323"/>
                    </a:lnTo>
                    <a:lnTo>
                      <a:pt x="163" y="323"/>
                    </a:lnTo>
                    <a:lnTo>
                      <a:pt x="203" y="405"/>
                    </a:lnTo>
                    <a:lnTo>
                      <a:pt x="203" y="405"/>
                    </a:lnTo>
                    <a:lnTo>
                      <a:pt x="203" y="40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2" name="Freeform 87"/>
              <p:cNvSpPr>
                <a:spLocks noChangeAspect="1"/>
              </p:cNvSpPr>
              <p:nvPr/>
            </p:nvSpPr>
            <p:spPr bwMode="auto">
              <a:xfrm>
                <a:off x="2679690" y="2882623"/>
                <a:ext cx="98277" cy="73753"/>
              </a:xfrm>
              <a:custGeom>
                <a:avLst/>
                <a:gdLst/>
                <a:ahLst/>
                <a:cxnLst>
                  <a:cxn ang="0">
                    <a:pos x="106" y="55"/>
                  </a:cxn>
                  <a:cxn ang="0">
                    <a:pos x="106" y="55"/>
                  </a:cxn>
                  <a:cxn ang="0">
                    <a:pos x="104" y="54"/>
                  </a:cxn>
                  <a:cxn ang="0">
                    <a:pos x="102" y="53"/>
                  </a:cxn>
                  <a:cxn ang="0">
                    <a:pos x="99" y="47"/>
                  </a:cxn>
                  <a:cxn ang="0">
                    <a:pos x="89" y="30"/>
                  </a:cxn>
                  <a:cxn ang="0">
                    <a:pos x="77" y="0"/>
                  </a:cxn>
                  <a:cxn ang="0">
                    <a:pos x="77" y="0"/>
                  </a:cxn>
                  <a:cxn ang="0">
                    <a:pos x="63" y="2"/>
                  </a:cxn>
                  <a:cxn ang="0">
                    <a:pos x="50" y="7"/>
                  </a:cxn>
                  <a:cxn ang="0">
                    <a:pos x="38" y="12"/>
                  </a:cxn>
                  <a:cxn ang="0">
                    <a:pos x="25" y="20"/>
                  </a:cxn>
                  <a:cxn ang="0">
                    <a:pos x="20" y="25"/>
                  </a:cxn>
                  <a:cxn ang="0">
                    <a:pos x="15" y="30"/>
                  </a:cxn>
                  <a:cxn ang="0">
                    <a:pos x="10" y="35"/>
                  </a:cxn>
                  <a:cxn ang="0">
                    <a:pos x="7" y="42"/>
                  </a:cxn>
                  <a:cxn ang="0">
                    <a:pos x="3" y="49"/>
                  </a:cxn>
                  <a:cxn ang="0">
                    <a:pos x="1" y="56"/>
                  </a:cxn>
                  <a:cxn ang="0">
                    <a:pos x="0" y="64"/>
                  </a:cxn>
                  <a:cxn ang="0">
                    <a:pos x="0" y="73"/>
                  </a:cxn>
                  <a:cxn ang="0">
                    <a:pos x="0" y="73"/>
                  </a:cxn>
                  <a:cxn ang="0">
                    <a:pos x="0" y="87"/>
                  </a:cxn>
                  <a:cxn ang="0">
                    <a:pos x="0" y="93"/>
                  </a:cxn>
                  <a:cxn ang="0">
                    <a:pos x="2" y="97"/>
                  </a:cxn>
                  <a:cxn ang="0">
                    <a:pos x="3" y="102"/>
                  </a:cxn>
                  <a:cxn ang="0">
                    <a:pos x="7" y="104"/>
                  </a:cxn>
                  <a:cxn ang="0">
                    <a:pos x="11" y="106"/>
                  </a:cxn>
                  <a:cxn ang="0">
                    <a:pos x="17" y="107"/>
                  </a:cxn>
                  <a:cxn ang="0">
                    <a:pos x="17" y="107"/>
                  </a:cxn>
                  <a:cxn ang="0">
                    <a:pos x="25" y="106"/>
                  </a:cxn>
                  <a:cxn ang="0">
                    <a:pos x="32" y="104"/>
                  </a:cxn>
                  <a:cxn ang="0">
                    <a:pos x="45" y="101"/>
                  </a:cxn>
                  <a:cxn ang="0">
                    <a:pos x="55" y="96"/>
                  </a:cxn>
                  <a:cxn ang="0">
                    <a:pos x="60" y="95"/>
                  </a:cxn>
                  <a:cxn ang="0">
                    <a:pos x="65" y="95"/>
                  </a:cxn>
                  <a:cxn ang="0">
                    <a:pos x="65" y="95"/>
                  </a:cxn>
                  <a:cxn ang="0">
                    <a:pos x="106" y="95"/>
                  </a:cxn>
                  <a:cxn ang="0">
                    <a:pos x="106" y="95"/>
                  </a:cxn>
                  <a:cxn ang="0">
                    <a:pos x="110" y="95"/>
                  </a:cxn>
                  <a:cxn ang="0">
                    <a:pos x="116" y="93"/>
                  </a:cxn>
                  <a:cxn ang="0">
                    <a:pos x="119" y="92"/>
                  </a:cxn>
                  <a:cxn ang="0">
                    <a:pos x="122" y="89"/>
                  </a:cxn>
                  <a:cxn ang="0">
                    <a:pos x="123" y="85"/>
                  </a:cxn>
                  <a:cxn ang="0">
                    <a:pos x="124" y="80"/>
                  </a:cxn>
                  <a:cxn ang="0">
                    <a:pos x="124" y="80"/>
                  </a:cxn>
                  <a:cxn ang="0">
                    <a:pos x="124" y="76"/>
                  </a:cxn>
                  <a:cxn ang="0">
                    <a:pos x="122" y="72"/>
                  </a:cxn>
                  <a:cxn ang="0">
                    <a:pos x="118" y="63"/>
                  </a:cxn>
                  <a:cxn ang="0">
                    <a:pos x="111" y="57"/>
                  </a:cxn>
                  <a:cxn ang="0">
                    <a:pos x="109" y="55"/>
                  </a:cxn>
                  <a:cxn ang="0">
                    <a:pos x="106" y="55"/>
                  </a:cxn>
                  <a:cxn ang="0">
                    <a:pos x="106" y="55"/>
                  </a:cxn>
                  <a:cxn ang="0">
                    <a:pos x="106" y="55"/>
                  </a:cxn>
                </a:cxnLst>
                <a:rect l="0" t="0" r="r" b="b"/>
                <a:pathLst>
                  <a:path w="124" h="107">
                    <a:moveTo>
                      <a:pt x="106" y="55"/>
                    </a:moveTo>
                    <a:lnTo>
                      <a:pt x="106" y="55"/>
                    </a:lnTo>
                    <a:lnTo>
                      <a:pt x="104" y="54"/>
                    </a:lnTo>
                    <a:lnTo>
                      <a:pt x="102" y="53"/>
                    </a:lnTo>
                    <a:lnTo>
                      <a:pt x="99" y="47"/>
                    </a:lnTo>
                    <a:lnTo>
                      <a:pt x="89" y="30"/>
                    </a:lnTo>
                    <a:lnTo>
                      <a:pt x="77" y="0"/>
                    </a:lnTo>
                    <a:lnTo>
                      <a:pt x="77" y="0"/>
                    </a:lnTo>
                    <a:lnTo>
                      <a:pt x="63" y="2"/>
                    </a:lnTo>
                    <a:lnTo>
                      <a:pt x="50" y="7"/>
                    </a:lnTo>
                    <a:lnTo>
                      <a:pt x="38" y="12"/>
                    </a:lnTo>
                    <a:lnTo>
                      <a:pt x="25" y="20"/>
                    </a:lnTo>
                    <a:lnTo>
                      <a:pt x="20" y="25"/>
                    </a:lnTo>
                    <a:lnTo>
                      <a:pt x="15" y="30"/>
                    </a:lnTo>
                    <a:lnTo>
                      <a:pt x="10" y="35"/>
                    </a:lnTo>
                    <a:lnTo>
                      <a:pt x="7" y="42"/>
                    </a:lnTo>
                    <a:lnTo>
                      <a:pt x="3" y="49"/>
                    </a:lnTo>
                    <a:lnTo>
                      <a:pt x="1" y="56"/>
                    </a:lnTo>
                    <a:lnTo>
                      <a:pt x="0" y="64"/>
                    </a:lnTo>
                    <a:lnTo>
                      <a:pt x="0" y="73"/>
                    </a:lnTo>
                    <a:lnTo>
                      <a:pt x="0" y="73"/>
                    </a:lnTo>
                    <a:lnTo>
                      <a:pt x="0" y="87"/>
                    </a:lnTo>
                    <a:lnTo>
                      <a:pt x="0" y="93"/>
                    </a:lnTo>
                    <a:lnTo>
                      <a:pt x="2" y="97"/>
                    </a:lnTo>
                    <a:lnTo>
                      <a:pt x="3" y="102"/>
                    </a:lnTo>
                    <a:lnTo>
                      <a:pt x="7" y="104"/>
                    </a:lnTo>
                    <a:lnTo>
                      <a:pt x="11" y="106"/>
                    </a:lnTo>
                    <a:lnTo>
                      <a:pt x="17" y="107"/>
                    </a:lnTo>
                    <a:lnTo>
                      <a:pt x="17" y="107"/>
                    </a:lnTo>
                    <a:lnTo>
                      <a:pt x="25" y="106"/>
                    </a:lnTo>
                    <a:lnTo>
                      <a:pt x="32" y="104"/>
                    </a:lnTo>
                    <a:lnTo>
                      <a:pt x="45" y="101"/>
                    </a:lnTo>
                    <a:lnTo>
                      <a:pt x="55" y="96"/>
                    </a:lnTo>
                    <a:lnTo>
                      <a:pt x="60" y="95"/>
                    </a:lnTo>
                    <a:lnTo>
                      <a:pt x="65" y="95"/>
                    </a:lnTo>
                    <a:lnTo>
                      <a:pt x="65" y="95"/>
                    </a:lnTo>
                    <a:lnTo>
                      <a:pt x="106" y="95"/>
                    </a:lnTo>
                    <a:lnTo>
                      <a:pt x="106" y="95"/>
                    </a:lnTo>
                    <a:lnTo>
                      <a:pt x="110" y="95"/>
                    </a:lnTo>
                    <a:lnTo>
                      <a:pt x="116" y="93"/>
                    </a:lnTo>
                    <a:lnTo>
                      <a:pt x="119" y="92"/>
                    </a:lnTo>
                    <a:lnTo>
                      <a:pt x="122" y="89"/>
                    </a:lnTo>
                    <a:lnTo>
                      <a:pt x="123" y="85"/>
                    </a:lnTo>
                    <a:lnTo>
                      <a:pt x="124" y="80"/>
                    </a:lnTo>
                    <a:lnTo>
                      <a:pt x="124" y="80"/>
                    </a:lnTo>
                    <a:lnTo>
                      <a:pt x="124" y="76"/>
                    </a:lnTo>
                    <a:lnTo>
                      <a:pt x="122" y="72"/>
                    </a:lnTo>
                    <a:lnTo>
                      <a:pt x="118" y="63"/>
                    </a:lnTo>
                    <a:lnTo>
                      <a:pt x="111" y="57"/>
                    </a:lnTo>
                    <a:lnTo>
                      <a:pt x="109" y="55"/>
                    </a:lnTo>
                    <a:lnTo>
                      <a:pt x="106" y="55"/>
                    </a:lnTo>
                    <a:lnTo>
                      <a:pt x="106" y="55"/>
                    </a:lnTo>
                    <a:lnTo>
                      <a:pt x="106" y="5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3" name="Freeform 88"/>
              <p:cNvSpPr>
                <a:spLocks noChangeAspect="1"/>
              </p:cNvSpPr>
              <p:nvPr/>
            </p:nvSpPr>
            <p:spPr bwMode="auto">
              <a:xfrm>
                <a:off x="1811050" y="3597896"/>
                <a:ext cx="553202" cy="570548"/>
              </a:xfrm>
              <a:custGeom>
                <a:avLst/>
                <a:gdLst/>
                <a:ahLst/>
                <a:cxnLst>
                  <a:cxn ang="0">
                    <a:pos x="638" y="327"/>
                  </a:cxn>
                  <a:cxn ang="0">
                    <a:pos x="687" y="359"/>
                  </a:cxn>
                  <a:cxn ang="0">
                    <a:pos x="698" y="395"/>
                  </a:cxn>
                  <a:cxn ang="0">
                    <a:pos x="660" y="435"/>
                  </a:cxn>
                  <a:cxn ang="0">
                    <a:pos x="623" y="477"/>
                  </a:cxn>
                  <a:cxn ang="0">
                    <a:pos x="618" y="565"/>
                  </a:cxn>
                  <a:cxn ang="0">
                    <a:pos x="592" y="585"/>
                  </a:cxn>
                  <a:cxn ang="0">
                    <a:pos x="554" y="588"/>
                  </a:cxn>
                  <a:cxn ang="0">
                    <a:pos x="459" y="533"/>
                  </a:cxn>
                  <a:cxn ang="0">
                    <a:pos x="428" y="557"/>
                  </a:cxn>
                  <a:cxn ang="0">
                    <a:pos x="395" y="630"/>
                  </a:cxn>
                  <a:cxn ang="0">
                    <a:pos x="363" y="637"/>
                  </a:cxn>
                  <a:cxn ang="0">
                    <a:pos x="345" y="624"/>
                  </a:cxn>
                  <a:cxn ang="0">
                    <a:pos x="317" y="639"/>
                  </a:cxn>
                  <a:cxn ang="0">
                    <a:pos x="307" y="698"/>
                  </a:cxn>
                  <a:cxn ang="0">
                    <a:pos x="287" y="729"/>
                  </a:cxn>
                  <a:cxn ang="0">
                    <a:pos x="259" y="761"/>
                  </a:cxn>
                  <a:cxn ang="0">
                    <a:pos x="259" y="807"/>
                  </a:cxn>
                  <a:cxn ang="0">
                    <a:pos x="237" y="801"/>
                  </a:cxn>
                  <a:cxn ang="0">
                    <a:pos x="195" y="701"/>
                  </a:cxn>
                  <a:cxn ang="0">
                    <a:pos x="211" y="674"/>
                  </a:cxn>
                  <a:cxn ang="0">
                    <a:pos x="206" y="647"/>
                  </a:cxn>
                  <a:cxn ang="0">
                    <a:pos x="198" y="607"/>
                  </a:cxn>
                  <a:cxn ang="0">
                    <a:pos x="182" y="591"/>
                  </a:cxn>
                  <a:cxn ang="0">
                    <a:pos x="163" y="570"/>
                  </a:cxn>
                  <a:cxn ang="0">
                    <a:pos x="146" y="554"/>
                  </a:cxn>
                  <a:cxn ang="0">
                    <a:pos x="119" y="539"/>
                  </a:cxn>
                  <a:cxn ang="0">
                    <a:pos x="67" y="531"/>
                  </a:cxn>
                  <a:cxn ang="0">
                    <a:pos x="27" y="507"/>
                  </a:cxn>
                  <a:cxn ang="0">
                    <a:pos x="1" y="485"/>
                  </a:cxn>
                  <a:cxn ang="0">
                    <a:pos x="20" y="447"/>
                  </a:cxn>
                  <a:cxn ang="0">
                    <a:pos x="59" y="426"/>
                  </a:cxn>
                  <a:cxn ang="0">
                    <a:pos x="92" y="441"/>
                  </a:cxn>
                  <a:cxn ang="0">
                    <a:pos x="122" y="426"/>
                  </a:cxn>
                  <a:cxn ang="0">
                    <a:pos x="136" y="404"/>
                  </a:cxn>
                  <a:cxn ang="0">
                    <a:pos x="74" y="324"/>
                  </a:cxn>
                  <a:cxn ang="0">
                    <a:pos x="99" y="302"/>
                  </a:cxn>
                  <a:cxn ang="0">
                    <a:pos x="118" y="280"/>
                  </a:cxn>
                  <a:cxn ang="0">
                    <a:pos x="202" y="282"/>
                  </a:cxn>
                  <a:cxn ang="0">
                    <a:pos x="233" y="257"/>
                  </a:cxn>
                  <a:cxn ang="0">
                    <a:pos x="257" y="140"/>
                  </a:cxn>
                  <a:cxn ang="0">
                    <a:pos x="328" y="20"/>
                  </a:cxn>
                  <a:cxn ang="0">
                    <a:pos x="357" y="8"/>
                  </a:cxn>
                  <a:cxn ang="0">
                    <a:pos x="396" y="5"/>
                  </a:cxn>
                  <a:cxn ang="0">
                    <a:pos x="412" y="28"/>
                  </a:cxn>
                  <a:cxn ang="0">
                    <a:pos x="419" y="74"/>
                  </a:cxn>
                  <a:cxn ang="0">
                    <a:pos x="380" y="170"/>
                  </a:cxn>
                  <a:cxn ang="0">
                    <a:pos x="356" y="199"/>
                  </a:cxn>
                  <a:cxn ang="0">
                    <a:pos x="352" y="226"/>
                  </a:cxn>
                  <a:cxn ang="0">
                    <a:pos x="357" y="283"/>
                  </a:cxn>
                  <a:cxn ang="0">
                    <a:pos x="370" y="304"/>
                  </a:cxn>
                  <a:cxn ang="0">
                    <a:pos x="389" y="334"/>
                  </a:cxn>
                  <a:cxn ang="0">
                    <a:pos x="415" y="321"/>
                  </a:cxn>
                  <a:cxn ang="0">
                    <a:pos x="454" y="292"/>
                  </a:cxn>
                  <a:cxn ang="0">
                    <a:pos x="504" y="297"/>
                  </a:cxn>
                  <a:cxn ang="0">
                    <a:pos x="540" y="287"/>
                  </a:cxn>
                  <a:cxn ang="0">
                    <a:pos x="550" y="317"/>
                  </a:cxn>
                  <a:cxn ang="0">
                    <a:pos x="577" y="313"/>
                  </a:cxn>
                  <a:cxn ang="0">
                    <a:pos x="607" y="297"/>
                  </a:cxn>
                </a:cxnLst>
                <a:rect l="0" t="0" r="r" b="b"/>
                <a:pathLst>
                  <a:path w="699" h="820">
                    <a:moveTo>
                      <a:pt x="625" y="297"/>
                    </a:moveTo>
                    <a:lnTo>
                      <a:pt x="625" y="297"/>
                    </a:lnTo>
                    <a:lnTo>
                      <a:pt x="626" y="307"/>
                    </a:lnTo>
                    <a:lnTo>
                      <a:pt x="629" y="315"/>
                    </a:lnTo>
                    <a:lnTo>
                      <a:pt x="633" y="321"/>
                    </a:lnTo>
                    <a:lnTo>
                      <a:pt x="638" y="327"/>
                    </a:lnTo>
                    <a:lnTo>
                      <a:pt x="643" y="332"/>
                    </a:lnTo>
                    <a:lnTo>
                      <a:pt x="649" y="336"/>
                    </a:lnTo>
                    <a:lnTo>
                      <a:pt x="663" y="343"/>
                    </a:lnTo>
                    <a:lnTo>
                      <a:pt x="676" y="350"/>
                    </a:lnTo>
                    <a:lnTo>
                      <a:pt x="681" y="355"/>
                    </a:lnTo>
                    <a:lnTo>
                      <a:pt x="687" y="359"/>
                    </a:lnTo>
                    <a:lnTo>
                      <a:pt x="692" y="364"/>
                    </a:lnTo>
                    <a:lnTo>
                      <a:pt x="695" y="371"/>
                    </a:lnTo>
                    <a:lnTo>
                      <a:pt x="698" y="378"/>
                    </a:lnTo>
                    <a:lnTo>
                      <a:pt x="699" y="386"/>
                    </a:lnTo>
                    <a:lnTo>
                      <a:pt x="699" y="386"/>
                    </a:lnTo>
                    <a:lnTo>
                      <a:pt x="698" y="395"/>
                    </a:lnTo>
                    <a:lnTo>
                      <a:pt x="695" y="403"/>
                    </a:lnTo>
                    <a:lnTo>
                      <a:pt x="692" y="410"/>
                    </a:lnTo>
                    <a:lnTo>
                      <a:pt x="686" y="416"/>
                    </a:lnTo>
                    <a:lnTo>
                      <a:pt x="680" y="422"/>
                    </a:lnTo>
                    <a:lnTo>
                      <a:pt x="675" y="426"/>
                    </a:lnTo>
                    <a:lnTo>
                      <a:pt x="660" y="435"/>
                    </a:lnTo>
                    <a:lnTo>
                      <a:pt x="646" y="445"/>
                    </a:lnTo>
                    <a:lnTo>
                      <a:pt x="639" y="450"/>
                    </a:lnTo>
                    <a:lnTo>
                      <a:pt x="633" y="455"/>
                    </a:lnTo>
                    <a:lnTo>
                      <a:pt x="629" y="462"/>
                    </a:lnTo>
                    <a:lnTo>
                      <a:pt x="625" y="469"/>
                    </a:lnTo>
                    <a:lnTo>
                      <a:pt x="623" y="477"/>
                    </a:lnTo>
                    <a:lnTo>
                      <a:pt x="622" y="485"/>
                    </a:lnTo>
                    <a:lnTo>
                      <a:pt x="622" y="485"/>
                    </a:lnTo>
                    <a:lnTo>
                      <a:pt x="622" y="559"/>
                    </a:lnTo>
                    <a:lnTo>
                      <a:pt x="622" y="559"/>
                    </a:lnTo>
                    <a:lnTo>
                      <a:pt x="618" y="565"/>
                    </a:lnTo>
                    <a:lnTo>
                      <a:pt x="618" y="565"/>
                    </a:lnTo>
                    <a:lnTo>
                      <a:pt x="618" y="565"/>
                    </a:lnTo>
                    <a:lnTo>
                      <a:pt x="612" y="568"/>
                    </a:lnTo>
                    <a:lnTo>
                      <a:pt x="607" y="571"/>
                    </a:lnTo>
                    <a:lnTo>
                      <a:pt x="602" y="575"/>
                    </a:lnTo>
                    <a:lnTo>
                      <a:pt x="596" y="579"/>
                    </a:lnTo>
                    <a:lnTo>
                      <a:pt x="592" y="585"/>
                    </a:lnTo>
                    <a:lnTo>
                      <a:pt x="588" y="592"/>
                    </a:lnTo>
                    <a:lnTo>
                      <a:pt x="584" y="599"/>
                    </a:lnTo>
                    <a:lnTo>
                      <a:pt x="580" y="607"/>
                    </a:lnTo>
                    <a:lnTo>
                      <a:pt x="580" y="607"/>
                    </a:lnTo>
                    <a:lnTo>
                      <a:pt x="569" y="599"/>
                    </a:lnTo>
                    <a:lnTo>
                      <a:pt x="554" y="588"/>
                    </a:lnTo>
                    <a:lnTo>
                      <a:pt x="520" y="564"/>
                    </a:lnTo>
                    <a:lnTo>
                      <a:pt x="503" y="553"/>
                    </a:lnTo>
                    <a:lnTo>
                      <a:pt x="487" y="542"/>
                    </a:lnTo>
                    <a:lnTo>
                      <a:pt x="472" y="535"/>
                    </a:lnTo>
                    <a:lnTo>
                      <a:pt x="465" y="533"/>
                    </a:lnTo>
                    <a:lnTo>
                      <a:pt x="459" y="533"/>
                    </a:lnTo>
                    <a:lnTo>
                      <a:pt x="459" y="533"/>
                    </a:lnTo>
                    <a:lnTo>
                      <a:pt x="451" y="534"/>
                    </a:lnTo>
                    <a:lnTo>
                      <a:pt x="444" y="538"/>
                    </a:lnTo>
                    <a:lnTo>
                      <a:pt x="439" y="542"/>
                    </a:lnTo>
                    <a:lnTo>
                      <a:pt x="433" y="549"/>
                    </a:lnTo>
                    <a:lnTo>
                      <a:pt x="428" y="557"/>
                    </a:lnTo>
                    <a:lnTo>
                      <a:pt x="425" y="567"/>
                    </a:lnTo>
                    <a:lnTo>
                      <a:pt x="417" y="586"/>
                    </a:lnTo>
                    <a:lnTo>
                      <a:pt x="409" y="606"/>
                    </a:lnTo>
                    <a:lnTo>
                      <a:pt x="405" y="615"/>
                    </a:lnTo>
                    <a:lnTo>
                      <a:pt x="400" y="623"/>
                    </a:lnTo>
                    <a:lnTo>
                      <a:pt x="395" y="630"/>
                    </a:lnTo>
                    <a:lnTo>
                      <a:pt x="388" y="634"/>
                    </a:lnTo>
                    <a:lnTo>
                      <a:pt x="380" y="638"/>
                    </a:lnTo>
                    <a:lnTo>
                      <a:pt x="372" y="639"/>
                    </a:lnTo>
                    <a:lnTo>
                      <a:pt x="372" y="639"/>
                    </a:lnTo>
                    <a:lnTo>
                      <a:pt x="366" y="639"/>
                    </a:lnTo>
                    <a:lnTo>
                      <a:pt x="363" y="637"/>
                    </a:lnTo>
                    <a:lnTo>
                      <a:pt x="360" y="634"/>
                    </a:lnTo>
                    <a:lnTo>
                      <a:pt x="358" y="632"/>
                    </a:lnTo>
                    <a:lnTo>
                      <a:pt x="356" y="630"/>
                    </a:lnTo>
                    <a:lnTo>
                      <a:pt x="354" y="626"/>
                    </a:lnTo>
                    <a:lnTo>
                      <a:pt x="350" y="625"/>
                    </a:lnTo>
                    <a:lnTo>
                      <a:pt x="345" y="624"/>
                    </a:lnTo>
                    <a:lnTo>
                      <a:pt x="345" y="624"/>
                    </a:lnTo>
                    <a:lnTo>
                      <a:pt x="340" y="626"/>
                    </a:lnTo>
                    <a:lnTo>
                      <a:pt x="329" y="631"/>
                    </a:lnTo>
                    <a:lnTo>
                      <a:pt x="320" y="636"/>
                    </a:lnTo>
                    <a:lnTo>
                      <a:pt x="318" y="638"/>
                    </a:lnTo>
                    <a:lnTo>
                      <a:pt x="317" y="639"/>
                    </a:lnTo>
                    <a:lnTo>
                      <a:pt x="317" y="639"/>
                    </a:lnTo>
                    <a:lnTo>
                      <a:pt x="314" y="646"/>
                    </a:lnTo>
                    <a:lnTo>
                      <a:pt x="312" y="653"/>
                    </a:lnTo>
                    <a:lnTo>
                      <a:pt x="311" y="670"/>
                    </a:lnTo>
                    <a:lnTo>
                      <a:pt x="310" y="689"/>
                    </a:lnTo>
                    <a:lnTo>
                      <a:pt x="307" y="698"/>
                    </a:lnTo>
                    <a:lnTo>
                      <a:pt x="305" y="706"/>
                    </a:lnTo>
                    <a:lnTo>
                      <a:pt x="305" y="706"/>
                    </a:lnTo>
                    <a:lnTo>
                      <a:pt x="304" y="712"/>
                    </a:lnTo>
                    <a:lnTo>
                      <a:pt x="302" y="715"/>
                    </a:lnTo>
                    <a:lnTo>
                      <a:pt x="295" y="723"/>
                    </a:lnTo>
                    <a:lnTo>
                      <a:pt x="287" y="729"/>
                    </a:lnTo>
                    <a:lnTo>
                      <a:pt x="279" y="735"/>
                    </a:lnTo>
                    <a:lnTo>
                      <a:pt x="271" y="741"/>
                    </a:lnTo>
                    <a:lnTo>
                      <a:pt x="267" y="745"/>
                    </a:lnTo>
                    <a:lnTo>
                      <a:pt x="264" y="750"/>
                    </a:lnTo>
                    <a:lnTo>
                      <a:pt x="261" y="755"/>
                    </a:lnTo>
                    <a:lnTo>
                      <a:pt x="259" y="761"/>
                    </a:lnTo>
                    <a:lnTo>
                      <a:pt x="258" y="768"/>
                    </a:lnTo>
                    <a:lnTo>
                      <a:pt x="257" y="775"/>
                    </a:lnTo>
                    <a:lnTo>
                      <a:pt x="257" y="775"/>
                    </a:lnTo>
                    <a:lnTo>
                      <a:pt x="258" y="785"/>
                    </a:lnTo>
                    <a:lnTo>
                      <a:pt x="259" y="796"/>
                    </a:lnTo>
                    <a:lnTo>
                      <a:pt x="259" y="807"/>
                    </a:lnTo>
                    <a:lnTo>
                      <a:pt x="257" y="820"/>
                    </a:lnTo>
                    <a:lnTo>
                      <a:pt x="257" y="820"/>
                    </a:lnTo>
                    <a:lnTo>
                      <a:pt x="252" y="817"/>
                    </a:lnTo>
                    <a:lnTo>
                      <a:pt x="248" y="813"/>
                    </a:lnTo>
                    <a:lnTo>
                      <a:pt x="242" y="808"/>
                    </a:lnTo>
                    <a:lnTo>
                      <a:pt x="237" y="801"/>
                    </a:lnTo>
                    <a:lnTo>
                      <a:pt x="227" y="785"/>
                    </a:lnTo>
                    <a:lnTo>
                      <a:pt x="217" y="767"/>
                    </a:lnTo>
                    <a:lnTo>
                      <a:pt x="209" y="747"/>
                    </a:lnTo>
                    <a:lnTo>
                      <a:pt x="202" y="729"/>
                    </a:lnTo>
                    <a:lnTo>
                      <a:pt x="197" y="713"/>
                    </a:lnTo>
                    <a:lnTo>
                      <a:pt x="195" y="701"/>
                    </a:lnTo>
                    <a:lnTo>
                      <a:pt x="195" y="701"/>
                    </a:lnTo>
                    <a:lnTo>
                      <a:pt x="196" y="695"/>
                    </a:lnTo>
                    <a:lnTo>
                      <a:pt x="198" y="690"/>
                    </a:lnTo>
                    <a:lnTo>
                      <a:pt x="200" y="685"/>
                    </a:lnTo>
                    <a:lnTo>
                      <a:pt x="204" y="680"/>
                    </a:lnTo>
                    <a:lnTo>
                      <a:pt x="211" y="674"/>
                    </a:lnTo>
                    <a:lnTo>
                      <a:pt x="212" y="669"/>
                    </a:lnTo>
                    <a:lnTo>
                      <a:pt x="213" y="666"/>
                    </a:lnTo>
                    <a:lnTo>
                      <a:pt x="213" y="666"/>
                    </a:lnTo>
                    <a:lnTo>
                      <a:pt x="213" y="661"/>
                    </a:lnTo>
                    <a:lnTo>
                      <a:pt x="211" y="656"/>
                    </a:lnTo>
                    <a:lnTo>
                      <a:pt x="206" y="647"/>
                    </a:lnTo>
                    <a:lnTo>
                      <a:pt x="200" y="639"/>
                    </a:lnTo>
                    <a:lnTo>
                      <a:pt x="199" y="636"/>
                    </a:lnTo>
                    <a:lnTo>
                      <a:pt x="198" y="632"/>
                    </a:lnTo>
                    <a:lnTo>
                      <a:pt x="198" y="632"/>
                    </a:lnTo>
                    <a:lnTo>
                      <a:pt x="198" y="607"/>
                    </a:lnTo>
                    <a:lnTo>
                      <a:pt x="198" y="607"/>
                    </a:lnTo>
                    <a:lnTo>
                      <a:pt x="195" y="606"/>
                    </a:lnTo>
                    <a:lnTo>
                      <a:pt x="191" y="606"/>
                    </a:lnTo>
                    <a:lnTo>
                      <a:pt x="188" y="603"/>
                    </a:lnTo>
                    <a:lnTo>
                      <a:pt x="187" y="602"/>
                    </a:lnTo>
                    <a:lnTo>
                      <a:pt x="183" y="596"/>
                    </a:lnTo>
                    <a:lnTo>
                      <a:pt x="182" y="591"/>
                    </a:lnTo>
                    <a:lnTo>
                      <a:pt x="181" y="579"/>
                    </a:lnTo>
                    <a:lnTo>
                      <a:pt x="180" y="573"/>
                    </a:lnTo>
                    <a:lnTo>
                      <a:pt x="179" y="571"/>
                    </a:lnTo>
                    <a:lnTo>
                      <a:pt x="176" y="570"/>
                    </a:lnTo>
                    <a:lnTo>
                      <a:pt x="176" y="570"/>
                    </a:lnTo>
                    <a:lnTo>
                      <a:pt x="163" y="570"/>
                    </a:lnTo>
                    <a:lnTo>
                      <a:pt x="163" y="570"/>
                    </a:lnTo>
                    <a:lnTo>
                      <a:pt x="158" y="569"/>
                    </a:lnTo>
                    <a:lnTo>
                      <a:pt x="156" y="568"/>
                    </a:lnTo>
                    <a:lnTo>
                      <a:pt x="153" y="565"/>
                    </a:lnTo>
                    <a:lnTo>
                      <a:pt x="151" y="562"/>
                    </a:lnTo>
                    <a:lnTo>
                      <a:pt x="146" y="554"/>
                    </a:lnTo>
                    <a:lnTo>
                      <a:pt x="143" y="550"/>
                    </a:lnTo>
                    <a:lnTo>
                      <a:pt x="139" y="548"/>
                    </a:lnTo>
                    <a:lnTo>
                      <a:pt x="139" y="548"/>
                    </a:lnTo>
                    <a:lnTo>
                      <a:pt x="134" y="544"/>
                    </a:lnTo>
                    <a:lnTo>
                      <a:pt x="127" y="541"/>
                    </a:lnTo>
                    <a:lnTo>
                      <a:pt x="119" y="539"/>
                    </a:lnTo>
                    <a:lnTo>
                      <a:pt x="111" y="539"/>
                    </a:lnTo>
                    <a:lnTo>
                      <a:pt x="93" y="538"/>
                    </a:lnTo>
                    <a:lnTo>
                      <a:pt x="83" y="537"/>
                    </a:lnTo>
                    <a:lnTo>
                      <a:pt x="74" y="533"/>
                    </a:lnTo>
                    <a:lnTo>
                      <a:pt x="74" y="533"/>
                    </a:lnTo>
                    <a:lnTo>
                      <a:pt x="67" y="531"/>
                    </a:lnTo>
                    <a:lnTo>
                      <a:pt x="60" y="529"/>
                    </a:lnTo>
                    <a:lnTo>
                      <a:pt x="55" y="526"/>
                    </a:lnTo>
                    <a:lnTo>
                      <a:pt x="51" y="523"/>
                    </a:lnTo>
                    <a:lnTo>
                      <a:pt x="42" y="515"/>
                    </a:lnTo>
                    <a:lnTo>
                      <a:pt x="35" y="511"/>
                    </a:lnTo>
                    <a:lnTo>
                      <a:pt x="27" y="507"/>
                    </a:lnTo>
                    <a:lnTo>
                      <a:pt x="27" y="507"/>
                    </a:lnTo>
                    <a:lnTo>
                      <a:pt x="23" y="507"/>
                    </a:lnTo>
                    <a:lnTo>
                      <a:pt x="19" y="504"/>
                    </a:lnTo>
                    <a:lnTo>
                      <a:pt x="11" y="498"/>
                    </a:lnTo>
                    <a:lnTo>
                      <a:pt x="4" y="488"/>
                    </a:lnTo>
                    <a:lnTo>
                      <a:pt x="1" y="485"/>
                    </a:lnTo>
                    <a:lnTo>
                      <a:pt x="0" y="481"/>
                    </a:lnTo>
                    <a:lnTo>
                      <a:pt x="0" y="481"/>
                    </a:lnTo>
                    <a:lnTo>
                      <a:pt x="1" y="475"/>
                    </a:lnTo>
                    <a:lnTo>
                      <a:pt x="6" y="465"/>
                    </a:lnTo>
                    <a:lnTo>
                      <a:pt x="12" y="456"/>
                    </a:lnTo>
                    <a:lnTo>
                      <a:pt x="20" y="447"/>
                    </a:lnTo>
                    <a:lnTo>
                      <a:pt x="29" y="439"/>
                    </a:lnTo>
                    <a:lnTo>
                      <a:pt x="39" y="433"/>
                    </a:lnTo>
                    <a:lnTo>
                      <a:pt x="50" y="428"/>
                    </a:lnTo>
                    <a:lnTo>
                      <a:pt x="54" y="427"/>
                    </a:lnTo>
                    <a:lnTo>
                      <a:pt x="59" y="426"/>
                    </a:lnTo>
                    <a:lnTo>
                      <a:pt x="59" y="426"/>
                    </a:lnTo>
                    <a:lnTo>
                      <a:pt x="65" y="427"/>
                    </a:lnTo>
                    <a:lnTo>
                      <a:pt x="68" y="428"/>
                    </a:lnTo>
                    <a:lnTo>
                      <a:pt x="76" y="434"/>
                    </a:lnTo>
                    <a:lnTo>
                      <a:pt x="83" y="439"/>
                    </a:lnTo>
                    <a:lnTo>
                      <a:pt x="88" y="441"/>
                    </a:lnTo>
                    <a:lnTo>
                      <a:pt x="92" y="441"/>
                    </a:lnTo>
                    <a:lnTo>
                      <a:pt x="92" y="441"/>
                    </a:lnTo>
                    <a:lnTo>
                      <a:pt x="97" y="440"/>
                    </a:lnTo>
                    <a:lnTo>
                      <a:pt x="103" y="439"/>
                    </a:lnTo>
                    <a:lnTo>
                      <a:pt x="112" y="432"/>
                    </a:lnTo>
                    <a:lnTo>
                      <a:pt x="116" y="428"/>
                    </a:lnTo>
                    <a:lnTo>
                      <a:pt x="122" y="426"/>
                    </a:lnTo>
                    <a:lnTo>
                      <a:pt x="129" y="424"/>
                    </a:lnTo>
                    <a:lnTo>
                      <a:pt x="136" y="423"/>
                    </a:lnTo>
                    <a:lnTo>
                      <a:pt x="136" y="423"/>
                    </a:lnTo>
                    <a:lnTo>
                      <a:pt x="136" y="404"/>
                    </a:lnTo>
                    <a:lnTo>
                      <a:pt x="136" y="404"/>
                    </a:lnTo>
                    <a:lnTo>
                      <a:pt x="136" y="404"/>
                    </a:lnTo>
                    <a:lnTo>
                      <a:pt x="122" y="388"/>
                    </a:lnTo>
                    <a:lnTo>
                      <a:pt x="100" y="363"/>
                    </a:lnTo>
                    <a:lnTo>
                      <a:pt x="82" y="338"/>
                    </a:lnTo>
                    <a:lnTo>
                      <a:pt x="76" y="328"/>
                    </a:lnTo>
                    <a:lnTo>
                      <a:pt x="74" y="324"/>
                    </a:lnTo>
                    <a:lnTo>
                      <a:pt x="74" y="324"/>
                    </a:lnTo>
                    <a:lnTo>
                      <a:pt x="76" y="320"/>
                    </a:lnTo>
                    <a:lnTo>
                      <a:pt x="81" y="317"/>
                    </a:lnTo>
                    <a:lnTo>
                      <a:pt x="92" y="309"/>
                    </a:lnTo>
                    <a:lnTo>
                      <a:pt x="92" y="309"/>
                    </a:lnTo>
                    <a:lnTo>
                      <a:pt x="96" y="305"/>
                    </a:lnTo>
                    <a:lnTo>
                      <a:pt x="99" y="302"/>
                    </a:lnTo>
                    <a:lnTo>
                      <a:pt x="104" y="293"/>
                    </a:lnTo>
                    <a:lnTo>
                      <a:pt x="106" y="288"/>
                    </a:lnTo>
                    <a:lnTo>
                      <a:pt x="110" y="285"/>
                    </a:lnTo>
                    <a:lnTo>
                      <a:pt x="113" y="281"/>
                    </a:lnTo>
                    <a:lnTo>
                      <a:pt x="118" y="280"/>
                    </a:lnTo>
                    <a:lnTo>
                      <a:pt x="118" y="280"/>
                    </a:lnTo>
                    <a:lnTo>
                      <a:pt x="129" y="279"/>
                    </a:lnTo>
                    <a:lnTo>
                      <a:pt x="145" y="281"/>
                    </a:lnTo>
                    <a:lnTo>
                      <a:pt x="164" y="282"/>
                    </a:lnTo>
                    <a:lnTo>
                      <a:pt x="183" y="283"/>
                    </a:lnTo>
                    <a:lnTo>
                      <a:pt x="192" y="283"/>
                    </a:lnTo>
                    <a:lnTo>
                      <a:pt x="202" y="282"/>
                    </a:lnTo>
                    <a:lnTo>
                      <a:pt x="210" y="281"/>
                    </a:lnTo>
                    <a:lnTo>
                      <a:pt x="218" y="279"/>
                    </a:lnTo>
                    <a:lnTo>
                      <a:pt x="223" y="275"/>
                    </a:lnTo>
                    <a:lnTo>
                      <a:pt x="228" y="271"/>
                    </a:lnTo>
                    <a:lnTo>
                      <a:pt x="232" y="265"/>
                    </a:lnTo>
                    <a:lnTo>
                      <a:pt x="233" y="257"/>
                    </a:lnTo>
                    <a:lnTo>
                      <a:pt x="233" y="257"/>
                    </a:lnTo>
                    <a:lnTo>
                      <a:pt x="233" y="234"/>
                    </a:lnTo>
                    <a:lnTo>
                      <a:pt x="236" y="213"/>
                    </a:lnTo>
                    <a:lnTo>
                      <a:pt x="241" y="195"/>
                    </a:lnTo>
                    <a:lnTo>
                      <a:pt x="245" y="176"/>
                    </a:lnTo>
                    <a:lnTo>
                      <a:pt x="257" y="140"/>
                    </a:lnTo>
                    <a:lnTo>
                      <a:pt x="261" y="119"/>
                    </a:lnTo>
                    <a:lnTo>
                      <a:pt x="265" y="96"/>
                    </a:lnTo>
                    <a:lnTo>
                      <a:pt x="265" y="96"/>
                    </a:lnTo>
                    <a:lnTo>
                      <a:pt x="287" y="68"/>
                    </a:lnTo>
                    <a:lnTo>
                      <a:pt x="307" y="43"/>
                    </a:lnTo>
                    <a:lnTo>
                      <a:pt x="328" y="20"/>
                    </a:lnTo>
                    <a:lnTo>
                      <a:pt x="339" y="10"/>
                    </a:lnTo>
                    <a:lnTo>
                      <a:pt x="350" y="0"/>
                    </a:lnTo>
                    <a:lnTo>
                      <a:pt x="350" y="0"/>
                    </a:lnTo>
                    <a:lnTo>
                      <a:pt x="351" y="4"/>
                    </a:lnTo>
                    <a:lnTo>
                      <a:pt x="354" y="6"/>
                    </a:lnTo>
                    <a:lnTo>
                      <a:pt x="357" y="8"/>
                    </a:lnTo>
                    <a:lnTo>
                      <a:pt x="359" y="8"/>
                    </a:lnTo>
                    <a:lnTo>
                      <a:pt x="367" y="8"/>
                    </a:lnTo>
                    <a:lnTo>
                      <a:pt x="375" y="7"/>
                    </a:lnTo>
                    <a:lnTo>
                      <a:pt x="385" y="6"/>
                    </a:lnTo>
                    <a:lnTo>
                      <a:pt x="393" y="5"/>
                    </a:lnTo>
                    <a:lnTo>
                      <a:pt x="396" y="5"/>
                    </a:lnTo>
                    <a:lnTo>
                      <a:pt x="400" y="6"/>
                    </a:lnTo>
                    <a:lnTo>
                      <a:pt x="402" y="8"/>
                    </a:lnTo>
                    <a:lnTo>
                      <a:pt x="404" y="12"/>
                    </a:lnTo>
                    <a:lnTo>
                      <a:pt x="404" y="12"/>
                    </a:lnTo>
                    <a:lnTo>
                      <a:pt x="410" y="20"/>
                    </a:lnTo>
                    <a:lnTo>
                      <a:pt x="412" y="28"/>
                    </a:lnTo>
                    <a:lnTo>
                      <a:pt x="415" y="37"/>
                    </a:lnTo>
                    <a:lnTo>
                      <a:pt x="415" y="45"/>
                    </a:lnTo>
                    <a:lnTo>
                      <a:pt x="415" y="61"/>
                    </a:lnTo>
                    <a:lnTo>
                      <a:pt x="416" y="68"/>
                    </a:lnTo>
                    <a:lnTo>
                      <a:pt x="419" y="74"/>
                    </a:lnTo>
                    <a:lnTo>
                      <a:pt x="419" y="74"/>
                    </a:lnTo>
                    <a:lnTo>
                      <a:pt x="410" y="86"/>
                    </a:lnTo>
                    <a:lnTo>
                      <a:pt x="403" y="99"/>
                    </a:lnTo>
                    <a:lnTo>
                      <a:pt x="397" y="113"/>
                    </a:lnTo>
                    <a:lnTo>
                      <a:pt x="393" y="128"/>
                    </a:lnTo>
                    <a:lnTo>
                      <a:pt x="385" y="157"/>
                    </a:lnTo>
                    <a:lnTo>
                      <a:pt x="380" y="170"/>
                    </a:lnTo>
                    <a:lnTo>
                      <a:pt x="375" y="180"/>
                    </a:lnTo>
                    <a:lnTo>
                      <a:pt x="375" y="180"/>
                    </a:lnTo>
                    <a:lnTo>
                      <a:pt x="372" y="185"/>
                    </a:lnTo>
                    <a:lnTo>
                      <a:pt x="368" y="189"/>
                    </a:lnTo>
                    <a:lnTo>
                      <a:pt x="359" y="196"/>
                    </a:lnTo>
                    <a:lnTo>
                      <a:pt x="356" y="199"/>
                    </a:lnTo>
                    <a:lnTo>
                      <a:pt x="352" y="204"/>
                    </a:lnTo>
                    <a:lnTo>
                      <a:pt x="350" y="210"/>
                    </a:lnTo>
                    <a:lnTo>
                      <a:pt x="350" y="217"/>
                    </a:lnTo>
                    <a:lnTo>
                      <a:pt x="350" y="217"/>
                    </a:lnTo>
                    <a:lnTo>
                      <a:pt x="350" y="223"/>
                    </a:lnTo>
                    <a:lnTo>
                      <a:pt x="352" y="226"/>
                    </a:lnTo>
                    <a:lnTo>
                      <a:pt x="356" y="229"/>
                    </a:lnTo>
                    <a:lnTo>
                      <a:pt x="359" y="233"/>
                    </a:lnTo>
                    <a:lnTo>
                      <a:pt x="368" y="236"/>
                    </a:lnTo>
                    <a:lnTo>
                      <a:pt x="375" y="239"/>
                    </a:lnTo>
                    <a:lnTo>
                      <a:pt x="375" y="239"/>
                    </a:lnTo>
                    <a:lnTo>
                      <a:pt x="357" y="283"/>
                    </a:lnTo>
                    <a:lnTo>
                      <a:pt x="357" y="283"/>
                    </a:lnTo>
                    <a:lnTo>
                      <a:pt x="357" y="283"/>
                    </a:lnTo>
                    <a:lnTo>
                      <a:pt x="360" y="286"/>
                    </a:lnTo>
                    <a:lnTo>
                      <a:pt x="363" y="288"/>
                    </a:lnTo>
                    <a:lnTo>
                      <a:pt x="366" y="296"/>
                    </a:lnTo>
                    <a:lnTo>
                      <a:pt x="370" y="304"/>
                    </a:lnTo>
                    <a:lnTo>
                      <a:pt x="372" y="313"/>
                    </a:lnTo>
                    <a:lnTo>
                      <a:pt x="375" y="321"/>
                    </a:lnTo>
                    <a:lnTo>
                      <a:pt x="380" y="328"/>
                    </a:lnTo>
                    <a:lnTo>
                      <a:pt x="382" y="331"/>
                    </a:lnTo>
                    <a:lnTo>
                      <a:pt x="385" y="333"/>
                    </a:lnTo>
                    <a:lnTo>
                      <a:pt x="389" y="334"/>
                    </a:lnTo>
                    <a:lnTo>
                      <a:pt x="393" y="335"/>
                    </a:lnTo>
                    <a:lnTo>
                      <a:pt x="393" y="335"/>
                    </a:lnTo>
                    <a:lnTo>
                      <a:pt x="397" y="334"/>
                    </a:lnTo>
                    <a:lnTo>
                      <a:pt x="401" y="333"/>
                    </a:lnTo>
                    <a:lnTo>
                      <a:pt x="408" y="328"/>
                    </a:lnTo>
                    <a:lnTo>
                      <a:pt x="415" y="321"/>
                    </a:lnTo>
                    <a:lnTo>
                      <a:pt x="421" y="312"/>
                    </a:lnTo>
                    <a:lnTo>
                      <a:pt x="428" y="304"/>
                    </a:lnTo>
                    <a:lnTo>
                      <a:pt x="436" y="297"/>
                    </a:lnTo>
                    <a:lnTo>
                      <a:pt x="442" y="295"/>
                    </a:lnTo>
                    <a:lnTo>
                      <a:pt x="447" y="293"/>
                    </a:lnTo>
                    <a:lnTo>
                      <a:pt x="454" y="292"/>
                    </a:lnTo>
                    <a:lnTo>
                      <a:pt x="459" y="290"/>
                    </a:lnTo>
                    <a:lnTo>
                      <a:pt x="459" y="290"/>
                    </a:lnTo>
                    <a:lnTo>
                      <a:pt x="470" y="292"/>
                    </a:lnTo>
                    <a:lnTo>
                      <a:pt x="480" y="294"/>
                    </a:lnTo>
                    <a:lnTo>
                      <a:pt x="492" y="296"/>
                    </a:lnTo>
                    <a:lnTo>
                      <a:pt x="504" y="297"/>
                    </a:lnTo>
                    <a:lnTo>
                      <a:pt x="504" y="297"/>
                    </a:lnTo>
                    <a:lnTo>
                      <a:pt x="510" y="297"/>
                    </a:lnTo>
                    <a:lnTo>
                      <a:pt x="515" y="296"/>
                    </a:lnTo>
                    <a:lnTo>
                      <a:pt x="524" y="294"/>
                    </a:lnTo>
                    <a:lnTo>
                      <a:pt x="531" y="290"/>
                    </a:lnTo>
                    <a:lnTo>
                      <a:pt x="540" y="287"/>
                    </a:lnTo>
                    <a:lnTo>
                      <a:pt x="540" y="287"/>
                    </a:lnTo>
                    <a:lnTo>
                      <a:pt x="541" y="298"/>
                    </a:lnTo>
                    <a:lnTo>
                      <a:pt x="542" y="304"/>
                    </a:lnTo>
                    <a:lnTo>
                      <a:pt x="545" y="309"/>
                    </a:lnTo>
                    <a:lnTo>
                      <a:pt x="547" y="313"/>
                    </a:lnTo>
                    <a:lnTo>
                      <a:pt x="550" y="317"/>
                    </a:lnTo>
                    <a:lnTo>
                      <a:pt x="554" y="319"/>
                    </a:lnTo>
                    <a:lnTo>
                      <a:pt x="559" y="320"/>
                    </a:lnTo>
                    <a:lnTo>
                      <a:pt x="559" y="320"/>
                    </a:lnTo>
                    <a:lnTo>
                      <a:pt x="565" y="319"/>
                    </a:lnTo>
                    <a:lnTo>
                      <a:pt x="571" y="317"/>
                    </a:lnTo>
                    <a:lnTo>
                      <a:pt x="577" y="313"/>
                    </a:lnTo>
                    <a:lnTo>
                      <a:pt x="581" y="309"/>
                    </a:lnTo>
                    <a:lnTo>
                      <a:pt x="587" y="305"/>
                    </a:lnTo>
                    <a:lnTo>
                      <a:pt x="593" y="301"/>
                    </a:lnTo>
                    <a:lnTo>
                      <a:pt x="599" y="298"/>
                    </a:lnTo>
                    <a:lnTo>
                      <a:pt x="607" y="297"/>
                    </a:lnTo>
                    <a:lnTo>
                      <a:pt x="607" y="297"/>
                    </a:lnTo>
                    <a:lnTo>
                      <a:pt x="625" y="297"/>
                    </a:lnTo>
                    <a:lnTo>
                      <a:pt x="625" y="29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4" name="Freeform 89"/>
              <p:cNvSpPr>
                <a:spLocks noChangeAspect="1"/>
              </p:cNvSpPr>
              <p:nvPr/>
            </p:nvSpPr>
            <p:spPr bwMode="auto">
              <a:xfrm>
                <a:off x="3488095" y="4218542"/>
                <a:ext cx="873395" cy="585856"/>
              </a:xfrm>
              <a:custGeom>
                <a:avLst/>
                <a:gdLst/>
                <a:ahLst/>
                <a:cxnLst>
                  <a:cxn ang="0">
                    <a:pos x="748" y="769"/>
                  </a:cxn>
                  <a:cxn ang="0">
                    <a:pos x="779" y="761"/>
                  </a:cxn>
                  <a:cxn ang="0">
                    <a:pos x="821" y="723"/>
                  </a:cxn>
                  <a:cxn ang="0">
                    <a:pos x="853" y="716"/>
                  </a:cxn>
                  <a:cxn ang="0">
                    <a:pos x="885" y="713"/>
                  </a:cxn>
                  <a:cxn ang="0">
                    <a:pos x="922" y="729"/>
                  </a:cxn>
                  <a:cxn ang="0">
                    <a:pos x="958" y="723"/>
                  </a:cxn>
                  <a:cxn ang="0">
                    <a:pos x="978" y="727"/>
                  </a:cxn>
                  <a:cxn ang="0">
                    <a:pos x="1021" y="703"/>
                  </a:cxn>
                  <a:cxn ang="0">
                    <a:pos x="1046" y="637"/>
                  </a:cxn>
                  <a:cxn ang="0">
                    <a:pos x="1074" y="595"/>
                  </a:cxn>
                  <a:cxn ang="0">
                    <a:pos x="1102" y="556"/>
                  </a:cxn>
                  <a:cxn ang="0">
                    <a:pos x="1087" y="518"/>
                  </a:cxn>
                  <a:cxn ang="0">
                    <a:pos x="1018" y="492"/>
                  </a:cxn>
                  <a:cxn ang="0">
                    <a:pos x="1003" y="451"/>
                  </a:cxn>
                  <a:cxn ang="0">
                    <a:pos x="1035" y="388"/>
                  </a:cxn>
                  <a:cxn ang="0">
                    <a:pos x="1051" y="353"/>
                  </a:cxn>
                  <a:cxn ang="0">
                    <a:pos x="1038" y="330"/>
                  </a:cxn>
                  <a:cxn ang="0">
                    <a:pos x="991" y="309"/>
                  </a:cxn>
                  <a:cxn ang="0">
                    <a:pos x="958" y="257"/>
                  </a:cxn>
                  <a:cxn ang="0">
                    <a:pos x="915" y="222"/>
                  </a:cxn>
                  <a:cxn ang="0">
                    <a:pos x="870" y="206"/>
                  </a:cxn>
                  <a:cxn ang="0">
                    <a:pos x="798" y="218"/>
                  </a:cxn>
                  <a:cxn ang="0">
                    <a:pos x="768" y="206"/>
                  </a:cxn>
                  <a:cxn ang="0">
                    <a:pos x="763" y="129"/>
                  </a:cxn>
                  <a:cxn ang="0">
                    <a:pos x="743" y="85"/>
                  </a:cxn>
                  <a:cxn ang="0">
                    <a:pos x="722" y="62"/>
                  </a:cxn>
                  <a:cxn ang="0">
                    <a:pos x="680" y="35"/>
                  </a:cxn>
                  <a:cxn ang="0">
                    <a:pos x="645" y="43"/>
                  </a:cxn>
                  <a:cxn ang="0">
                    <a:pos x="592" y="87"/>
                  </a:cxn>
                  <a:cxn ang="0">
                    <a:pos x="555" y="85"/>
                  </a:cxn>
                  <a:cxn ang="0">
                    <a:pos x="491" y="49"/>
                  </a:cxn>
                  <a:cxn ang="0">
                    <a:pos x="425" y="43"/>
                  </a:cxn>
                  <a:cxn ang="0">
                    <a:pos x="371" y="20"/>
                  </a:cxn>
                  <a:cxn ang="0">
                    <a:pos x="273" y="6"/>
                  </a:cxn>
                  <a:cxn ang="0">
                    <a:pos x="226" y="6"/>
                  </a:cxn>
                  <a:cxn ang="0">
                    <a:pos x="186" y="62"/>
                  </a:cxn>
                  <a:cxn ang="0">
                    <a:pos x="150" y="151"/>
                  </a:cxn>
                  <a:cxn ang="0">
                    <a:pos x="112" y="177"/>
                  </a:cxn>
                  <a:cxn ang="0">
                    <a:pos x="73" y="206"/>
                  </a:cxn>
                  <a:cxn ang="0">
                    <a:pos x="46" y="273"/>
                  </a:cxn>
                  <a:cxn ang="0">
                    <a:pos x="26" y="306"/>
                  </a:cxn>
                  <a:cxn ang="0">
                    <a:pos x="25" y="326"/>
                  </a:cxn>
                  <a:cxn ang="0">
                    <a:pos x="0" y="365"/>
                  </a:cxn>
                  <a:cxn ang="0">
                    <a:pos x="21" y="414"/>
                  </a:cxn>
                  <a:cxn ang="0">
                    <a:pos x="38" y="501"/>
                  </a:cxn>
                  <a:cxn ang="0">
                    <a:pos x="86" y="530"/>
                  </a:cxn>
                  <a:cxn ang="0">
                    <a:pos x="191" y="556"/>
                  </a:cxn>
                  <a:cxn ang="0">
                    <a:pos x="286" y="593"/>
                  </a:cxn>
                  <a:cxn ang="0">
                    <a:pos x="327" y="624"/>
                  </a:cxn>
                  <a:cxn ang="0">
                    <a:pos x="349" y="680"/>
                  </a:cxn>
                  <a:cxn ang="0">
                    <a:pos x="418" y="688"/>
                  </a:cxn>
                  <a:cxn ang="0">
                    <a:pos x="472" y="716"/>
                  </a:cxn>
                  <a:cxn ang="0">
                    <a:pos x="523" y="727"/>
                  </a:cxn>
                  <a:cxn ang="0">
                    <a:pos x="580" y="710"/>
                  </a:cxn>
                  <a:cxn ang="0">
                    <a:pos x="598" y="724"/>
                  </a:cxn>
                  <a:cxn ang="0">
                    <a:pos x="590" y="755"/>
                  </a:cxn>
                  <a:cxn ang="0">
                    <a:pos x="596" y="782"/>
                  </a:cxn>
                  <a:cxn ang="0">
                    <a:pos x="605" y="813"/>
                  </a:cxn>
                  <a:cxn ang="0">
                    <a:pos x="621" y="843"/>
                  </a:cxn>
                  <a:cxn ang="0">
                    <a:pos x="632" y="814"/>
                  </a:cxn>
                  <a:cxn ang="0">
                    <a:pos x="698" y="791"/>
                  </a:cxn>
                </a:cxnLst>
                <a:rect l="0" t="0" r="r" b="b"/>
                <a:pathLst>
                  <a:path w="1102" h="843">
                    <a:moveTo>
                      <a:pt x="698" y="784"/>
                    </a:moveTo>
                    <a:lnTo>
                      <a:pt x="698" y="784"/>
                    </a:lnTo>
                    <a:lnTo>
                      <a:pt x="713" y="779"/>
                    </a:lnTo>
                    <a:lnTo>
                      <a:pt x="726" y="775"/>
                    </a:lnTo>
                    <a:lnTo>
                      <a:pt x="741" y="770"/>
                    </a:lnTo>
                    <a:lnTo>
                      <a:pt x="748" y="769"/>
                    </a:lnTo>
                    <a:lnTo>
                      <a:pt x="756" y="769"/>
                    </a:lnTo>
                    <a:lnTo>
                      <a:pt x="756" y="769"/>
                    </a:lnTo>
                    <a:lnTo>
                      <a:pt x="763" y="768"/>
                    </a:lnTo>
                    <a:lnTo>
                      <a:pt x="769" y="767"/>
                    </a:lnTo>
                    <a:lnTo>
                      <a:pt x="775" y="764"/>
                    </a:lnTo>
                    <a:lnTo>
                      <a:pt x="779" y="761"/>
                    </a:lnTo>
                    <a:lnTo>
                      <a:pt x="789" y="754"/>
                    </a:lnTo>
                    <a:lnTo>
                      <a:pt x="798" y="745"/>
                    </a:lnTo>
                    <a:lnTo>
                      <a:pt x="805" y="737"/>
                    </a:lnTo>
                    <a:lnTo>
                      <a:pt x="813" y="729"/>
                    </a:lnTo>
                    <a:lnTo>
                      <a:pt x="817" y="725"/>
                    </a:lnTo>
                    <a:lnTo>
                      <a:pt x="821" y="723"/>
                    </a:lnTo>
                    <a:lnTo>
                      <a:pt x="825" y="722"/>
                    </a:lnTo>
                    <a:lnTo>
                      <a:pt x="830" y="721"/>
                    </a:lnTo>
                    <a:lnTo>
                      <a:pt x="830" y="721"/>
                    </a:lnTo>
                    <a:lnTo>
                      <a:pt x="837" y="721"/>
                    </a:lnTo>
                    <a:lnTo>
                      <a:pt x="843" y="719"/>
                    </a:lnTo>
                    <a:lnTo>
                      <a:pt x="853" y="716"/>
                    </a:lnTo>
                    <a:lnTo>
                      <a:pt x="863" y="711"/>
                    </a:lnTo>
                    <a:lnTo>
                      <a:pt x="870" y="710"/>
                    </a:lnTo>
                    <a:lnTo>
                      <a:pt x="877" y="710"/>
                    </a:lnTo>
                    <a:lnTo>
                      <a:pt x="877" y="710"/>
                    </a:lnTo>
                    <a:lnTo>
                      <a:pt x="882" y="710"/>
                    </a:lnTo>
                    <a:lnTo>
                      <a:pt x="885" y="713"/>
                    </a:lnTo>
                    <a:lnTo>
                      <a:pt x="892" y="718"/>
                    </a:lnTo>
                    <a:lnTo>
                      <a:pt x="898" y="724"/>
                    </a:lnTo>
                    <a:lnTo>
                      <a:pt x="900" y="726"/>
                    </a:lnTo>
                    <a:lnTo>
                      <a:pt x="904" y="729"/>
                    </a:lnTo>
                    <a:lnTo>
                      <a:pt x="904" y="729"/>
                    </a:lnTo>
                    <a:lnTo>
                      <a:pt x="922" y="729"/>
                    </a:lnTo>
                    <a:lnTo>
                      <a:pt x="922" y="714"/>
                    </a:lnTo>
                    <a:lnTo>
                      <a:pt x="947" y="714"/>
                    </a:lnTo>
                    <a:lnTo>
                      <a:pt x="947" y="714"/>
                    </a:lnTo>
                    <a:lnTo>
                      <a:pt x="947" y="714"/>
                    </a:lnTo>
                    <a:lnTo>
                      <a:pt x="952" y="717"/>
                    </a:lnTo>
                    <a:lnTo>
                      <a:pt x="958" y="723"/>
                    </a:lnTo>
                    <a:lnTo>
                      <a:pt x="960" y="724"/>
                    </a:lnTo>
                    <a:lnTo>
                      <a:pt x="964" y="726"/>
                    </a:lnTo>
                    <a:lnTo>
                      <a:pt x="968" y="727"/>
                    </a:lnTo>
                    <a:lnTo>
                      <a:pt x="973" y="729"/>
                    </a:lnTo>
                    <a:lnTo>
                      <a:pt x="973" y="729"/>
                    </a:lnTo>
                    <a:lnTo>
                      <a:pt x="978" y="727"/>
                    </a:lnTo>
                    <a:lnTo>
                      <a:pt x="984" y="726"/>
                    </a:lnTo>
                    <a:lnTo>
                      <a:pt x="992" y="724"/>
                    </a:lnTo>
                    <a:lnTo>
                      <a:pt x="999" y="718"/>
                    </a:lnTo>
                    <a:lnTo>
                      <a:pt x="1006" y="714"/>
                    </a:lnTo>
                    <a:lnTo>
                      <a:pt x="1013" y="708"/>
                    </a:lnTo>
                    <a:lnTo>
                      <a:pt x="1021" y="703"/>
                    </a:lnTo>
                    <a:lnTo>
                      <a:pt x="1033" y="700"/>
                    </a:lnTo>
                    <a:lnTo>
                      <a:pt x="1038" y="699"/>
                    </a:lnTo>
                    <a:lnTo>
                      <a:pt x="1046" y="699"/>
                    </a:lnTo>
                    <a:lnTo>
                      <a:pt x="1046" y="699"/>
                    </a:lnTo>
                    <a:lnTo>
                      <a:pt x="1046" y="637"/>
                    </a:lnTo>
                    <a:lnTo>
                      <a:pt x="1046" y="637"/>
                    </a:lnTo>
                    <a:lnTo>
                      <a:pt x="1048" y="630"/>
                    </a:lnTo>
                    <a:lnTo>
                      <a:pt x="1049" y="623"/>
                    </a:lnTo>
                    <a:lnTo>
                      <a:pt x="1051" y="617"/>
                    </a:lnTo>
                    <a:lnTo>
                      <a:pt x="1056" y="612"/>
                    </a:lnTo>
                    <a:lnTo>
                      <a:pt x="1064" y="603"/>
                    </a:lnTo>
                    <a:lnTo>
                      <a:pt x="1074" y="595"/>
                    </a:lnTo>
                    <a:lnTo>
                      <a:pt x="1084" y="586"/>
                    </a:lnTo>
                    <a:lnTo>
                      <a:pt x="1089" y="581"/>
                    </a:lnTo>
                    <a:lnTo>
                      <a:pt x="1094" y="577"/>
                    </a:lnTo>
                    <a:lnTo>
                      <a:pt x="1097" y="571"/>
                    </a:lnTo>
                    <a:lnTo>
                      <a:pt x="1099" y="564"/>
                    </a:lnTo>
                    <a:lnTo>
                      <a:pt x="1102" y="556"/>
                    </a:lnTo>
                    <a:lnTo>
                      <a:pt x="1102" y="548"/>
                    </a:lnTo>
                    <a:lnTo>
                      <a:pt x="1102" y="548"/>
                    </a:lnTo>
                    <a:lnTo>
                      <a:pt x="1100" y="539"/>
                    </a:lnTo>
                    <a:lnTo>
                      <a:pt x="1097" y="530"/>
                    </a:lnTo>
                    <a:lnTo>
                      <a:pt x="1092" y="524"/>
                    </a:lnTo>
                    <a:lnTo>
                      <a:pt x="1087" y="518"/>
                    </a:lnTo>
                    <a:lnTo>
                      <a:pt x="1079" y="515"/>
                    </a:lnTo>
                    <a:lnTo>
                      <a:pt x="1071" y="511"/>
                    </a:lnTo>
                    <a:lnTo>
                      <a:pt x="1052" y="505"/>
                    </a:lnTo>
                    <a:lnTo>
                      <a:pt x="1034" y="500"/>
                    </a:lnTo>
                    <a:lnTo>
                      <a:pt x="1026" y="496"/>
                    </a:lnTo>
                    <a:lnTo>
                      <a:pt x="1018" y="492"/>
                    </a:lnTo>
                    <a:lnTo>
                      <a:pt x="1012" y="487"/>
                    </a:lnTo>
                    <a:lnTo>
                      <a:pt x="1006" y="479"/>
                    </a:lnTo>
                    <a:lnTo>
                      <a:pt x="1004" y="471"/>
                    </a:lnTo>
                    <a:lnTo>
                      <a:pt x="1003" y="460"/>
                    </a:lnTo>
                    <a:lnTo>
                      <a:pt x="1003" y="460"/>
                    </a:lnTo>
                    <a:lnTo>
                      <a:pt x="1003" y="451"/>
                    </a:lnTo>
                    <a:lnTo>
                      <a:pt x="1005" y="442"/>
                    </a:lnTo>
                    <a:lnTo>
                      <a:pt x="1007" y="434"/>
                    </a:lnTo>
                    <a:lnTo>
                      <a:pt x="1010" y="426"/>
                    </a:lnTo>
                    <a:lnTo>
                      <a:pt x="1018" y="412"/>
                    </a:lnTo>
                    <a:lnTo>
                      <a:pt x="1027" y="400"/>
                    </a:lnTo>
                    <a:lnTo>
                      <a:pt x="1035" y="388"/>
                    </a:lnTo>
                    <a:lnTo>
                      <a:pt x="1043" y="376"/>
                    </a:lnTo>
                    <a:lnTo>
                      <a:pt x="1046" y="371"/>
                    </a:lnTo>
                    <a:lnTo>
                      <a:pt x="1049" y="365"/>
                    </a:lnTo>
                    <a:lnTo>
                      <a:pt x="1050" y="359"/>
                    </a:lnTo>
                    <a:lnTo>
                      <a:pt x="1051" y="353"/>
                    </a:lnTo>
                    <a:lnTo>
                      <a:pt x="1051" y="353"/>
                    </a:lnTo>
                    <a:lnTo>
                      <a:pt x="1050" y="348"/>
                    </a:lnTo>
                    <a:lnTo>
                      <a:pt x="1049" y="343"/>
                    </a:lnTo>
                    <a:lnTo>
                      <a:pt x="1048" y="339"/>
                    </a:lnTo>
                    <a:lnTo>
                      <a:pt x="1045" y="335"/>
                    </a:lnTo>
                    <a:lnTo>
                      <a:pt x="1042" y="333"/>
                    </a:lnTo>
                    <a:lnTo>
                      <a:pt x="1038" y="330"/>
                    </a:lnTo>
                    <a:lnTo>
                      <a:pt x="1031" y="327"/>
                    </a:lnTo>
                    <a:lnTo>
                      <a:pt x="1013" y="321"/>
                    </a:lnTo>
                    <a:lnTo>
                      <a:pt x="1004" y="318"/>
                    </a:lnTo>
                    <a:lnTo>
                      <a:pt x="996" y="313"/>
                    </a:lnTo>
                    <a:lnTo>
                      <a:pt x="996" y="313"/>
                    </a:lnTo>
                    <a:lnTo>
                      <a:pt x="991" y="309"/>
                    </a:lnTo>
                    <a:lnTo>
                      <a:pt x="987" y="302"/>
                    </a:lnTo>
                    <a:lnTo>
                      <a:pt x="977" y="287"/>
                    </a:lnTo>
                    <a:lnTo>
                      <a:pt x="970" y="272"/>
                    </a:lnTo>
                    <a:lnTo>
                      <a:pt x="966" y="258"/>
                    </a:lnTo>
                    <a:lnTo>
                      <a:pt x="966" y="258"/>
                    </a:lnTo>
                    <a:lnTo>
                      <a:pt x="958" y="257"/>
                    </a:lnTo>
                    <a:lnTo>
                      <a:pt x="951" y="255"/>
                    </a:lnTo>
                    <a:lnTo>
                      <a:pt x="945" y="252"/>
                    </a:lnTo>
                    <a:lnTo>
                      <a:pt x="939" y="249"/>
                    </a:lnTo>
                    <a:lnTo>
                      <a:pt x="931" y="241"/>
                    </a:lnTo>
                    <a:lnTo>
                      <a:pt x="924" y="230"/>
                    </a:lnTo>
                    <a:lnTo>
                      <a:pt x="915" y="222"/>
                    </a:lnTo>
                    <a:lnTo>
                      <a:pt x="911" y="218"/>
                    </a:lnTo>
                    <a:lnTo>
                      <a:pt x="905" y="214"/>
                    </a:lnTo>
                    <a:lnTo>
                      <a:pt x="899" y="211"/>
                    </a:lnTo>
                    <a:lnTo>
                      <a:pt x="891" y="208"/>
                    </a:lnTo>
                    <a:lnTo>
                      <a:pt x="882" y="207"/>
                    </a:lnTo>
                    <a:lnTo>
                      <a:pt x="870" y="206"/>
                    </a:lnTo>
                    <a:lnTo>
                      <a:pt x="870" y="206"/>
                    </a:lnTo>
                    <a:lnTo>
                      <a:pt x="859" y="207"/>
                    </a:lnTo>
                    <a:lnTo>
                      <a:pt x="848" y="208"/>
                    </a:lnTo>
                    <a:lnTo>
                      <a:pt x="828" y="212"/>
                    </a:lnTo>
                    <a:lnTo>
                      <a:pt x="808" y="217"/>
                    </a:lnTo>
                    <a:lnTo>
                      <a:pt x="798" y="218"/>
                    </a:lnTo>
                    <a:lnTo>
                      <a:pt x="786" y="218"/>
                    </a:lnTo>
                    <a:lnTo>
                      <a:pt x="786" y="218"/>
                    </a:lnTo>
                    <a:lnTo>
                      <a:pt x="779" y="217"/>
                    </a:lnTo>
                    <a:lnTo>
                      <a:pt x="775" y="214"/>
                    </a:lnTo>
                    <a:lnTo>
                      <a:pt x="771" y="211"/>
                    </a:lnTo>
                    <a:lnTo>
                      <a:pt x="768" y="206"/>
                    </a:lnTo>
                    <a:lnTo>
                      <a:pt x="766" y="200"/>
                    </a:lnTo>
                    <a:lnTo>
                      <a:pt x="764" y="196"/>
                    </a:lnTo>
                    <a:lnTo>
                      <a:pt x="763" y="189"/>
                    </a:lnTo>
                    <a:lnTo>
                      <a:pt x="763" y="189"/>
                    </a:lnTo>
                    <a:lnTo>
                      <a:pt x="763" y="129"/>
                    </a:lnTo>
                    <a:lnTo>
                      <a:pt x="763" y="129"/>
                    </a:lnTo>
                    <a:lnTo>
                      <a:pt x="762" y="120"/>
                    </a:lnTo>
                    <a:lnTo>
                      <a:pt x="760" y="112"/>
                    </a:lnTo>
                    <a:lnTo>
                      <a:pt x="755" y="105"/>
                    </a:lnTo>
                    <a:lnTo>
                      <a:pt x="751" y="98"/>
                    </a:lnTo>
                    <a:lnTo>
                      <a:pt x="746" y="92"/>
                    </a:lnTo>
                    <a:lnTo>
                      <a:pt x="743" y="85"/>
                    </a:lnTo>
                    <a:lnTo>
                      <a:pt x="739" y="77"/>
                    </a:lnTo>
                    <a:lnTo>
                      <a:pt x="738" y="67"/>
                    </a:lnTo>
                    <a:lnTo>
                      <a:pt x="738" y="67"/>
                    </a:lnTo>
                    <a:lnTo>
                      <a:pt x="733" y="67"/>
                    </a:lnTo>
                    <a:lnTo>
                      <a:pt x="729" y="66"/>
                    </a:lnTo>
                    <a:lnTo>
                      <a:pt x="722" y="62"/>
                    </a:lnTo>
                    <a:lnTo>
                      <a:pt x="714" y="57"/>
                    </a:lnTo>
                    <a:lnTo>
                      <a:pt x="707" y="51"/>
                    </a:lnTo>
                    <a:lnTo>
                      <a:pt x="700" y="45"/>
                    </a:lnTo>
                    <a:lnTo>
                      <a:pt x="693" y="39"/>
                    </a:lnTo>
                    <a:lnTo>
                      <a:pt x="685" y="36"/>
                    </a:lnTo>
                    <a:lnTo>
                      <a:pt x="680" y="35"/>
                    </a:lnTo>
                    <a:lnTo>
                      <a:pt x="676" y="35"/>
                    </a:lnTo>
                    <a:lnTo>
                      <a:pt x="676" y="35"/>
                    </a:lnTo>
                    <a:lnTo>
                      <a:pt x="667" y="35"/>
                    </a:lnTo>
                    <a:lnTo>
                      <a:pt x="659" y="37"/>
                    </a:lnTo>
                    <a:lnTo>
                      <a:pt x="652" y="39"/>
                    </a:lnTo>
                    <a:lnTo>
                      <a:pt x="645" y="43"/>
                    </a:lnTo>
                    <a:lnTo>
                      <a:pt x="633" y="52"/>
                    </a:lnTo>
                    <a:lnTo>
                      <a:pt x="622" y="61"/>
                    </a:lnTo>
                    <a:lnTo>
                      <a:pt x="613" y="72"/>
                    </a:lnTo>
                    <a:lnTo>
                      <a:pt x="602" y="81"/>
                    </a:lnTo>
                    <a:lnTo>
                      <a:pt x="598" y="84"/>
                    </a:lnTo>
                    <a:lnTo>
                      <a:pt x="592" y="87"/>
                    </a:lnTo>
                    <a:lnTo>
                      <a:pt x="586" y="89"/>
                    </a:lnTo>
                    <a:lnTo>
                      <a:pt x="580" y="89"/>
                    </a:lnTo>
                    <a:lnTo>
                      <a:pt x="580" y="89"/>
                    </a:lnTo>
                    <a:lnTo>
                      <a:pt x="571" y="89"/>
                    </a:lnTo>
                    <a:lnTo>
                      <a:pt x="563" y="87"/>
                    </a:lnTo>
                    <a:lnTo>
                      <a:pt x="555" y="85"/>
                    </a:lnTo>
                    <a:lnTo>
                      <a:pt x="548" y="82"/>
                    </a:lnTo>
                    <a:lnTo>
                      <a:pt x="535" y="75"/>
                    </a:lnTo>
                    <a:lnTo>
                      <a:pt x="524" y="67"/>
                    </a:lnTo>
                    <a:lnTo>
                      <a:pt x="512" y="59"/>
                    </a:lnTo>
                    <a:lnTo>
                      <a:pt x="499" y="52"/>
                    </a:lnTo>
                    <a:lnTo>
                      <a:pt x="491" y="49"/>
                    </a:lnTo>
                    <a:lnTo>
                      <a:pt x="483" y="46"/>
                    </a:lnTo>
                    <a:lnTo>
                      <a:pt x="473" y="45"/>
                    </a:lnTo>
                    <a:lnTo>
                      <a:pt x="463" y="45"/>
                    </a:lnTo>
                    <a:lnTo>
                      <a:pt x="463" y="45"/>
                    </a:lnTo>
                    <a:lnTo>
                      <a:pt x="436" y="44"/>
                    </a:lnTo>
                    <a:lnTo>
                      <a:pt x="425" y="43"/>
                    </a:lnTo>
                    <a:lnTo>
                      <a:pt x="412" y="40"/>
                    </a:lnTo>
                    <a:lnTo>
                      <a:pt x="402" y="37"/>
                    </a:lnTo>
                    <a:lnTo>
                      <a:pt x="392" y="32"/>
                    </a:lnTo>
                    <a:lnTo>
                      <a:pt x="381" y="27"/>
                    </a:lnTo>
                    <a:lnTo>
                      <a:pt x="371" y="20"/>
                    </a:lnTo>
                    <a:lnTo>
                      <a:pt x="371" y="20"/>
                    </a:lnTo>
                    <a:lnTo>
                      <a:pt x="309" y="20"/>
                    </a:lnTo>
                    <a:lnTo>
                      <a:pt x="309" y="20"/>
                    </a:lnTo>
                    <a:lnTo>
                      <a:pt x="309" y="20"/>
                    </a:lnTo>
                    <a:lnTo>
                      <a:pt x="296" y="15"/>
                    </a:lnTo>
                    <a:lnTo>
                      <a:pt x="281" y="8"/>
                    </a:lnTo>
                    <a:lnTo>
                      <a:pt x="273" y="6"/>
                    </a:lnTo>
                    <a:lnTo>
                      <a:pt x="264" y="4"/>
                    </a:lnTo>
                    <a:lnTo>
                      <a:pt x="255" y="1"/>
                    </a:lnTo>
                    <a:lnTo>
                      <a:pt x="245" y="0"/>
                    </a:lnTo>
                    <a:lnTo>
                      <a:pt x="245" y="0"/>
                    </a:lnTo>
                    <a:lnTo>
                      <a:pt x="235" y="3"/>
                    </a:lnTo>
                    <a:lnTo>
                      <a:pt x="226" y="6"/>
                    </a:lnTo>
                    <a:lnTo>
                      <a:pt x="217" y="12"/>
                    </a:lnTo>
                    <a:lnTo>
                      <a:pt x="210" y="19"/>
                    </a:lnTo>
                    <a:lnTo>
                      <a:pt x="203" y="28"/>
                    </a:lnTo>
                    <a:lnTo>
                      <a:pt x="196" y="39"/>
                    </a:lnTo>
                    <a:lnTo>
                      <a:pt x="191" y="50"/>
                    </a:lnTo>
                    <a:lnTo>
                      <a:pt x="186" y="62"/>
                    </a:lnTo>
                    <a:lnTo>
                      <a:pt x="176" y="88"/>
                    </a:lnTo>
                    <a:lnTo>
                      <a:pt x="168" y="112"/>
                    </a:lnTo>
                    <a:lnTo>
                      <a:pt x="159" y="135"/>
                    </a:lnTo>
                    <a:lnTo>
                      <a:pt x="155" y="144"/>
                    </a:lnTo>
                    <a:lnTo>
                      <a:pt x="150" y="151"/>
                    </a:lnTo>
                    <a:lnTo>
                      <a:pt x="150" y="151"/>
                    </a:lnTo>
                    <a:lnTo>
                      <a:pt x="147" y="157"/>
                    </a:lnTo>
                    <a:lnTo>
                      <a:pt x="143" y="161"/>
                    </a:lnTo>
                    <a:lnTo>
                      <a:pt x="138" y="166"/>
                    </a:lnTo>
                    <a:lnTo>
                      <a:pt x="133" y="169"/>
                    </a:lnTo>
                    <a:lnTo>
                      <a:pt x="122" y="174"/>
                    </a:lnTo>
                    <a:lnTo>
                      <a:pt x="112" y="177"/>
                    </a:lnTo>
                    <a:lnTo>
                      <a:pt x="100" y="182"/>
                    </a:lnTo>
                    <a:lnTo>
                      <a:pt x="90" y="188"/>
                    </a:lnTo>
                    <a:lnTo>
                      <a:pt x="86" y="191"/>
                    </a:lnTo>
                    <a:lnTo>
                      <a:pt x="81" y="195"/>
                    </a:lnTo>
                    <a:lnTo>
                      <a:pt x="77" y="200"/>
                    </a:lnTo>
                    <a:lnTo>
                      <a:pt x="73" y="206"/>
                    </a:lnTo>
                    <a:lnTo>
                      <a:pt x="73" y="206"/>
                    </a:lnTo>
                    <a:lnTo>
                      <a:pt x="68" y="215"/>
                    </a:lnTo>
                    <a:lnTo>
                      <a:pt x="65" y="223"/>
                    </a:lnTo>
                    <a:lnTo>
                      <a:pt x="58" y="243"/>
                    </a:lnTo>
                    <a:lnTo>
                      <a:pt x="51" y="263"/>
                    </a:lnTo>
                    <a:lnTo>
                      <a:pt x="46" y="273"/>
                    </a:lnTo>
                    <a:lnTo>
                      <a:pt x="40" y="283"/>
                    </a:lnTo>
                    <a:lnTo>
                      <a:pt x="40" y="283"/>
                    </a:lnTo>
                    <a:lnTo>
                      <a:pt x="14" y="280"/>
                    </a:lnTo>
                    <a:lnTo>
                      <a:pt x="26" y="306"/>
                    </a:lnTo>
                    <a:lnTo>
                      <a:pt x="26" y="306"/>
                    </a:lnTo>
                    <a:lnTo>
                      <a:pt x="26" y="306"/>
                    </a:lnTo>
                    <a:lnTo>
                      <a:pt x="29" y="306"/>
                    </a:lnTo>
                    <a:lnTo>
                      <a:pt x="28" y="307"/>
                    </a:lnTo>
                    <a:lnTo>
                      <a:pt x="27" y="312"/>
                    </a:lnTo>
                    <a:lnTo>
                      <a:pt x="26" y="320"/>
                    </a:lnTo>
                    <a:lnTo>
                      <a:pt x="26" y="320"/>
                    </a:lnTo>
                    <a:lnTo>
                      <a:pt x="25" y="326"/>
                    </a:lnTo>
                    <a:lnTo>
                      <a:pt x="22" y="330"/>
                    </a:lnTo>
                    <a:lnTo>
                      <a:pt x="13" y="339"/>
                    </a:lnTo>
                    <a:lnTo>
                      <a:pt x="8" y="343"/>
                    </a:lnTo>
                    <a:lnTo>
                      <a:pt x="4" y="349"/>
                    </a:lnTo>
                    <a:lnTo>
                      <a:pt x="2" y="356"/>
                    </a:lnTo>
                    <a:lnTo>
                      <a:pt x="0" y="365"/>
                    </a:lnTo>
                    <a:lnTo>
                      <a:pt x="0" y="365"/>
                    </a:lnTo>
                    <a:lnTo>
                      <a:pt x="0" y="373"/>
                    </a:lnTo>
                    <a:lnTo>
                      <a:pt x="4" y="381"/>
                    </a:lnTo>
                    <a:lnTo>
                      <a:pt x="7" y="390"/>
                    </a:lnTo>
                    <a:lnTo>
                      <a:pt x="12" y="398"/>
                    </a:lnTo>
                    <a:lnTo>
                      <a:pt x="21" y="414"/>
                    </a:lnTo>
                    <a:lnTo>
                      <a:pt x="29" y="427"/>
                    </a:lnTo>
                    <a:lnTo>
                      <a:pt x="29" y="427"/>
                    </a:lnTo>
                    <a:lnTo>
                      <a:pt x="29" y="489"/>
                    </a:lnTo>
                    <a:lnTo>
                      <a:pt x="29" y="489"/>
                    </a:lnTo>
                    <a:lnTo>
                      <a:pt x="29" y="489"/>
                    </a:lnTo>
                    <a:lnTo>
                      <a:pt x="38" y="501"/>
                    </a:lnTo>
                    <a:lnTo>
                      <a:pt x="48" y="516"/>
                    </a:lnTo>
                    <a:lnTo>
                      <a:pt x="48" y="516"/>
                    </a:lnTo>
                    <a:lnTo>
                      <a:pt x="84" y="526"/>
                    </a:lnTo>
                    <a:lnTo>
                      <a:pt x="84" y="526"/>
                    </a:lnTo>
                    <a:lnTo>
                      <a:pt x="84" y="526"/>
                    </a:lnTo>
                    <a:lnTo>
                      <a:pt x="86" y="530"/>
                    </a:lnTo>
                    <a:lnTo>
                      <a:pt x="89" y="532"/>
                    </a:lnTo>
                    <a:lnTo>
                      <a:pt x="100" y="536"/>
                    </a:lnTo>
                    <a:lnTo>
                      <a:pt x="115" y="541"/>
                    </a:lnTo>
                    <a:lnTo>
                      <a:pt x="134" y="546"/>
                    </a:lnTo>
                    <a:lnTo>
                      <a:pt x="168" y="551"/>
                    </a:lnTo>
                    <a:lnTo>
                      <a:pt x="191" y="556"/>
                    </a:lnTo>
                    <a:lnTo>
                      <a:pt x="191" y="556"/>
                    </a:lnTo>
                    <a:lnTo>
                      <a:pt x="209" y="559"/>
                    </a:lnTo>
                    <a:lnTo>
                      <a:pt x="226" y="564"/>
                    </a:lnTo>
                    <a:lnTo>
                      <a:pt x="242" y="570"/>
                    </a:lnTo>
                    <a:lnTo>
                      <a:pt x="257" y="577"/>
                    </a:lnTo>
                    <a:lnTo>
                      <a:pt x="286" y="593"/>
                    </a:lnTo>
                    <a:lnTo>
                      <a:pt x="312" y="607"/>
                    </a:lnTo>
                    <a:lnTo>
                      <a:pt x="312" y="607"/>
                    </a:lnTo>
                    <a:lnTo>
                      <a:pt x="317" y="610"/>
                    </a:lnTo>
                    <a:lnTo>
                      <a:pt x="321" y="615"/>
                    </a:lnTo>
                    <a:lnTo>
                      <a:pt x="325" y="619"/>
                    </a:lnTo>
                    <a:lnTo>
                      <a:pt x="327" y="624"/>
                    </a:lnTo>
                    <a:lnTo>
                      <a:pt x="332" y="633"/>
                    </a:lnTo>
                    <a:lnTo>
                      <a:pt x="335" y="645"/>
                    </a:lnTo>
                    <a:lnTo>
                      <a:pt x="338" y="655"/>
                    </a:lnTo>
                    <a:lnTo>
                      <a:pt x="341" y="665"/>
                    </a:lnTo>
                    <a:lnTo>
                      <a:pt x="346" y="676"/>
                    </a:lnTo>
                    <a:lnTo>
                      <a:pt x="349" y="680"/>
                    </a:lnTo>
                    <a:lnTo>
                      <a:pt x="352" y="684"/>
                    </a:lnTo>
                    <a:lnTo>
                      <a:pt x="352" y="684"/>
                    </a:lnTo>
                    <a:lnTo>
                      <a:pt x="358" y="686"/>
                    </a:lnTo>
                    <a:lnTo>
                      <a:pt x="365" y="688"/>
                    </a:lnTo>
                    <a:lnTo>
                      <a:pt x="382" y="689"/>
                    </a:lnTo>
                    <a:lnTo>
                      <a:pt x="418" y="688"/>
                    </a:lnTo>
                    <a:lnTo>
                      <a:pt x="418" y="688"/>
                    </a:lnTo>
                    <a:lnTo>
                      <a:pt x="424" y="689"/>
                    </a:lnTo>
                    <a:lnTo>
                      <a:pt x="430" y="691"/>
                    </a:lnTo>
                    <a:lnTo>
                      <a:pt x="440" y="696"/>
                    </a:lnTo>
                    <a:lnTo>
                      <a:pt x="461" y="709"/>
                    </a:lnTo>
                    <a:lnTo>
                      <a:pt x="472" y="716"/>
                    </a:lnTo>
                    <a:lnTo>
                      <a:pt x="485" y="723"/>
                    </a:lnTo>
                    <a:lnTo>
                      <a:pt x="499" y="726"/>
                    </a:lnTo>
                    <a:lnTo>
                      <a:pt x="506" y="727"/>
                    </a:lnTo>
                    <a:lnTo>
                      <a:pt x="514" y="729"/>
                    </a:lnTo>
                    <a:lnTo>
                      <a:pt x="514" y="729"/>
                    </a:lnTo>
                    <a:lnTo>
                      <a:pt x="523" y="727"/>
                    </a:lnTo>
                    <a:lnTo>
                      <a:pt x="531" y="725"/>
                    </a:lnTo>
                    <a:lnTo>
                      <a:pt x="547" y="719"/>
                    </a:lnTo>
                    <a:lnTo>
                      <a:pt x="563" y="713"/>
                    </a:lnTo>
                    <a:lnTo>
                      <a:pt x="571" y="710"/>
                    </a:lnTo>
                    <a:lnTo>
                      <a:pt x="580" y="710"/>
                    </a:lnTo>
                    <a:lnTo>
                      <a:pt x="580" y="710"/>
                    </a:lnTo>
                    <a:lnTo>
                      <a:pt x="585" y="710"/>
                    </a:lnTo>
                    <a:lnTo>
                      <a:pt x="590" y="711"/>
                    </a:lnTo>
                    <a:lnTo>
                      <a:pt x="593" y="714"/>
                    </a:lnTo>
                    <a:lnTo>
                      <a:pt x="595" y="717"/>
                    </a:lnTo>
                    <a:lnTo>
                      <a:pt x="596" y="721"/>
                    </a:lnTo>
                    <a:lnTo>
                      <a:pt x="598" y="724"/>
                    </a:lnTo>
                    <a:lnTo>
                      <a:pt x="599" y="732"/>
                    </a:lnTo>
                    <a:lnTo>
                      <a:pt x="599" y="732"/>
                    </a:lnTo>
                    <a:lnTo>
                      <a:pt x="598" y="737"/>
                    </a:lnTo>
                    <a:lnTo>
                      <a:pt x="596" y="740"/>
                    </a:lnTo>
                    <a:lnTo>
                      <a:pt x="593" y="747"/>
                    </a:lnTo>
                    <a:lnTo>
                      <a:pt x="590" y="755"/>
                    </a:lnTo>
                    <a:lnTo>
                      <a:pt x="587" y="760"/>
                    </a:lnTo>
                    <a:lnTo>
                      <a:pt x="587" y="765"/>
                    </a:lnTo>
                    <a:lnTo>
                      <a:pt x="587" y="765"/>
                    </a:lnTo>
                    <a:lnTo>
                      <a:pt x="588" y="770"/>
                    </a:lnTo>
                    <a:lnTo>
                      <a:pt x="591" y="775"/>
                    </a:lnTo>
                    <a:lnTo>
                      <a:pt x="596" y="782"/>
                    </a:lnTo>
                    <a:lnTo>
                      <a:pt x="600" y="786"/>
                    </a:lnTo>
                    <a:lnTo>
                      <a:pt x="603" y="791"/>
                    </a:lnTo>
                    <a:lnTo>
                      <a:pt x="606" y="795"/>
                    </a:lnTo>
                    <a:lnTo>
                      <a:pt x="606" y="801"/>
                    </a:lnTo>
                    <a:lnTo>
                      <a:pt x="606" y="801"/>
                    </a:lnTo>
                    <a:lnTo>
                      <a:pt x="605" y="813"/>
                    </a:lnTo>
                    <a:lnTo>
                      <a:pt x="602" y="822"/>
                    </a:lnTo>
                    <a:lnTo>
                      <a:pt x="600" y="832"/>
                    </a:lnTo>
                    <a:lnTo>
                      <a:pt x="599" y="843"/>
                    </a:lnTo>
                    <a:lnTo>
                      <a:pt x="599" y="843"/>
                    </a:lnTo>
                    <a:lnTo>
                      <a:pt x="621" y="843"/>
                    </a:lnTo>
                    <a:lnTo>
                      <a:pt x="621" y="843"/>
                    </a:lnTo>
                    <a:lnTo>
                      <a:pt x="621" y="843"/>
                    </a:lnTo>
                    <a:lnTo>
                      <a:pt x="622" y="836"/>
                    </a:lnTo>
                    <a:lnTo>
                      <a:pt x="623" y="830"/>
                    </a:lnTo>
                    <a:lnTo>
                      <a:pt x="625" y="824"/>
                    </a:lnTo>
                    <a:lnTo>
                      <a:pt x="629" y="818"/>
                    </a:lnTo>
                    <a:lnTo>
                      <a:pt x="632" y="814"/>
                    </a:lnTo>
                    <a:lnTo>
                      <a:pt x="636" y="810"/>
                    </a:lnTo>
                    <a:lnTo>
                      <a:pt x="646" y="803"/>
                    </a:lnTo>
                    <a:lnTo>
                      <a:pt x="656" y="798"/>
                    </a:lnTo>
                    <a:lnTo>
                      <a:pt x="669" y="794"/>
                    </a:lnTo>
                    <a:lnTo>
                      <a:pt x="683" y="792"/>
                    </a:lnTo>
                    <a:lnTo>
                      <a:pt x="698" y="791"/>
                    </a:lnTo>
                    <a:lnTo>
                      <a:pt x="698" y="791"/>
                    </a:lnTo>
                    <a:lnTo>
                      <a:pt x="698" y="784"/>
                    </a:lnTo>
                    <a:lnTo>
                      <a:pt x="698" y="78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5" name="Freeform 90"/>
              <p:cNvSpPr>
                <a:spLocks noChangeAspect="1"/>
              </p:cNvSpPr>
              <p:nvPr/>
            </p:nvSpPr>
            <p:spPr bwMode="auto">
              <a:xfrm>
                <a:off x="492963" y="2930633"/>
                <a:ext cx="147416" cy="154465"/>
              </a:xfrm>
              <a:custGeom>
                <a:avLst/>
                <a:gdLst/>
                <a:ahLst/>
                <a:cxnLst>
                  <a:cxn ang="0">
                    <a:pos x="185" y="147"/>
                  </a:cxn>
                  <a:cxn ang="0">
                    <a:pos x="185" y="147"/>
                  </a:cxn>
                  <a:cxn ang="0">
                    <a:pos x="185" y="155"/>
                  </a:cxn>
                  <a:cxn ang="0">
                    <a:pos x="183" y="163"/>
                  </a:cxn>
                  <a:cxn ang="0">
                    <a:pos x="180" y="169"/>
                  </a:cxn>
                  <a:cxn ang="0">
                    <a:pos x="177" y="175"/>
                  </a:cxn>
                  <a:cxn ang="0">
                    <a:pos x="174" y="180"/>
                  </a:cxn>
                  <a:cxn ang="0">
                    <a:pos x="169" y="184"/>
                  </a:cxn>
                  <a:cxn ang="0">
                    <a:pos x="159" y="191"/>
                  </a:cxn>
                  <a:cxn ang="0">
                    <a:pos x="148" y="196"/>
                  </a:cxn>
                  <a:cxn ang="0">
                    <a:pos x="137" y="202"/>
                  </a:cxn>
                  <a:cxn ang="0">
                    <a:pos x="126" y="207"/>
                  </a:cxn>
                  <a:cxn ang="0">
                    <a:pos x="118" y="214"/>
                  </a:cxn>
                  <a:cxn ang="0">
                    <a:pos x="118" y="214"/>
                  </a:cxn>
                  <a:cxn ang="0">
                    <a:pos x="111" y="221"/>
                  </a:cxn>
                  <a:cxn ang="0">
                    <a:pos x="111" y="221"/>
                  </a:cxn>
                  <a:cxn ang="0">
                    <a:pos x="111" y="221"/>
                  </a:cxn>
                  <a:cxn ang="0">
                    <a:pos x="100" y="201"/>
                  </a:cxn>
                  <a:cxn ang="0">
                    <a:pos x="86" y="181"/>
                  </a:cxn>
                  <a:cxn ang="0">
                    <a:pos x="57" y="141"/>
                  </a:cxn>
                  <a:cxn ang="0">
                    <a:pos x="42" y="120"/>
                  </a:cxn>
                  <a:cxn ang="0">
                    <a:pos x="29" y="99"/>
                  </a:cxn>
                  <a:cxn ang="0">
                    <a:pos x="16" y="76"/>
                  </a:cxn>
                  <a:cxn ang="0">
                    <a:pos x="4" y="51"/>
                  </a:cxn>
                  <a:cxn ang="0">
                    <a:pos x="4" y="51"/>
                  </a:cxn>
                  <a:cxn ang="0">
                    <a:pos x="1" y="39"/>
                  </a:cxn>
                  <a:cxn ang="0">
                    <a:pos x="0" y="31"/>
                  </a:cxn>
                  <a:cxn ang="0">
                    <a:pos x="1" y="27"/>
                  </a:cxn>
                  <a:cxn ang="0">
                    <a:pos x="2" y="24"/>
                  </a:cxn>
                  <a:cxn ang="0">
                    <a:pos x="6" y="19"/>
                  </a:cxn>
                  <a:cxn ang="0">
                    <a:pos x="10" y="17"/>
                  </a:cxn>
                  <a:cxn ang="0">
                    <a:pos x="17" y="13"/>
                  </a:cxn>
                  <a:cxn ang="0">
                    <a:pos x="24" y="11"/>
                  </a:cxn>
                  <a:cxn ang="0">
                    <a:pos x="31" y="8"/>
                  </a:cxn>
                  <a:cxn ang="0">
                    <a:pos x="31" y="8"/>
                  </a:cxn>
                  <a:cxn ang="0">
                    <a:pos x="37" y="4"/>
                  </a:cxn>
                  <a:cxn ang="0">
                    <a:pos x="42" y="2"/>
                  </a:cxn>
                  <a:cxn ang="0">
                    <a:pos x="48" y="1"/>
                  </a:cxn>
                  <a:cxn ang="0">
                    <a:pos x="52" y="0"/>
                  </a:cxn>
                  <a:cxn ang="0">
                    <a:pos x="56" y="1"/>
                  </a:cxn>
                  <a:cxn ang="0">
                    <a:pos x="60" y="2"/>
                  </a:cxn>
                  <a:cxn ang="0">
                    <a:pos x="69" y="7"/>
                  </a:cxn>
                  <a:cxn ang="0">
                    <a:pos x="78" y="11"/>
                  </a:cxn>
                  <a:cxn ang="0">
                    <a:pos x="92" y="17"/>
                  </a:cxn>
                  <a:cxn ang="0">
                    <a:pos x="100" y="19"/>
                  </a:cxn>
                  <a:cxn ang="0">
                    <a:pos x="109" y="20"/>
                  </a:cxn>
                  <a:cxn ang="0">
                    <a:pos x="121" y="22"/>
                  </a:cxn>
                  <a:cxn ang="0">
                    <a:pos x="133" y="22"/>
                  </a:cxn>
                  <a:cxn ang="0">
                    <a:pos x="133" y="22"/>
                  </a:cxn>
                  <a:cxn ang="0">
                    <a:pos x="160" y="66"/>
                  </a:cxn>
                  <a:cxn ang="0">
                    <a:pos x="160" y="66"/>
                  </a:cxn>
                  <a:cxn ang="0">
                    <a:pos x="168" y="84"/>
                  </a:cxn>
                  <a:cxn ang="0">
                    <a:pos x="175" y="102"/>
                  </a:cxn>
                  <a:cxn ang="0">
                    <a:pos x="182" y="123"/>
                  </a:cxn>
                  <a:cxn ang="0">
                    <a:pos x="185" y="147"/>
                  </a:cxn>
                  <a:cxn ang="0">
                    <a:pos x="185" y="147"/>
                  </a:cxn>
                  <a:cxn ang="0">
                    <a:pos x="185" y="147"/>
                  </a:cxn>
                </a:cxnLst>
                <a:rect l="0" t="0" r="r" b="b"/>
                <a:pathLst>
                  <a:path w="185" h="221">
                    <a:moveTo>
                      <a:pt x="185" y="147"/>
                    </a:moveTo>
                    <a:lnTo>
                      <a:pt x="185" y="147"/>
                    </a:lnTo>
                    <a:lnTo>
                      <a:pt x="185" y="155"/>
                    </a:lnTo>
                    <a:lnTo>
                      <a:pt x="183" y="163"/>
                    </a:lnTo>
                    <a:lnTo>
                      <a:pt x="180" y="169"/>
                    </a:lnTo>
                    <a:lnTo>
                      <a:pt x="177" y="175"/>
                    </a:lnTo>
                    <a:lnTo>
                      <a:pt x="174" y="180"/>
                    </a:lnTo>
                    <a:lnTo>
                      <a:pt x="169" y="184"/>
                    </a:lnTo>
                    <a:lnTo>
                      <a:pt x="159" y="191"/>
                    </a:lnTo>
                    <a:lnTo>
                      <a:pt x="148" y="196"/>
                    </a:lnTo>
                    <a:lnTo>
                      <a:pt x="137" y="202"/>
                    </a:lnTo>
                    <a:lnTo>
                      <a:pt x="126" y="207"/>
                    </a:lnTo>
                    <a:lnTo>
                      <a:pt x="118" y="214"/>
                    </a:lnTo>
                    <a:lnTo>
                      <a:pt x="118" y="214"/>
                    </a:lnTo>
                    <a:lnTo>
                      <a:pt x="111" y="221"/>
                    </a:lnTo>
                    <a:lnTo>
                      <a:pt x="111" y="221"/>
                    </a:lnTo>
                    <a:lnTo>
                      <a:pt x="111" y="221"/>
                    </a:lnTo>
                    <a:lnTo>
                      <a:pt x="100" y="201"/>
                    </a:lnTo>
                    <a:lnTo>
                      <a:pt x="86" y="181"/>
                    </a:lnTo>
                    <a:lnTo>
                      <a:pt x="57" y="141"/>
                    </a:lnTo>
                    <a:lnTo>
                      <a:pt x="42" y="120"/>
                    </a:lnTo>
                    <a:lnTo>
                      <a:pt x="29" y="99"/>
                    </a:lnTo>
                    <a:lnTo>
                      <a:pt x="16" y="76"/>
                    </a:lnTo>
                    <a:lnTo>
                      <a:pt x="4" y="51"/>
                    </a:lnTo>
                    <a:lnTo>
                      <a:pt x="4" y="51"/>
                    </a:lnTo>
                    <a:lnTo>
                      <a:pt x="1" y="39"/>
                    </a:lnTo>
                    <a:lnTo>
                      <a:pt x="0" y="31"/>
                    </a:lnTo>
                    <a:lnTo>
                      <a:pt x="1" y="27"/>
                    </a:lnTo>
                    <a:lnTo>
                      <a:pt x="2" y="24"/>
                    </a:lnTo>
                    <a:lnTo>
                      <a:pt x="6" y="19"/>
                    </a:lnTo>
                    <a:lnTo>
                      <a:pt x="10" y="17"/>
                    </a:lnTo>
                    <a:lnTo>
                      <a:pt x="17" y="13"/>
                    </a:lnTo>
                    <a:lnTo>
                      <a:pt x="24" y="11"/>
                    </a:lnTo>
                    <a:lnTo>
                      <a:pt x="31" y="8"/>
                    </a:lnTo>
                    <a:lnTo>
                      <a:pt x="31" y="8"/>
                    </a:lnTo>
                    <a:lnTo>
                      <a:pt x="37" y="4"/>
                    </a:lnTo>
                    <a:lnTo>
                      <a:pt x="42" y="2"/>
                    </a:lnTo>
                    <a:lnTo>
                      <a:pt x="48" y="1"/>
                    </a:lnTo>
                    <a:lnTo>
                      <a:pt x="52" y="0"/>
                    </a:lnTo>
                    <a:lnTo>
                      <a:pt x="56" y="1"/>
                    </a:lnTo>
                    <a:lnTo>
                      <a:pt x="60" y="2"/>
                    </a:lnTo>
                    <a:lnTo>
                      <a:pt x="69" y="7"/>
                    </a:lnTo>
                    <a:lnTo>
                      <a:pt x="78" y="11"/>
                    </a:lnTo>
                    <a:lnTo>
                      <a:pt x="92" y="17"/>
                    </a:lnTo>
                    <a:lnTo>
                      <a:pt x="100" y="19"/>
                    </a:lnTo>
                    <a:lnTo>
                      <a:pt x="109" y="20"/>
                    </a:lnTo>
                    <a:lnTo>
                      <a:pt x="121" y="22"/>
                    </a:lnTo>
                    <a:lnTo>
                      <a:pt x="133" y="22"/>
                    </a:lnTo>
                    <a:lnTo>
                      <a:pt x="133" y="22"/>
                    </a:lnTo>
                    <a:lnTo>
                      <a:pt x="160" y="66"/>
                    </a:lnTo>
                    <a:lnTo>
                      <a:pt x="160" y="66"/>
                    </a:lnTo>
                    <a:lnTo>
                      <a:pt x="168" y="84"/>
                    </a:lnTo>
                    <a:lnTo>
                      <a:pt x="175" y="102"/>
                    </a:lnTo>
                    <a:lnTo>
                      <a:pt x="182" y="123"/>
                    </a:lnTo>
                    <a:lnTo>
                      <a:pt x="185" y="147"/>
                    </a:lnTo>
                    <a:lnTo>
                      <a:pt x="185" y="147"/>
                    </a:lnTo>
                    <a:lnTo>
                      <a:pt x="185" y="14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6" name="Freeform 91"/>
              <p:cNvSpPr>
                <a:spLocks noChangeAspect="1"/>
              </p:cNvSpPr>
              <p:nvPr/>
            </p:nvSpPr>
            <p:spPr bwMode="auto">
              <a:xfrm>
                <a:off x="728421" y="3841423"/>
                <a:ext cx="256788" cy="208738"/>
              </a:xfrm>
              <a:custGeom>
                <a:avLst/>
                <a:gdLst/>
                <a:ahLst/>
                <a:cxnLst>
                  <a:cxn ang="0">
                    <a:pos x="312" y="234"/>
                  </a:cxn>
                  <a:cxn ang="0">
                    <a:pos x="319" y="250"/>
                  </a:cxn>
                  <a:cxn ang="0">
                    <a:pos x="321" y="254"/>
                  </a:cxn>
                  <a:cxn ang="0">
                    <a:pos x="324" y="258"/>
                  </a:cxn>
                  <a:cxn ang="0">
                    <a:pos x="317" y="279"/>
                  </a:cxn>
                  <a:cxn ang="0">
                    <a:pos x="301" y="302"/>
                  </a:cxn>
                  <a:cxn ang="0">
                    <a:pos x="231" y="277"/>
                  </a:cxn>
                  <a:cxn ang="0">
                    <a:pos x="158" y="254"/>
                  </a:cxn>
                  <a:cxn ang="0">
                    <a:pos x="149" y="250"/>
                  </a:cxn>
                  <a:cxn ang="0">
                    <a:pos x="132" y="223"/>
                  </a:cxn>
                  <a:cxn ang="0">
                    <a:pos x="117" y="203"/>
                  </a:cxn>
                  <a:cxn ang="0">
                    <a:pos x="103" y="199"/>
                  </a:cxn>
                  <a:cxn ang="0">
                    <a:pos x="77" y="199"/>
                  </a:cxn>
                  <a:cxn ang="0">
                    <a:pos x="61" y="195"/>
                  </a:cxn>
                  <a:cxn ang="0">
                    <a:pos x="44" y="177"/>
                  </a:cxn>
                  <a:cxn ang="0">
                    <a:pos x="43" y="167"/>
                  </a:cxn>
                  <a:cxn ang="0">
                    <a:pos x="43" y="140"/>
                  </a:cxn>
                  <a:cxn ang="0">
                    <a:pos x="36" y="129"/>
                  </a:cxn>
                  <a:cxn ang="0">
                    <a:pos x="14" y="108"/>
                  </a:cxn>
                  <a:cxn ang="0">
                    <a:pos x="2" y="88"/>
                  </a:cxn>
                  <a:cxn ang="0">
                    <a:pos x="2" y="70"/>
                  </a:cxn>
                  <a:cxn ang="0">
                    <a:pos x="16" y="47"/>
                  </a:cxn>
                  <a:cxn ang="0">
                    <a:pos x="41" y="30"/>
                  </a:cxn>
                  <a:cxn ang="0">
                    <a:pos x="52" y="31"/>
                  </a:cxn>
                  <a:cxn ang="0">
                    <a:pos x="59" y="37"/>
                  </a:cxn>
                  <a:cxn ang="0">
                    <a:pos x="67" y="32"/>
                  </a:cxn>
                  <a:cxn ang="0">
                    <a:pos x="90" y="5"/>
                  </a:cxn>
                  <a:cxn ang="0">
                    <a:pos x="96" y="4"/>
                  </a:cxn>
                  <a:cxn ang="0">
                    <a:pos x="110" y="7"/>
                  </a:cxn>
                  <a:cxn ang="0">
                    <a:pos x="132" y="4"/>
                  </a:cxn>
                  <a:cxn ang="0">
                    <a:pos x="155" y="0"/>
                  </a:cxn>
                  <a:cxn ang="0">
                    <a:pos x="182" y="5"/>
                  </a:cxn>
                  <a:cxn ang="0">
                    <a:pos x="196" y="14"/>
                  </a:cxn>
                  <a:cxn ang="0">
                    <a:pos x="208" y="39"/>
                  </a:cxn>
                  <a:cxn ang="0">
                    <a:pos x="213" y="67"/>
                  </a:cxn>
                  <a:cxn ang="0">
                    <a:pos x="219" y="71"/>
                  </a:cxn>
                  <a:cxn ang="0">
                    <a:pos x="247" y="81"/>
                  </a:cxn>
                  <a:cxn ang="0">
                    <a:pos x="257" y="89"/>
                  </a:cxn>
                  <a:cxn ang="0">
                    <a:pos x="264" y="107"/>
                  </a:cxn>
                  <a:cxn ang="0">
                    <a:pos x="277" y="175"/>
                  </a:cxn>
                  <a:cxn ang="0">
                    <a:pos x="286" y="199"/>
                  </a:cxn>
                  <a:cxn ang="0">
                    <a:pos x="304" y="221"/>
                  </a:cxn>
                  <a:cxn ang="0">
                    <a:pos x="312" y="224"/>
                  </a:cxn>
                </a:cxnLst>
                <a:rect l="0" t="0" r="r" b="b"/>
                <a:pathLst>
                  <a:path w="324" h="302">
                    <a:moveTo>
                      <a:pt x="312" y="224"/>
                    </a:moveTo>
                    <a:lnTo>
                      <a:pt x="312" y="224"/>
                    </a:lnTo>
                    <a:lnTo>
                      <a:pt x="312" y="234"/>
                    </a:lnTo>
                    <a:lnTo>
                      <a:pt x="313" y="238"/>
                    </a:lnTo>
                    <a:lnTo>
                      <a:pt x="316" y="244"/>
                    </a:lnTo>
                    <a:lnTo>
                      <a:pt x="319" y="250"/>
                    </a:lnTo>
                    <a:lnTo>
                      <a:pt x="319" y="250"/>
                    </a:lnTo>
                    <a:lnTo>
                      <a:pt x="320" y="252"/>
                    </a:lnTo>
                    <a:lnTo>
                      <a:pt x="321" y="254"/>
                    </a:lnTo>
                    <a:lnTo>
                      <a:pt x="323" y="256"/>
                    </a:lnTo>
                    <a:lnTo>
                      <a:pt x="324" y="258"/>
                    </a:lnTo>
                    <a:lnTo>
                      <a:pt x="324" y="258"/>
                    </a:lnTo>
                    <a:lnTo>
                      <a:pt x="323" y="262"/>
                    </a:lnTo>
                    <a:lnTo>
                      <a:pt x="321" y="267"/>
                    </a:lnTo>
                    <a:lnTo>
                      <a:pt x="317" y="279"/>
                    </a:lnTo>
                    <a:lnTo>
                      <a:pt x="309" y="290"/>
                    </a:lnTo>
                    <a:lnTo>
                      <a:pt x="301" y="302"/>
                    </a:lnTo>
                    <a:lnTo>
                      <a:pt x="301" y="302"/>
                    </a:lnTo>
                    <a:lnTo>
                      <a:pt x="283" y="294"/>
                    </a:lnTo>
                    <a:lnTo>
                      <a:pt x="266" y="288"/>
                    </a:lnTo>
                    <a:lnTo>
                      <a:pt x="231" y="277"/>
                    </a:lnTo>
                    <a:lnTo>
                      <a:pt x="195" y="267"/>
                    </a:lnTo>
                    <a:lnTo>
                      <a:pt x="176" y="261"/>
                    </a:lnTo>
                    <a:lnTo>
                      <a:pt x="158" y="254"/>
                    </a:lnTo>
                    <a:lnTo>
                      <a:pt x="158" y="254"/>
                    </a:lnTo>
                    <a:lnTo>
                      <a:pt x="153" y="252"/>
                    </a:lnTo>
                    <a:lnTo>
                      <a:pt x="149" y="250"/>
                    </a:lnTo>
                    <a:lnTo>
                      <a:pt x="143" y="242"/>
                    </a:lnTo>
                    <a:lnTo>
                      <a:pt x="137" y="233"/>
                    </a:lnTo>
                    <a:lnTo>
                      <a:pt x="132" y="223"/>
                    </a:lnTo>
                    <a:lnTo>
                      <a:pt x="127" y="214"/>
                    </a:lnTo>
                    <a:lnTo>
                      <a:pt x="120" y="206"/>
                    </a:lnTo>
                    <a:lnTo>
                      <a:pt x="117" y="203"/>
                    </a:lnTo>
                    <a:lnTo>
                      <a:pt x="113" y="200"/>
                    </a:lnTo>
                    <a:lnTo>
                      <a:pt x="109" y="199"/>
                    </a:lnTo>
                    <a:lnTo>
                      <a:pt x="103" y="199"/>
                    </a:lnTo>
                    <a:lnTo>
                      <a:pt x="103" y="199"/>
                    </a:lnTo>
                    <a:lnTo>
                      <a:pt x="77" y="199"/>
                    </a:lnTo>
                    <a:lnTo>
                      <a:pt x="77" y="199"/>
                    </a:lnTo>
                    <a:lnTo>
                      <a:pt x="71" y="198"/>
                    </a:lnTo>
                    <a:lnTo>
                      <a:pt x="66" y="197"/>
                    </a:lnTo>
                    <a:lnTo>
                      <a:pt x="61" y="195"/>
                    </a:lnTo>
                    <a:lnTo>
                      <a:pt x="58" y="192"/>
                    </a:lnTo>
                    <a:lnTo>
                      <a:pt x="51" y="185"/>
                    </a:lnTo>
                    <a:lnTo>
                      <a:pt x="44" y="177"/>
                    </a:lnTo>
                    <a:lnTo>
                      <a:pt x="44" y="177"/>
                    </a:lnTo>
                    <a:lnTo>
                      <a:pt x="43" y="173"/>
                    </a:lnTo>
                    <a:lnTo>
                      <a:pt x="43" y="167"/>
                    </a:lnTo>
                    <a:lnTo>
                      <a:pt x="44" y="154"/>
                    </a:lnTo>
                    <a:lnTo>
                      <a:pt x="44" y="147"/>
                    </a:lnTo>
                    <a:lnTo>
                      <a:pt x="43" y="140"/>
                    </a:lnTo>
                    <a:lnTo>
                      <a:pt x="41" y="135"/>
                    </a:lnTo>
                    <a:lnTo>
                      <a:pt x="36" y="129"/>
                    </a:lnTo>
                    <a:lnTo>
                      <a:pt x="36" y="129"/>
                    </a:lnTo>
                    <a:lnTo>
                      <a:pt x="31" y="123"/>
                    </a:lnTo>
                    <a:lnTo>
                      <a:pt x="26" y="119"/>
                    </a:lnTo>
                    <a:lnTo>
                      <a:pt x="14" y="108"/>
                    </a:lnTo>
                    <a:lnTo>
                      <a:pt x="8" y="102"/>
                    </a:lnTo>
                    <a:lnTo>
                      <a:pt x="4" y="96"/>
                    </a:lnTo>
                    <a:lnTo>
                      <a:pt x="2" y="88"/>
                    </a:lnTo>
                    <a:lnTo>
                      <a:pt x="0" y="77"/>
                    </a:lnTo>
                    <a:lnTo>
                      <a:pt x="0" y="77"/>
                    </a:lnTo>
                    <a:lnTo>
                      <a:pt x="2" y="70"/>
                    </a:lnTo>
                    <a:lnTo>
                      <a:pt x="5" y="63"/>
                    </a:lnTo>
                    <a:lnTo>
                      <a:pt x="11" y="55"/>
                    </a:lnTo>
                    <a:lnTo>
                      <a:pt x="16" y="47"/>
                    </a:lnTo>
                    <a:lnTo>
                      <a:pt x="25" y="40"/>
                    </a:lnTo>
                    <a:lnTo>
                      <a:pt x="33" y="35"/>
                    </a:lnTo>
                    <a:lnTo>
                      <a:pt x="41" y="30"/>
                    </a:lnTo>
                    <a:lnTo>
                      <a:pt x="48" y="25"/>
                    </a:lnTo>
                    <a:lnTo>
                      <a:pt x="48" y="25"/>
                    </a:lnTo>
                    <a:lnTo>
                      <a:pt x="52" y="31"/>
                    </a:lnTo>
                    <a:lnTo>
                      <a:pt x="56" y="36"/>
                    </a:lnTo>
                    <a:lnTo>
                      <a:pt x="57" y="37"/>
                    </a:lnTo>
                    <a:lnTo>
                      <a:pt x="59" y="37"/>
                    </a:lnTo>
                    <a:lnTo>
                      <a:pt x="59" y="37"/>
                    </a:lnTo>
                    <a:lnTo>
                      <a:pt x="63" y="36"/>
                    </a:lnTo>
                    <a:lnTo>
                      <a:pt x="67" y="32"/>
                    </a:lnTo>
                    <a:lnTo>
                      <a:pt x="75" y="23"/>
                    </a:lnTo>
                    <a:lnTo>
                      <a:pt x="84" y="10"/>
                    </a:lnTo>
                    <a:lnTo>
                      <a:pt x="90" y="5"/>
                    </a:lnTo>
                    <a:lnTo>
                      <a:pt x="95" y="0"/>
                    </a:lnTo>
                    <a:lnTo>
                      <a:pt x="95" y="0"/>
                    </a:lnTo>
                    <a:lnTo>
                      <a:pt x="96" y="4"/>
                    </a:lnTo>
                    <a:lnTo>
                      <a:pt x="98" y="6"/>
                    </a:lnTo>
                    <a:lnTo>
                      <a:pt x="103" y="7"/>
                    </a:lnTo>
                    <a:lnTo>
                      <a:pt x="110" y="7"/>
                    </a:lnTo>
                    <a:lnTo>
                      <a:pt x="110" y="7"/>
                    </a:lnTo>
                    <a:lnTo>
                      <a:pt x="121" y="7"/>
                    </a:lnTo>
                    <a:lnTo>
                      <a:pt x="132" y="4"/>
                    </a:lnTo>
                    <a:lnTo>
                      <a:pt x="143" y="1"/>
                    </a:lnTo>
                    <a:lnTo>
                      <a:pt x="155" y="0"/>
                    </a:lnTo>
                    <a:lnTo>
                      <a:pt x="155" y="0"/>
                    </a:lnTo>
                    <a:lnTo>
                      <a:pt x="170" y="1"/>
                    </a:lnTo>
                    <a:lnTo>
                      <a:pt x="176" y="4"/>
                    </a:lnTo>
                    <a:lnTo>
                      <a:pt x="182" y="5"/>
                    </a:lnTo>
                    <a:lnTo>
                      <a:pt x="187" y="8"/>
                    </a:lnTo>
                    <a:lnTo>
                      <a:pt x="191" y="10"/>
                    </a:lnTo>
                    <a:lnTo>
                      <a:pt x="196" y="14"/>
                    </a:lnTo>
                    <a:lnTo>
                      <a:pt x="198" y="18"/>
                    </a:lnTo>
                    <a:lnTo>
                      <a:pt x="204" y="28"/>
                    </a:lnTo>
                    <a:lnTo>
                      <a:pt x="208" y="39"/>
                    </a:lnTo>
                    <a:lnTo>
                      <a:pt x="210" y="52"/>
                    </a:lnTo>
                    <a:lnTo>
                      <a:pt x="213" y="67"/>
                    </a:lnTo>
                    <a:lnTo>
                      <a:pt x="213" y="67"/>
                    </a:lnTo>
                    <a:lnTo>
                      <a:pt x="213" y="68"/>
                    </a:lnTo>
                    <a:lnTo>
                      <a:pt x="214" y="69"/>
                    </a:lnTo>
                    <a:lnTo>
                      <a:pt x="219" y="71"/>
                    </a:lnTo>
                    <a:lnTo>
                      <a:pt x="233" y="75"/>
                    </a:lnTo>
                    <a:lnTo>
                      <a:pt x="240" y="77"/>
                    </a:lnTo>
                    <a:lnTo>
                      <a:pt x="247" y="81"/>
                    </a:lnTo>
                    <a:lnTo>
                      <a:pt x="254" y="84"/>
                    </a:lnTo>
                    <a:lnTo>
                      <a:pt x="256" y="86"/>
                    </a:lnTo>
                    <a:lnTo>
                      <a:pt x="257" y="89"/>
                    </a:lnTo>
                    <a:lnTo>
                      <a:pt x="257" y="89"/>
                    </a:lnTo>
                    <a:lnTo>
                      <a:pt x="260" y="98"/>
                    </a:lnTo>
                    <a:lnTo>
                      <a:pt x="264" y="107"/>
                    </a:lnTo>
                    <a:lnTo>
                      <a:pt x="267" y="124"/>
                    </a:lnTo>
                    <a:lnTo>
                      <a:pt x="273" y="159"/>
                    </a:lnTo>
                    <a:lnTo>
                      <a:pt x="277" y="175"/>
                    </a:lnTo>
                    <a:lnTo>
                      <a:pt x="279" y="183"/>
                    </a:lnTo>
                    <a:lnTo>
                      <a:pt x="281" y="191"/>
                    </a:lnTo>
                    <a:lnTo>
                      <a:pt x="286" y="199"/>
                    </a:lnTo>
                    <a:lnTo>
                      <a:pt x="290" y="207"/>
                    </a:lnTo>
                    <a:lnTo>
                      <a:pt x="297" y="214"/>
                    </a:lnTo>
                    <a:lnTo>
                      <a:pt x="304" y="221"/>
                    </a:lnTo>
                    <a:lnTo>
                      <a:pt x="304" y="221"/>
                    </a:lnTo>
                    <a:lnTo>
                      <a:pt x="312" y="224"/>
                    </a:lnTo>
                    <a:lnTo>
                      <a:pt x="312" y="22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7" name="Freeform 92"/>
              <p:cNvSpPr>
                <a:spLocks noChangeAspect="1"/>
              </p:cNvSpPr>
              <p:nvPr/>
            </p:nvSpPr>
            <p:spPr bwMode="auto">
              <a:xfrm>
                <a:off x="3121935" y="2984209"/>
                <a:ext cx="71330" cy="87670"/>
              </a:xfrm>
              <a:custGeom>
                <a:avLst/>
                <a:gdLst/>
                <a:ahLst/>
                <a:cxnLst>
                  <a:cxn ang="0">
                    <a:pos x="65" y="51"/>
                  </a:cxn>
                  <a:cxn ang="0">
                    <a:pos x="65" y="51"/>
                  </a:cxn>
                  <a:cxn ang="0">
                    <a:pos x="63" y="49"/>
                  </a:cxn>
                  <a:cxn ang="0">
                    <a:pos x="62" y="47"/>
                  </a:cxn>
                  <a:cxn ang="0">
                    <a:pos x="63" y="38"/>
                  </a:cxn>
                  <a:cxn ang="0">
                    <a:pos x="64" y="29"/>
                  </a:cxn>
                  <a:cxn ang="0">
                    <a:pos x="65" y="25"/>
                  </a:cxn>
                  <a:cxn ang="0">
                    <a:pos x="65" y="25"/>
                  </a:cxn>
                  <a:cxn ang="0">
                    <a:pos x="64" y="22"/>
                  </a:cxn>
                  <a:cxn ang="0">
                    <a:pos x="62" y="17"/>
                  </a:cxn>
                  <a:cxn ang="0">
                    <a:pos x="58" y="15"/>
                  </a:cxn>
                  <a:cxn ang="0">
                    <a:pos x="54" y="11"/>
                  </a:cxn>
                  <a:cxn ang="0">
                    <a:pos x="45" y="6"/>
                  </a:cxn>
                  <a:cxn ang="0">
                    <a:pos x="37" y="0"/>
                  </a:cxn>
                  <a:cxn ang="0">
                    <a:pos x="37" y="0"/>
                  </a:cxn>
                  <a:cxn ang="0">
                    <a:pos x="33" y="6"/>
                  </a:cxn>
                  <a:cxn ang="0">
                    <a:pos x="29" y="10"/>
                  </a:cxn>
                  <a:cxn ang="0">
                    <a:pos x="17" y="21"/>
                  </a:cxn>
                  <a:cxn ang="0">
                    <a:pos x="10" y="25"/>
                  </a:cxn>
                  <a:cxn ang="0">
                    <a:pos x="6" y="31"/>
                  </a:cxn>
                  <a:cxn ang="0">
                    <a:pos x="1" y="37"/>
                  </a:cxn>
                  <a:cxn ang="0">
                    <a:pos x="0" y="40"/>
                  </a:cxn>
                  <a:cxn ang="0">
                    <a:pos x="0" y="44"/>
                  </a:cxn>
                  <a:cxn ang="0">
                    <a:pos x="0" y="44"/>
                  </a:cxn>
                  <a:cxn ang="0">
                    <a:pos x="2" y="49"/>
                  </a:cxn>
                  <a:cxn ang="0">
                    <a:pos x="9" y="60"/>
                  </a:cxn>
                  <a:cxn ang="0">
                    <a:pos x="27" y="87"/>
                  </a:cxn>
                  <a:cxn ang="0">
                    <a:pos x="47" y="113"/>
                  </a:cxn>
                  <a:cxn ang="0">
                    <a:pos x="55" y="121"/>
                  </a:cxn>
                  <a:cxn ang="0">
                    <a:pos x="58" y="124"/>
                  </a:cxn>
                  <a:cxn ang="0">
                    <a:pos x="58" y="124"/>
                  </a:cxn>
                  <a:cxn ang="0">
                    <a:pos x="65" y="124"/>
                  </a:cxn>
                  <a:cxn ang="0">
                    <a:pos x="71" y="122"/>
                  </a:cxn>
                  <a:cxn ang="0">
                    <a:pos x="77" y="117"/>
                  </a:cxn>
                  <a:cxn ang="0">
                    <a:pos x="82" y="113"/>
                  </a:cxn>
                  <a:cxn ang="0">
                    <a:pos x="85" y="108"/>
                  </a:cxn>
                  <a:cxn ang="0">
                    <a:pos x="88" y="101"/>
                  </a:cxn>
                  <a:cxn ang="0">
                    <a:pos x="91" y="95"/>
                  </a:cxn>
                  <a:cxn ang="0">
                    <a:pos x="91" y="89"/>
                  </a:cxn>
                  <a:cxn ang="0">
                    <a:pos x="91" y="89"/>
                  </a:cxn>
                  <a:cxn ang="0">
                    <a:pos x="91" y="84"/>
                  </a:cxn>
                  <a:cxn ang="0">
                    <a:pos x="88" y="79"/>
                  </a:cxn>
                  <a:cxn ang="0">
                    <a:pos x="83" y="67"/>
                  </a:cxn>
                  <a:cxn ang="0">
                    <a:pos x="78" y="61"/>
                  </a:cxn>
                  <a:cxn ang="0">
                    <a:pos x="75" y="55"/>
                  </a:cxn>
                  <a:cxn ang="0">
                    <a:pos x="70" y="52"/>
                  </a:cxn>
                  <a:cxn ang="0">
                    <a:pos x="65" y="51"/>
                  </a:cxn>
                  <a:cxn ang="0">
                    <a:pos x="65" y="51"/>
                  </a:cxn>
                  <a:cxn ang="0">
                    <a:pos x="65" y="51"/>
                  </a:cxn>
                </a:cxnLst>
                <a:rect l="0" t="0" r="r" b="b"/>
                <a:pathLst>
                  <a:path w="91" h="124">
                    <a:moveTo>
                      <a:pt x="65" y="51"/>
                    </a:moveTo>
                    <a:lnTo>
                      <a:pt x="65" y="51"/>
                    </a:lnTo>
                    <a:lnTo>
                      <a:pt x="63" y="49"/>
                    </a:lnTo>
                    <a:lnTo>
                      <a:pt x="62" y="47"/>
                    </a:lnTo>
                    <a:lnTo>
                      <a:pt x="63" y="38"/>
                    </a:lnTo>
                    <a:lnTo>
                      <a:pt x="64" y="29"/>
                    </a:lnTo>
                    <a:lnTo>
                      <a:pt x="65" y="25"/>
                    </a:lnTo>
                    <a:lnTo>
                      <a:pt x="65" y="25"/>
                    </a:lnTo>
                    <a:lnTo>
                      <a:pt x="64" y="22"/>
                    </a:lnTo>
                    <a:lnTo>
                      <a:pt x="62" y="17"/>
                    </a:lnTo>
                    <a:lnTo>
                      <a:pt x="58" y="15"/>
                    </a:lnTo>
                    <a:lnTo>
                      <a:pt x="54" y="11"/>
                    </a:lnTo>
                    <a:lnTo>
                      <a:pt x="45" y="6"/>
                    </a:lnTo>
                    <a:lnTo>
                      <a:pt x="37" y="0"/>
                    </a:lnTo>
                    <a:lnTo>
                      <a:pt x="37" y="0"/>
                    </a:lnTo>
                    <a:lnTo>
                      <a:pt x="33" y="6"/>
                    </a:lnTo>
                    <a:lnTo>
                      <a:pt x="29" y="10"/>
                    </a:lnTo>
                    <a:lnTo>
                      <a:pt x="17" y="21"/>
                    </a:lnTo>
                    <a:lnTo>
                      <a:pt x="10" y="25"/>
                    </a:lnTo>
                    <a:lnTo>
                      <a:pt x="6" y="31"/>
                    </a:lnTo>
                    <a:lnTo>
                      <a:pt x="1" y="37"/>
                    </a:lnTo>
                    <a:lnTo>
                      <a:pt x="0" y="40"/>
                    </a:lnTo>
                    <a:lnTo>
                      <a:pt x="0" y="44"/>
                    </a:lnTo>
                    <a:lnTo>
                      <a:pt x="0" y="44"/>
                    </a:lnTo>
                    <a:lnTo>
                      <a:pt x="2" y="49"/>
                    </a:lnTo>
                    <a:lnTo>
                      <a:pt x="9" y="60"/>
                    </a:lnTo>
                    <a:lnTo>
                      <a:pt x="27" y="87"/>
                    </a:lnTo>
                    <a:lnTo>
                      <a:pt x="47" y="113"/>
                    </a:lnTo>
                    <a:lnTo>
                      <a:pt x="55" y="121"/>
                    </a:lnTo>
                    <a:lnTo>
                      <a:pt x="58" y="124"/>
                    </a:lnTo>
                    <a:lnTo>
                      <a:pt x="58" y="124"/>
                    </a:lnTo>
                    <a:lnTo>
                      <a:pt x="65" y="124"/>
                    </a:lnTo>
                    <a:lnTo>
                      <a:pt x="71" y="122"/>
                    </a:lnTo>
                    <a:lnTo>
                      <a:pt x="77" y="117"/>
                    </a:lnTo>
                    <a:lnTo>
                      <a:pt x="82" y="113"/>
                    </a:lnTo>
                    <a:lnTo>
                      <a:pt x="85" y="108"/>
                    </a:lnTo>
                    <a:lnTo>
                      <a:pt x="88" y="101"/>
                    </a:lnTo>
                    <a:lnTo>
                      <a:pt x="91" y="95"/>
                    </a:lnTo>
                    <a:lnTo>
                      <a:pt x="91" y="89"/>
                    </a:lnTo>
                    <a:lnTo>
                      <a:pt x="91" y="89"/>
                    </a:lnTo>
                    <a:lnTo>
                      <a:pt x="91" y="84"/>
                    </a:lnTo>
                    <a:lnTo>
                      <a:pt x="88" y="79"/>
                    </a:lnTo>
                    <a:lnTo>
                      <a:pt x="83" y="67"/>
                    </a:lnTo>
                    <a:lnTo>
                      <a:pt x="78" y="61"/>
                    </a:lnTo>
                    <a:lnTo>
                      <a:pt x="75" y="55"/>
                    </a:lnTo>
                    <a:lnTo>
                      <a:pt x="70" y="52"/>
                    </a:lnTo>
                    <a:lnTo>
                      <a:pt x="65" y="51"/>
                    </a:lnTo>
                    <a:lnTo>
                      <a:pt x="65" y="51"/>
                    </a:lnTo>
                    <a:lnTo>
                      <a:pt x="65" y="5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8" name="Freeform 93"/>
              <p:cNvSpPr>
                <a:spLocks noChangeAspect="1"/>
              </p:cNvSpPr>
              <p:nvPr/>
            </p:nvSpPr>
            <p:spPr bwMode="auto">
              <a:xfrm>
                <a:off x="2961839" y="2776863"/>
                <a:ext cx="28532" cy="54272"/>
              </a:xfrm>
              <a:custGeom>
                <a:avLst/>
                <a:gdLst/>
                <a:ahLst/>
                <a:cxnLst>
                  <a:cxn ang="0">
                    <a:pos x="0" y="15"/>
                  </a:cxn>
                  <a:cxn ang="0">
                    <a:pos x="0" y="15"/>
                  </a:cxn>
                  <a:cxn ang="0">
                    <a:pos x="0" y="7"/>
                  </a:cxn>
                  <a:cxn ang="0">
                    <a:pos x="1" y="3"/>
                  </a:cxn>
                  <a:cxn ang="0">
                    <a:pos x="3" y="2"/>
                  </a:cxn>
                  <a:cxn ang="0">
                    <a:pos x="4" y="1"/>
                  </a:cxn>
                  <a:cxn ang="0">
                    <a:pos x="7" y="1"/>
                  </a:cxn>
                  <a:cxn ang="0">
                    <a:pos x="15" y="0"/>
                  </a:cxn>
                  <a:cxn ang="0">
                    <a:pos x="15" y="0"/>
                  </a:cxn>
                  <a:cxn ang="0">
                    <a:pos x="21" y="1"/>
                  </a:cxn>
                  <a:cxn ang="0">
                    <a:pos x="27" y="3"/>
                  </a:cxn>
                  <a:cxn ang="0">
                    <a:pos x="30" y="6"/>
                  </a:cxn>
                  <a:cxn ang="0">
                    <a:pos x="33" y="10"/>
                  </a:cxn>
                  <a:cxn ang="0">
                    <a:pos x="35" y="15"/>
                  </a:cxn>
                  <a:cxn ang="0">
                    <a:pos x="36" y="21"/>
                  </a:cxn>
                  <a:cxn ang="0">
                    <a:pos x="37" y="33"/>
                  </a:cxn>
                  <a:cxn ang="0">
                    <a:pos x="37" y="33"/>
                  </a:cxn>
                  <a:cxn ang="0">
                    <a:pos x="37" y="70"/>
                  </a:cxn>
                  <a:cxn ang="0">
                    <a:pos x="37" y="70"/>
                  </a:cxn>
                  <a:cxn ang="0">
                    <a:pos x="36" y="72"/>
                  </a:cxn>
                  <a:cxn ang="0">
                    <a:pos x="35" y="74"/>
                  </a:cxn>
                  <a:cxn ang="0">
                    <a:pos x="31" y="76"/>
                  </a:cxn>
                  <a:cxn ang="0">
                    <a:pos x="27" y="77"/>
                  </a:cxn>
                  <a:cxn ang="0">
                    <a:pos x="22" y="77"/>
                  </a:cxn>
                  <a:cxn ang="0">
                    <a:pos x="22" y="77"/>
                  </a:cxn>
                  <a:cxn ang="0">
                    <a:pos x="18" y="77"/>
                  </a:cxn>
                  <a:cxn ang="0">
                    <a:pos x="15" y="76"/>
                  </a:cxn>
                  <a:cxn ang="0">
                    <a:pos x="14" y="75"/>
                  </a:cxn>
                  <a:cxn ang="0">
                    <a:pos x="13" y="72"/>
                  </a:cxn>
                  <a:cxn ang="0">
                    <a:pos x="14" y="67"/>
                  </a:cxn>
                  <a:cxn ang="0">
                    <a:pos x="15" y="59"/>
                  </a:cxn>
                  <a:cxn ang="0">
                    <a:pos x="15" y="59"/>
                  </a:cxn>
                  <a:cxn ang="0">
                    <a:pos x="14" y="53"/>
                  </a:cxn>
                  <a:cxn ang="0">
                    <a:pos x="13" y="48"/>
                  </a:cxn>
                  <a:cxn ang="0">
                    <a:pos x="8" y="38"/>
                  </a:cxn>
                  <a:cxn ang="0">
                    <a:pos x="3" y="28"/>
                  </a:cxn>
                  <a:cxn ang="0">
                    <a:pos x="1" y="21"/>
                  </a:cxn>
                  <a:cxn ang="0">
                    <a:pos x="0" y="15"/>
                  </a:cxn>
                  <a:cxn ang="0">
                    <a:pos x="0" y="15"/>
                  </a:cxn>
                  <a:cxn ang="0">
                    <a:pos x="0" y="15"/>
                  </a:cxn>
                </a:cxnLst>
                <a:rect l="0" t="0" r="r" b="b"/>
                <a:pathLst>
                  <a:path w="37" h="77">
                    <a:moveTo>
                      <a:pt x="0" y="15"/>
                    </a:moveTo>
                    <a:lnTo>
                      <a:pt x="0" y="15"/>
                    </a:lnTo>
                    <a:lnTo>
                      <a:pt x="0" y="7"/>
                    </a:lnTo>
                    <a:lnTo>
                      <a:pt x="1" y="3"/>
                    </a:lnTo>
                    <a:lnTo>
                      <a:pt x="3" y="2"/>
                    </a:lnTo>
                    <a:lnTo>
                      <a:pt x="4" y="1"/>
                    </a:lnTo>
                    <a:lnTo>
                      <a:pt x="7" y="1"/>
                    </a:lnTo>
                    <a:lnTo>
                      <a:pt x="15" y="0"/>
                    </a:lnTo>
                    <a:lnTo>
                      <a:pt x="15" y="0"/>
                    </a:lnTo>
                    <a:lnTo>
                      <a:pt x="21" y="1"/>
                    </a:lnTo>
                    <a:lnTo>
                      <a:pt x="27" y="3"/>
                    </a:lnTo>
                    <a:lnTo>
                      <a:pt x="30" y="6"/>
                    </a:lnTo>
                    <a:lnTo>
                      <a:pt x="33" y="10"/>
                    </a:lnTo>
                    <a:lnTo>
                      <a:pt x="35" y="15"/>
                    </a:lnTo>
                    <a:lnTo>
                      <a:pt x="36" y="21"/>
                    </a:lnTo>
                    <a:lnTo>
                      <a:pt x="37" y="33"/>
                    </a:lnTo>
                    <a:lnTo>
                      <a:pt x="37" y="33"/>
                    </a:lnTo>
                    <a:lnTo>
                      <a:pt x="37" y="70"/>
                    </a:lnTo>
                    <a:lnTo>
                      <a:pt x="37" y="70"/>
                    </a:lnTo>
                    <a:lnTo>
                      <a:pt x="36" y="72"/>
                    </a:lnTo>
                    <a:lnTo>
                      <a:pt x="35" y="74"/>
                    </a:lnTo>
                    <a:lnTo>
                      <a:pt x="31" y="76"/>
                    </a:lnTo>
                    <a:lnTo>
                      <a:pt x="27" y="77"/>
                    </a:lnTo>
                    <a:lnTo>
                      <a:pt x="22" y="77"/>
                    </a:lnTo>
                    <a:lnTo>
                      <a:pt x="22" y="77"/>
                    </a:lnTo>
                    <a:lnTo>
                      <a:pt x="18" y="77"/>
                    </a:lnTo>
                    <a:lnTo>
                      <a:pt x="15" y="76"/>
                    </a:lnTo>
                    <a:lnTo>
                      <a:pt x="14" y="75"/>
                    </a:lnTo>
                    <a:lnTo>
                      <a:pt x="13" y="72"/>
                    </a:lnTo>
                    <a:lnTo>
                      <a:pt x="14" y="67"/>
                    </a:lnTo>
                    <a:lnTo>
                      <a:pt x="15" y="59"/>
                    </a:lnTo>
                    <a:lnTo>
                      <a:pt x="15" y="59"/>
                    </a:lnTo>
                    <a:lnTo>
                      <a:pt x="14" y="53"/>
                    </a:lnTo>
                    <a:lnTo>
                      <a:pt x="13" y="48"/>
                    </a:lnTo>
                    <a:lnTo>
                      <a:pt x="8" y="38"/>
                    </a:lnTo>
                    <a:lnTo>
                      <a:pt x="3" y="28"/>
                    </a:lnTo>
                    <a:lnTo>
                      <a:pt x="1" y="21"/>
                    </a:lnTo>
                    <a:lnTo>
                      <a:pt x="0" y="15"/>
                    </a:lnTo>
                    <a:lnTo>
                      <a:pt x="0" y="15"/>
                    </a:lnTo>
                    <a:lnTo>
                      <a:pt x="0" y="1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09" name="Freeform 94"/>
              <p:cNvSpPr>
                <a:spLocks noChangeAspect="1"/>
              </p:cNvSpPr>
              <p:nvPr/>
            </p:nvSpPr>
            <p:spPr bwMode="auto">
              <a:xfrm>
                <a:off x="3670383" y="2807479"/>
                <a:ext cx="64989" cy="41748"/>
              </a:xfrm>
              <a:custGeom>
                <a:avLst/>
                <a:gdLst/>
                <a:ahLst/>
                <a:cxnLst>
                  <a:cxn ang="0">
                    <a:pos x="70" y="19"/>
                  </a:cxn>
                  <a:cxn ang="0">
                    <a:pos x="70" y="0"/>
                  </a:cxn>
                  <a:cxn ang="0">
                    <a:pos x="70" y="0"/>
                  </a:cxn>
                  <a:cxn ang="0">
                    <a:pos x="70" y="0"/>
                  </a:cxn>
                  <a:cxn ang="0">
                    <a:pos x="48" y="0"/>
                  </a:cxn>
                  <a:cxn ang="0">
                    <a:pos x="48" y="0"/>
                  </a:cxn>
                  <a:cxn ang="0">
                    <a:pos x="41" y="1"/>
                  </a:cxn>
                  <a:cxn ang="0">
                    <a:pos x="33" y="2"/>
                  </a:cxn>
                  <a:cxn ang="0">
                    <a:pos x="25" y="5"/>
                  </a:cxn>
                  <a:cxn ang="0">
                    <a:pos x="17" y="10"/>
                  </a:cxn>
                  <a:cxn ang="0">
                    <a:pos x="10" y="16"/>
                  </a:cxn>
                  <a:cxn ang="0">
                    <a:pos x="5" y="23"/>
                  </a:cxn>
                  <a:cxn ang="0">
                    <a:pos x="1" y="31"/>
                  </a:cxn>
                  <a:cxn ang="0">
                    <a:pos x="0" y="40"/>
                  </a:cxn>
                  <a:cxn ang="0">
                    <a:pos x="0" y="40"/>
                  </a:cxn>
                  <a:cxn ang="0">
                    <a:pos x="1" y="45"/>
                  </a:cxn>
                  <a:cxn ang="0">
                    <a:pos x="3" y="48"/>
                  </a:cxn>
                  <a:cxn ang="0">
                    <a:pos x="6" y="51"/>
                  </a:cxn>
                  <a:cxn ang="0">
                    <a:pos x="10" y="54"/>
                  </a:cxn>
                  <a:cxn ang="0">
                    <a:pos x="19" y="57"/>
                  </a:cxn>
                  <a:cxn ang="0">
                    <a:pos x="26" y="58"/>
                  </a:cxn>
                  <a:cxn ang="0">
                    <a:pos x="26" y="58"/>
                  </a:cxn>
                  <a:cxn ang="0">
                    <a:pos x="41" y="57"/>
                  </a:cxn>
                  <a:cxn ang="0">
                    <a:pos x="54" y="56"/>
                  </a:cxn>
                  <a:cxn ang="0">
                    <a:pos x="66" y="56"/>
                  </a:cxn>
                  <a:cxn ang="0">
                    <a:pos x="73" y="56"/>
                  </a:cxn>
                  <a:cxn ang="0">
                    <a:pos x="81" y="58"/>
                  </a:cxn>
                  <a:cxn ang="0">
                    <a:pos x="81" y="58"/>
                  </a:cxn>
                  <a:cxn ang="0">
                    <a:pos x="81" y="40"/>
                  </a:cxn>
                  <a:cxn ang="0">
                    <a:pos x="81" y="40"/>
                  </a:cxn>
                  <a:cxn ang="0">
                    <a:pos x="81" y="40"/>
                  </a:cxn>
                  <a:cxn ang="0">
                    <a:pos x="73" y="39"/>
                  </a:cxn>
                  <a:cxn ang="0">
                    <a:pos x="67" y="36"/>
                  </a:cxn>
                  <a:cxn ang="0">
                    <a:pos x="63" y="34"/>
                  </a:cxn>
                  <a:cxn ang="0">
                    <a:pos x="58" y="33"/>
                  </a:cxn>
                  <a:cxn ang="0">
                    <a:pos x="58" y="33"/>
                  </a:cxn>
                  <a:cxn ang="0">
                    <a:pos x="64" y="30"/>
                  </a:cxn>
                  <a:cxn ang="0">
                    <a:pos x="67" y="26"/>
                  </a:cxn>
                  <a:cxn ang="0">
                    <a:pos x="70" y="22"/>
                  </a:cxn>
                  <a:cxn ang="0">
                    <a:pos x="70" y="19"/>
                  </a:cxn>
                  <a:cxn ang="0">
                    <a:pos x="70" y="19"/>
                  </a:cxn>
                  <a:cxn ang="0">
                    <a:pos x="70" y="19"/>
                  </a:cxn>
                </a:cxnLst>
                <a:rect l="0" t="0" r="r" b="b"/>
                <a:pathLst>
                  <a:path w="81" h="58">
                    <a:moveTo>
                      <a:pt x="70" y="19"/>
                    </a:moveTo>
                    <a:lnTo>
                      <a:pt x="70" y="0"/>
                    </a:lnTo>
                    <a:lnTo>
                      <a:pt x="70" y="0"/>
                    </a:lnTo>
                    <a:lnTo>
                      <a:pt x="70" y="0"/>
                    </a:lnTo>
                    <a:lnTo>
                      <a:pt x="48" y="0"/>
                    </a:lnTo>
                    <a:lnTo>
                      <a:pt x="48" y="0"/>
                    </a:lnTo>
                    <a:lnTo>
                      <a:pt x="41" y="1"/>
                    </a:lnTo>
                    <a:lnTo>
                      <a:pt x="33" y="2"/>
                    </a:lnTo>
                    <a:lnTo>
                      <a:pt x="25" y="5"/>
                    </a:lnTo>
                    <a:lnTo>
                      <a:pt x="17" y="10"/>
                    </a:lnTo>
                    <a:lnTo>
                      <a:pt x="10" y="16"/>
                    </a:lnTo>
                    <a:lnTo>
                      <a:pt x="5" y="23"/>
                    </a:lnTo>
                    <a:lnTo>
                      <a:pt x="1" y="31"/>
                    </a:lnTo>
                    <a:lnTo>
                      <a:pt x="0" y="40"/>
                    </a:lnTo>
                    <a:lnTo>
                      <a:pt x="0" y="40"/>
                    </a:lnTo>
                    <a:lnTo>
                      <a:pt x="1" y="45"/>
                    </a:lnTo>
                    <a:lnTo>
                      <a:pt x="3" y="48"/>
                    </a:lnTo>
                    <a:lnTo>
                      <a:pt x="6" y="51"/>
                    </a:lnTo>
                    <a:lnTo>
                      <a:pt x="10" y="54"/>
                    </a:lnTo>
                    <a:lnTo>
                      <a:pt x="19" y="57"/>
                    </a:lnTo>
                    <a:lnTo>
                      <a:pt x="26" y="58"/>
                    </a:lnTo>
                    <a:lnTo>
                      <a:pt x="26" y="58"/>
                    </a:lnTo>
                    <a:lnTo>
                      <a:pt x="41" y="57"/>
                    </a:lnTo>
                    <a:lnTo>
                      <a:pt x="54" y="56"/>
                    </a:lnTo>
                    <a:lnTo>
                      <a:pt x="66" y="56"/>
                    </a:lnTo>
                    <a:lnTo>
                      <a:pt x="73" y="56"/>
                    </a:lnTo>
                    <a:lnTo>
                      <a:pt x="81" y="58"/>
                    </a:lnTo>
                    <a:lnTo>
                      <a:pt x="81" y="58"/>
                    </a:lnTo>
                    <a:lnTo>
                      <a:pt x="81" y="40"/>
                    </a:lnTo>
                    <a:lnTo>
                      <a:pt x="81" y="40"/>
                    </a:lnTo>
                    <a:lnTo>
                      <a:pt x="81" y="40"/>
                    </a:lnTo>
                    <a:lnTo>
                      <a:pt x="73" y="39"/>
                    </a:lnTo>
                    <a:lnTo>
                      <a:pt x="67" y="36"/>
                    </a:lnTo>
                    <a:lnTo>
                      <a:pt x="63" y="34"/>
                    </a:lnTo>
                    <a:lnTo>
                      <a:pt x="58" y="33"/>
                    </a:lnTo>
                    <a:lnTo>
                      <a:pt x="58" y="33"/>
                    </a:lnTo>
                    <a:lnTo>
                      <a:pt x="64" y="30"/>
                    </a:lnTo>
                    <a:lnTo>
                      <a:pt x="67" y="26"/>
                    </a:lnTo>
                    <a:lnTo>
                      <a:pt x="70" y="22"/>
                    </a:lnTo>
                    <a:lnTo>
                      <a:pt x="70" y="19"/>
                    </a:lnTo>
                    <a:lnTo>
                      <a:pt x="70" y="19"/>
                    </a:lnTo>
                    <a:lnTo>
                      <a:pt x="70" y="1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0" name="Freeform 95"/>
              <p:cNvSpPr>
                <a:spLocks noChangeAspect="1"/>
              </p:cNvSpPr>
              <p:nvPr/>
            </p:nvSpPr>
            <p:spPr bwMode="auto">
              <a:xfrm>
                <a:off x="3816213" y="2874274"/>
                <a:ext cx="30117" cy="19482"/>
              </a:xfrm>
              <a:custGeom>
                <a:avLst/>
                <a:gdLst/>
                <a:ahLst/>
                <a:cxnLst>
                  <a:cxn ang="0">
                    <a:pos x="0" y="0"/>
                  </a:cxn>
                  <a:cxn ang="0">
                    <a:pos x="0" y="22"/>
                  </a:cxn>
                  <a:cxn ang="0">
                    <a:pos x="0" y="22"/>
                  </a:cxn>
                  <a:cxn ang="0">
                    <a:pos x="0" y="22"/>
                  </a:cxn>
                  <a:cxn ang="0">
                    <a:pos x="3" y="25"/>
                  </a:cxn>
                  <a:cxn ang="0">
                    <a:pos x="8" y="27"/>
                  </a:cxn>
                  <a:cxn ang="0">
                    <a:pos x="12" y="28"/>
                  </a:cxn>
                  <a:cxn ang="0">
                    <a:pos x="18" y="27"/>
                  </a:cxn>
                  <a:cxn ang="0">
                    <a:pos x="24" y="25"/>
                  </a:cxn>
                  <a:cxn ang="0">
                    <a:pos x="28" y="22"/>
                  </a:cxn>
                  <a:cxn ang="0">
                    <a:pos x="33" y="17"/>
                  </a:cxn>
                  <a:cxn ang="0">
                    <a:pos x="36" y="12"/>
                  </a:cxn>
                  <a:cxn ang="0">
                    <a:pos x="36" y="12"/>
                  </a:cxn>
                  <a:cxn ang="0">
                    <a:pos x="31" y="12"/>
                  </a:cxn>
                  <a:cxn ang="0">
                    <a:pos x="25" y="11"/>
                  </a:cxn>
                  <a:cxn ang="0">
                    <a:pos x="17" y="7"/>
                  </a:cxn>
                  <a:cxn ang="0">
                    <a:pos x="9" y="4"/>
                  </a:cxn>
                  <a:cxn ang="0">
                    <a:pos x="0" y="0"/>
                  </a:cxn>
                  <a:cxn ang="0">
                    <a:pos x="0" y="0"/>
                  </a:cxn>
                  <a:cxn ang="0">
                    <a:pos x="0" y="0"/>
                  </a:cxn>
                </a:cxnLst>
                <a:rect l="0" t="0" r="r" b="b"/>
                <a:pathLst>
                  <a:path w="36" h="28">
                    <a:moveTo>
                      <a:pt x="0" y="0"/>
                    </a:moveTo>
                    <a:lnTo>
                      <a:pt x="0" y="22"/>
                    </a:lnTo>
                    <a:lnTo>
                      <a:pt x="0" y="22"/>
                    </a:lnTo>
                    <a:lnTo>
                      <a:pt x="0" y="22"/>
                    </a:lnTo>
                    <a:lnTo>
                      <a:pt x="3" y="25"/>
                    </a:lnTo>
                    <a:lnTo>
                      <a:pt x="8" y="27"/>
                    </a:lnTo>
                    <a:lnTo>
                      <a:pt x="12" y="28"/>
                    </a:lnTo>
                    <a:lnTo>
                      <a:pt x="18" y="27"/>
                    </a:lnTo>
                    <a:lnTo>
                      <a:pt x="24" y="25"/>
                    </a:lnTo>
                    <a:lnTo>
                      <a:pt x="28" y="22"/>
                    </a:lnTo>
                    <a:lnTo>
                      <a:pt x="33" y="17"/>
                    </a:lnTo>
                    <a:lnTo>
                      <a:pt x="36" y="12"/>
                    </a:lnTo>
                    <a:lnTo>
                      <a:pt x="36" y="12"/>
                    </a:lnTo>
                    <a:lnTo>
                      <a:pt x="31" y="12"/>
                    </a:lnTo>
                    <a:lnTo>
                      <a:pt x="25" y="11"/>
                    </a:lnTo>
                    <a:lnTo>
                      <a:pt x="17" y="7"/>
                    </a:lnTo>
                    <a:lnTo>
                      <a:pt x="9" y="4"/>
                    </a:lnTo>
                    <a:lnTo>
                      <a:pt x="0" y="0"/>
                    </a:lnTo>
                    <a:lnTo>
                      <a:pt x="0" y="0"/>
                    </a:lnTo>
                    <a:lnTo>
                      <a:pt x="0"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1" name="Freeform 96"/>
              <p:cNvSpPr>
                <a:spLocks noChangeAspect="1"/>
              </p:cNvSpPr>
              <p:nvPr/>
            </p:nvSpPr>
            <p:spPr bwMode="auto">
              <a:xfrm>
                <a:off x="3895468" y="2956377"/>
                <a:ext cx="58649" cy="33398"/>
              </a:xfrm>
              <a:custGeom>
                <a:avLst/>
                <a:gdLst/>
                <a:ahLst/>
                <a:cxnLst>
                  <a:cxn ang="0">
                    <a:pos x="40" y="0"/>
                  </a:cxn>
                  <a:cxn ang="0">
                    <a:pos x="40" y="0"/>
                  </a:cxn>
                  <a:cxn ang="0">
                    <a:pos x="39" y="2"/>
                  </a:cxn>
                  <a:cxn ang="0">
                    <a:pos x="38" y="5"/>
                  </a:cxn>
                  <a:cxn ang="0">
                    <a:pos x="33" y="10"/>
                  </a:cxn>
                  <a:cxn ang="0">
                    <a:pos x="26" y="12"/>
                  </a:cxn>
                  <a:cxn ang="0">
                    <a:pos x="19" y="16"/>
                  </a:cxn>
                  <a:cxn ang="0">
                    <a:pos x="11" y="18"/>
                  </a:cxn>
                  <a:cxn ang="0">
                    <a:pos x="5" y="22"/>
                  </a:cxn>
                  <a:cxn ang="0">
                    <a:pos x="2" y="26"/>
                  </a:cxn>
                  <a:cxn ang="0">
                    <a:pos x="0" y="30"/>
                  </a:cxn>
                  <a:cxn ang="0">
                    <a:pos x="0" y="32"/>
                  </a:cxn>
                  <a:cxn ang="0">
                    <a:pos x="0" y="32"/>
                  </a:cxn>
                  <a:cxn ang="0">
                    <a:pos x="1" y="37"/>
                  </a:cxn>
                  <a:cxn ang="0">
                    <a:pos x="2" y="39"/>
                  </a:cxn>
                  <a:cxn ang="0">
                    <a:pos x="4" y="42"/>
                  </a:cxn>
                  <a:cxn ang="0">
                    <a:pos x="7" y="43"/>
                  </a:cxn>
                  <a:cxn ang="0">
                    <a:pos x="12" y="46"/>
                  </a:cxn>
                  <a:cxn ang="0">
                    <a:pos x="19" y="47"/>
                  </a:cxn>
                  <a:cxn ang="0">
                    <a:pos x="19" y="47"/>
                  </a:cxn>
                  <a:cxn ang="0">
                    <a:pos x="24" y="46"/>
                  </a:cxn>
                  <a:cxn ang="0">
                    <a:pos x="32" y="43"/>
                  </a:cxn>
                  <a:cxn ang="0">
                    <a:pos x="50" y="34"/>
                  </a:cxn>
                  <a:cxn ang="0">
                    <a:pos x="58" y="30"/>
                  </a:cxn>
                  <a:cxn ang="0">
                    <a:pos x="66" y="24"/>
                  </a:cxn>
                  <a:cxn ang="0">
                    <a:pos x="71" y="18"/>
                  </a:cxn>
                  <a:cxn ang="0">
                    <a:pos x="73" y="16"/>
                  </a:cxn>
                  <a:cxn ang="0">
                    <a:pos x="73" y="14"/>
                  </a:cxn>
                  <a:cxn ang="0">
                    <a:pos x="73" y="14"/>
                  </a:cxn>
                  <a:cxn ang="0">
                    <a:pos x="72" y="11"/>
                  </a:cxn>
                  <a:cxn ang="0">
                    <a:pos x="70" y="9"/>
                  </a:cxn>
                  <a:cxn ang="0">
                    <a:pos x="66" y="5"/>
                  </a:cxn>
                  <a:cxn ang="0">
                    <a:pos x="61" y="4"/>
                  </a:cxn>
                  <a:cxn ang="0">
                    <a:pos x="50" y="1"/>
                  </a:cxn>
                  <a:cxn ang="0">
                    <a:pos x="40" y="0"/>
                  </a:cxn>
                  <a:cxn ang="0">
                    <a:pos x="40" y="0"/>
                  </a:cxn>
                  <a:cxn ang="0">
                    <a:pos x="40" y="0"/>
                  </a:cxn>
                </a:cxnLst>
                <a:rect l="0" t="0" r="r" b="b"/>
                <a:pathLst>
                  <a:path w="73" h="47">
                    <a:moveTo>
                      <a:pt x="40" y="0"/>
                    </a:moveTo>
                    <a:lnTo>
                      <a:pt x="40" y="0"/>
                    </a:lnTo>
                    <a:lnTo>
                      <a:pt x="39" y="2"/>
                    </a:lnTo>
                    <a:lnTo>
                      <a:pt x="38" y="5"/>
                    </a:lnTo>
                    <a:lnTo>
                      <a:pt x="33" y="10"/>
                    </a:lnTo>
                    <a:lnTo>
                      <a:pt x="26" y="12"/>
                    </a:lnTo>
                    <a:lnTo>
                      <a:pt x="19" y="16"/>
                    </a:lnTo>
                    <a:lnTo>
                      <a:pt x="11" y="18"/>
                    </a:lnTo>
                    <a:lnTo>
                      <a:pt x="5" y="22"/>
                    </a:lnTo>
                    <a:lnTo>
                      <a:pt x="2" y="26"/>
                    </a:lnTo>
                    <a:lnTo>
                      <a:pt x="0" y="30"/>
                    </a:lnTo>
                    <a:lnTo>
                      <a:pt x="0" y="32"/>
                    </a:lnTo>
                    <a:lnTo>
                      <a:pt x="0" y="32"/>
                    </a:lnTo>
                    <a:lnTo>
                      <a:pt x="1" y="37"/>
                    </a:lnTo>
                    <a:lnTo>
                      <a:pt x="2" y="39"/>
                    </a:lnTo>
                    <a:lnTo>
                      <a:pt x="4" y="42"/>
                    </a:lnTo>
                    <a:lnTo>
                      <a:pt x="7" y="43"/>
                    </a:lnTo>
                    <a:lnTo>
                      <a:pt x="12" y="46"/>
                    </a:lnTo>
                    <a:lnTo>
                      <a:pt x="19" y="47"/>
                    </a:lnTo>
                    <a:lnTo>
                      <a:pt x="19" y="47"/>
                    </a:lnTo>
                    <a:lnTo>
                      <a:pt x="24" y="46"/>
                    </a:lnTo>
                    <a:lnTo>
                      <a:pt x="32" y="43"/>
                    </a:lnTo>
                    <a:lnTo>
                      <a:pt x="50" y="34"/>
                    </a:lnTo>
                    <a:lnTo>
                      <a:pt x="58" y="30"/>
                    </a:lnTo>
                    <a:lnTo>
                      <a:pt x="66" y="24"/>
                    </a:lnTo>
                    <a:lnTo>
                      <a:pt x="71" y="18"/>
                    </a:lnTo>
                    <a:lnTo>
                      <a:pt x="73" y="16"/>
                    </a:lnTo>
                    <a:lnTo>
                      <a:pt x="73" y="14"/>
                    </a:lnTo>
                    <a:lnTo>
                      <a:pt x="73" y="14"/>
                    </a:lnTo>
                    <a:lnTo>
                      <a:pt x="72" y="11"/>
                    </a:lnTo>
                    <a:lnTo>
                      <a:pt x="70" y="9"/>
                    </a:lnTo>
                    <a:lnTo>
                      <a:pt x="66" y="5"/>
                    </a:lnTo>
                    <a:lnTo>
                      <a:pt x="61" y="4"/>
                    </a:lnTo>
                    <a:lnTo>
                      <a:pt x="50" y="1"/>
                    </a:lnTo>
                    <a:lnTo>
                      <a:pt x="40" y="0"/>
                    </a:lnTo>
                    <a:lnTo>
                      <a:pt x="40" y="0"/>
                    </a:lnTo>
                    <a:lnTo>
                      <a:pt x="40"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2" name="Freeform 97"/>
              <p:cNvSpPr>
                <a:spLocks noChangeAspect="1"/>
              </p:cNvSpPr>
              <p:nvPr/>
            </p:nvSpPr>
            <p:spPr bwMode="auto">
              <a:xfrm>
                <a:off x="7669611" y="3841423"/>
                <a:ext cx="692693" cy="659609"/>
              </a:xfrm>
              <a:custGeom>
                <a:avLst/>
                <a:gdLst/>
                <a:ahLst/>
                <a:cxnLst>
                  <a:cxn ang="0">
                    <a:pos x="136" y="279"/>
                  </a:cxn>
                  <a:cxn ang="0">
                    <a:pos x="106" y="224"/>
                  </a:cxn>
                  <a:cxn ang="0">
                    <a:pos x="87" y="184"/>
                  </a:cxn>
                  <a:cxn ang="0">
                    <a:pos x="34" y="127"/>
                  </a:cxn>
                  <a:cxn ang="0">
                    <a:pos x="0" y="91"/>
                  </a:cxn>
                  <a:cxn ang="0">
                    <a:pos x="6" y="85"/>
                  </a:cxn>
                  <a:cxn ang="0">
                    <a:pos x="38" y="84"/>
                  </a:cxn>
                  <a:cxn ang="0">
                    <a:pos x="56" y="70"/>
                  </a:cxn>
                  <a:cxn ang="0">
                    <a:pos x="44" y="31"/>
                  </a:cxn>
                  <a:cxn ang="0">
                    <a:pos x="39" y="0"/>
                  </a:cxn>
                  <a:cxn ang="0">
                    <a:pos x="102" y="29"/>
                  </a:cxn>
                  <a:cxn ang="0">
                    <a:pos x="158" y="71"/>
                  </a:cxn>
                  <a:cxn ang="0">
                    <a:pos x="239" y="169"/>
                  </a:cxn>
                  <a:cxn ang="0">
                    <a:pos x="297" y="231"/>
                  </a:cxn>
                  <a:cxn ang="0">
                    <a:pos x="396" y="299"/>
                  </a:cxn>
                  <a:cxn ang="0">
                    <a:pos x="547" y="372"/>
                  </a:cxn>
                  <a:cxn ang="0">
                    <a:pos x="599" y="401"/>
                  </a:cxn>
                  <a:cxn ang="0">
                    <a:pos x="670" y="449"/>
                  </a:cxn>
                  <a:cxn ang="0">
                    <a:pos x="676" y="467"/>
                  </a:cxn>
                  <a:cxn ang="0">
                    <a:pos x="623" y="455"/>
                  </a:cxn>
                  <a:cxn ang="0">
                    <a:pos x="565" y="437"/>
                  </a:cxn>
                  <a:cxn ang="0">
                    <a:pos x="541" y="443"/>
                  </a:cxn>
                  <a:cxn ang="0">
                    <a:pos x="532" y="459"/>
                  </a:cxn>
                  <a:cxn ang="0">
                    <a:pos x="534" y="547"/>
                  </a:cxn>
                  <a:cxn ang="0">
                    <a:pos x="555" y="583"/>
                  </a:cxn>
                  <a:cxn ang="0">
                    <a:pos x="576" y="635"/>
                  </a:cxn>
                  <a:cxn ang="0">
                    <a:pos x="591" y="655"/>
                  </a:cxn>
                  <a:cxn ang="0">
                    <a:pos x="618" y="693"/>
                  </a:cxn>
                  <a:cxn ang="0">
                    <a:pos x="654" y="716"/>
                  </a:cxn>
                  <a:cxn ang="0">
                    <a:pos x="739" y="739"/>
                  </a:cxn>
                  <a:cxn ang="0">
                    <a:pos x="821" y="761"/>
                  </a:cxn>
                  <a:cxn ang="0">
                    <a:pos x="852" y="783"/>
                  </a:cxn>
                  <a:cxn ang="0">
                    <a:pos x="874" y="819"/>
                  </a:cxn>
                  <a:cxn ang="0">
                    <a:pos x="829" y="801"/>
                  </a:cxn>
                  <a:cxn ang="0">
                    <a:pos x="797" y="791"/>
                  </a:cxn>
                  <a:cxn ang="0">
                    <a:pos x="771" y="795"/>
                  </a:cxn>
                  <a:cxn ang="0">
                    <a:pos x="738" y="823"/>
                  </a:cxn>
                  <a:cxn ang="0">
                    <a:pos x="736" y="838"/>
                  </a:cxn>
                  <a:cxn ang="0">
                    <a:pos x="762" y="895"/>
                  </a:cxn>
                  <a:cxn ang="0">
                    <a:pos x="782" y="948"/>
                  </a:cxn>
                  <a:cxn ang="0">
                    <a:pos x="744" y="924"/>
                  </a:cxn>
                  <a:cxn ang="0">
                    <a:pos x="676" y="854"/>
                  </a:cxn>
                  <a:cxn ang="0">
                    <a:pos x="601" y="742"/>
                  </a:cxn>
                  <a:cxn ang="0">
                    <a:pos x="538" y="674"/>
                  </a:cxn>
                  <a:cxn ang="0">
                    <a:pos x="491" y="646"/>
                  </a:cxn>
                  <a:cxn ang="0">
                    <a:pos x="451" y="587"/>
                  </a:cxn>
                  <a:cxn ang="0">
                    <a:pos x="382" y="474"/>
                  </a:cxn>
                  <a:cxn ang="0">
                    <a:pos x="298" y="375"/>
                  </a:cxn>
                  <a:cxn ang="0">
                    <a:pos x="220" y="315"/>
                  </a:cxn>
                  <a:cxn ang="0">
                    <a:pos x="178" y="299"/>
                  </a:cxn>
                  <a:cxn ang="0">
                    <a:pos x="150" y="298"/>
                  </a:cxn>
                </a:cxnLst>
                <a:rect l="0" t="0" r="r" b="b"/>
                <a:pathLst>
                  <a:path w="874" h="948">
                    <a:moveTo>
                      <a:pt x="150" y="298"/>
                    </a:moveTo>
                    <a:lnTo>
                      <a:pt x="150" y="298"/>
                    </a:lnTo>
                    <a:lnTo>
                      <a:pt x="142" y="288"/>
                    </a:lnTo>
                    <a:lnTo>
                      <a:pt x="136" y="279"/>
                    </a:lnTo>
                    <a:lnTo>
                      <a:pt x="127" y="261"/>
                    </a:lnTo>
                    <a:lnTo>
                      <a:pt x="119" y="244"/>
                    </a:lnTo>
                    <a:lnTo>
                      <a:pt x="113" y="235"/>
                    </a:lnTo>
                    <a:lnTo>
                      <a:pt x="106" y="224"/>
                    </a:lnTo>
                    <a:lnTo>
                      <a:pt x="106" y="224"/>
                    </a:lnTo>
                    <a:lnTo>
                      <a:pt x="102" y="211"/>
                    </a:lnTo>
                    <a:lnTo>
                      <a:pt x="95" y="198"/>
                    </a:lnTo>
                    <a:lnTo>
                      <a:pt x="87" y="184"/>
                    </a:lnTo>
                    <a:lnTo>
                      <a:pt x="77" y="172"/>
                    </a:lnTo>
                    <a:lnTo>
                      <a:pt x="67" y="160"/>
                    </a:lnTo>
                    <a:lnTo>
                      <a:pt x="56" y="149"/>
                    </a:lnTo>
                    <a:lnTo>
                      <a:pt x="34" y="127"/>
                    </a:lnTo>
                    <a:lnTo>
                      <a:pt x="15" y="109"/>
                    </a:lnTo>
                    <a:lnTo>
                      <a:pt x="7" y="102"/>
                    </a:lnTo>
                    <a:lnTo>
                      <a:pt x="3" y="96"/>
                    </a:lnTo>
                    <a:lnTo>
                      <a:pt x="0" y="91"/>
                    </a:lnTo>
                    <a:lnTo>
                      <a:pt x="0" y="89"/>
                    </a:lnTo>
                    <a:lnTo>
                      <a:pt x="1" y="88"/>
                    </a:lnTo>
                    <a:lnTo>
                      <a:pt x="3" y="86"/>
                    </a:lnTo>
                    <a:lnTo>
                      <a:pt x="6" y="85"/>
                    </a:lnTo>
                    <a:lnTo>
                      <a:pt x="14" y="84"/>
                    </a:lnTo>
                    <a:lnTo>
                      <a:pt x="14" y="84"/>
                    </a:lnTo>
                    <a:lnTo>
                      <a:pt x="28" y="85"/>
                    </a:lnTo>
                    <a:lnTo>
                      <a:pt x="38" y="84"/>
                    </a:lnTo>
                    <a:lnTo>
                      <a:pt x="45" y="82"/>
                    </a:lnTo>
                    <a:lnTo>
                      <a:pt x="51" y="78"/>
                    </a:lnTo>
                    <a:lnTo>
                      <a:pt x="54" y="75"/>
                    </a:lnTo>
                    <a:lnTo>
                      <a:pt x="56" y="70"/>
                    </a:lnTo>
                    <a:lnTo>
                      <a:pt x="56" y="65"/>
                    </a:lnTo>
                    <a:lnTo>
                      <a:pt x="54" y="59"/>
                    </a:lnTo>
                    <a:lnTo>
                      <a:pt x="50" y="46"/>
                    </a:lnTo>
                    <a:lnTo>
                      <a:pt x="44" y="31"/>
                    </a:lnTo>
                    <a:lnTo>
                      <a:pt x="41" y="23"/>
                    </a:lnTo>
                    <a:lnTo>
                      <a:pt x="39" y="16"/>
                    </a:lnTo>
                    <a:lnTo>
                      <a:pt x="38" y="8"/>
                    </a:lnTo>
                    <a:lnTo>
                      <a:pt x="39" y="0"/>
                    </a:lnTo>
                    <a:lnTo>
                      <a:pt x="39" y="0"/>
                    </a:lnTo>
                    <a:lnTo>
                      <a:pt x="62" y="10"/>
                    </a:lnTo>
                    <a:lnTo>
                      <a:pt x="83" y="20"/>
                    </a:lnTo>
                    <a:lnTo>
                      <a:pt x="102" y="29"/>
                    </a:lnTo>
                    <a:lnTo>
                      <a:pt x="118" y="39"/>
                    </a:lnTo>
                    <a:lnTo>
                      <a:pt x="133" y="50"/>
                    </a:lnTo>
                    <a:lnTo>
                      <a:pt x="145" y="60"/>
                    </a:lnTo>
                    <a:lnTo>
                      <a:pt x="158" y="71"/>
                    </a:lnTo>
                    <a:lnTo>
                      <a:pt x="168" y="83"/>
                    </a:lnTo>
                    <a:lnTo>
                      <a:pt x="190" y="107"/>
                    </a:lnTo>
                    <a:lnTo>
                      <a:pt x="213" y="136"/>
                    </a:lnTo>
                    <a:lnTo>
                      <a:pt x="239" y="169"/>
                    </a:lnTo>
                    <a:lnTo>
                      <a:pt x="271" y="206"/>
                    </a:lnTo>
                    <a:lnTo>
                      <a:pt x="271" y="206"/>
                    </a:lnTo>
                    <a:lnTo>
                      <a:pt x="283" y="219"/>
                    </a:lnTo>
                    <a:lnTo>
                      <a:pt x="297" y="231"/>
                    </a:lnTo>
                    <a:lnTo>
                      <a:pt x="312" y="244"/>
                    </a:lnTo>
                    <a:lnTo>
                      <a:pt x="328" y="256"/>
                    </a:lnTo>
                    <a:lnTo>
                      <a:pt x="362" y="279"/>
                    </a:lnTo>
                    <a:lnTo>
                      <a:pt x="396" y="299"/>
                    </a:lnTo>
                    <a:lnTo>
                      <a:pt x="433" y="320"/>
                    </a:lnTo>
                    <a:lnTo>
                      <a:pt x="471" y="338"/>
                    </a:lnTo>
                    <a:lnTo>
                      <a:pt x="509" y="356"/>
                    </a:lnTo>
                    <a:lnTo>
                      <a:pt x="547" y="372"/>
                    </a:lnTo>
                    <a:lnTo>
                      <a:pt x="547" y="372"/>
                    </a:lnTo>
                    <a:lnTo>
                      <a:pt x="568" y="381"/>
                    </a:lnTo>
                    <a:lnTo>
                      <a:pt x="584" y="391"/>
                    </a:lnTo>
                    <a:lnTo>
                      <a:pt x="599" y="401"/>
                    </a:lnTo>
                    <a:lnTo>
                      <a:pt x="612" y="412"/>
                    </a:lnTo>
                    <a:lnTo>
                      <a:pt x="629" y="424"/>
                    </a:lnTo>
                    <a:lnTo>
                      <a:pt x="647" y="435"/>
                    </a:lnTo>
                    <a:lnTo>
                      <a:pt x="670" y="449"/>
                    </a:lnTo>
                    <a:lnTo>
                      <a:pt x="701" y="464"/>
                    </a:lnTo>
                    <a:lnTo>
                      <a:pt x="701" y="464"/>
                    </a:lnTo>
                    <a:lnTo>
                      <a:pt x="688" y="466"/>
                    </a:lnTo>
                    <a:lnTo>
                      <a:pt x="676" y="467"/>
                    </a:lnTo>
                    <a:lnTo>
                      <a:pt x="662" y="466"/>
                    </a:lnTo>
                    <a:lnTo>
                      <a:pt x="649" y="463"/>
                    </a:lnTo>
                    <a:lnTo>
                      <a:pt x="636" y="459"/>
                    </a:lnTo>
                    <a:lnTo>
                      <a:pt x="623" y="455"/>
                    </a:lnTo>
                    <a:lnTo>
                      <a:pt x="599" y="447"/>
                    </a:lnTo>
                    <a:lnTo>
                      <a:pt x="587" y="442"/>
                    </a:lnTo>
                    <a:lnTo>
                      <a:pt x="576" y="439"/>
                    </a:lnTo>
                    <a:lnTo>
                      <a:pt x="565" y="437"/>
                    </a:lnTo>
                    <a:lnTo>
                      <a:pt x="557" y="437"/>
                    </a:lnTo>
                    <a:lnTo>
                      <a:pt x="548" y="439"/>
                    </a:lnTo>
                    <a:lnTo>
                      <a:pt x="545" y="441"/>
                    </a:lnTo>
                    <a:lnTo>
                      <a:pt x="541" y="443"/>
                    </a:lnTo>
                    <a:lnTo>
                      <a:pt x="539" y="445"/>
                    </a:lnTo>
                    <a:lnTo>
                      <a:pt x="537" y="450"/>
                    </a:lnTo>
                    <a:lnTo>
                      <a:pt x="532" y="459"/>
                    </a:lnTo>
                    <a:lnTo>
                      <a:pt x="532" y="459"/>
                    </a:lnTo>
                    <a:lnTo>
                      <a:pt x="527" y="540"/>
                    </a:lnTo>
                    <a:lnTo>
                      <a:pt x="527" y="540"/>
                    </a:lnTo>
                    <a:lnTo>
                      <a:pt x="527" y="540"/>
                    </a:lnTo>
                    <a:lnTo>
                      <a:pt x="534" y="547"/>
                    </a:lnTo>
                    <a:lnTo>
                      <a:pt x="540" y="554"/>
                    </a:lnTo>
                    <a:lnTo>
                      <a:pt x="545" y="560"/>
                    </a:lnTo>
                    <a:lnTo>
                      <a:pt x="548" y="567"/>
                    </a:lnTo>
                    <a:lnTo>
                      <a:pt x="555" y="583"/>
                    </a:lnTo>
                    <a:lnTo>
                      <a:pt x="561" y="598"/>
                    </a:lnTo>
                    <a:lnTo>
                      <a:pt x="565" y="615"/>
                    </a:lnTo>
                    <a:lnTo>
                      <a:pt x="572" y="628"/>
                    </a:lnTo>
                    <a:lnTo>
                      <a:pt x="576" y="635"/>
                    </a:lnTo>
                    <a:lnTo>
                      <a:pt x="580" y="642"/>
                    </a:lnTo>
                    <a:lnTo>
                      <a:pt x="585" y="649"/>
                    </a:lnTo>
                    <a:lnTo>
                      <a:pt x="591" y="655"/>
                    </a:lnTo>
                    <a:lnTo>
                      <a:pt x="591" y="655"/>
                    </a:lnTo>
                    <a:lnTo>
                      <a:pt x="596" y="665"/>
                    </a:lnTo>
                    <a:lnTo>
                      <a:pt x="603" y="676"/>
                    </a:lnTo>
                    <a:lnTo>
                      <a:pt x="610" y="685"/>
                    </a:lnTo>
                    <a:lnTo>
                      <a:pt x="618" y="693"/>
                    </a:lnTo>
                    <a:lnTo>
                      <a:pt x="626" y="700"/>
                    </a:lnTo>
                    <a:lnTo>
                      <a:pt x="636" y="705"/>
                    </a:lnTo>
                    <a:lnTo>
                      <a:pt x="645" y="711"/>
                    </a:lnTo>
                    <a:lnTo>
                      <a:pt x="654" y="716"/>
                    </a:lnTo>
                    <a:lnTo>
                      <a:pt x="675" y="724"/>
                    </a:lnTo>
                    <a:lnTo>
                      <a:pt x="695" y="730"/>
                    </a:lnTo>
                    <a:lnTo>
                      <a:pt x="717" y="734"/>
                    </a:lnTo>
                    <a:lnTo>
                      <a:pt x="739" y="739"/>
                    </a:lnTo>
                    <a:lnTo>
                      <a:pt x="761" y="742"/>
                    </a:lnTo>
                    <a:lnTo>
                      <a:pt x="782" y="747"/>
                    </a:lnTo>
                    <a:lnTo>
                      <a:pt x="802" y="753"/>
                    </a:lnTo>
                    <a:lnTo>
                      <a:pt x="821" y="761"/>
                    </a:lnTo>
                    <a:lnTo>
                      <a:pt x="829" y="765"/>
                    </a:lnTo>
                    <a:lnTo>
                      <a:pt x="837" y="770"/>
                    </a:lnTo>
                    <a:lnTo>
                      <a:pt x="845" y="776"/>
                    </a:lnTo>
                    <a:lnTo>
                      <a:pt x="852" y="783"/>
                    </a:lnTo>
                    <a:lnTo>
                      <a:pt x="859" y="791"/>
                    </a:lnTo>
                    <a:lnTo>
                      <a:pt x="864" y="799"/>
                    </a:lnTo>
                    <a:lnTo>
                      <a:pt x="869" y="809"/>
                    </a:lnTo>
                    <a:lnTo>
                      <a:pt x="874" y="819"/>
                    </a:lnTo>
                    <a:lnTo>
                      <a:pt x="874" y="819"/>
                    </a:lnTo>
                    <a:lnTo>
                      <a:pt x="860" y="815"/>
                    </a:lnTo>
                    <a:lnTo>
                      <a:pt x="848" y="810"/>
                    </a:lnTo>
                    <a:lnTo>
                      <a:pt x="829" y="801"/>
                    </a:lnTo>
                    <a:lnTo>
                      <a:pt x="821" y="796"/>
                    </a:lnTo>
                    <a:lnTo>
                      <a:pt x="814" y="793"/>
                    </a:lnTo>
                    <a:lnTo>
                      <a:pt x="806" y="791"/>
                    </a:lnTo>
                    <a:lnTo>
                      <a:pt x="797" y="791"/>
                    </a:lnTo>
                    <a:lnTo>
                      <a:pt x="797" y="791"/>
                    </a:lnTo>
                    <a:lnTo>
                      <a:pt x="787" y="791"/>
                    </a:lnTo>
                    <a:lnTo>
                      <a:pt x="779" y="793"/>
                    </a:lnTo>
                    <a:lnTo>
                      <a:pt x="771" y="795"/>
                    </a:lnTo>
                    <a:lnTo>
                      <a:pt x="764" y="800"/>
                    </a:lnTo>
                    <a:lnTo>
                      <a:pt x="757" y="804"/>
                    </a:lnTo>
                    <a:lnTo>
                      <a:pt x="751" y="810"/>
                    </a:lnTo>
                    <a:lnTo>
                      <a:pt x="738" y="823"/>
                    </a:lnTo>
                    <a:lnTo>
                      <a:pt x="738" y="823"/>
                    </a:lnTo>
                    <a:lnTo>
                      <a:pt x="736" y="827"/>
                    </a:lnTo>
                    <a:lnTo>
                      <a:pt x="736" y="832"/>
                    </a:lnTo>
                    <a:lnTo>
                      <a:pt x="736" y="838"/>
                    </a:lnTo>
                    <a:lnTo>
                      <a:pt x="738" y="845"/>
                    </a:lnTo>
                    <a:lnTo>
                      <a:pt x="744" y="860"/>
                    </a:lnTo>
                    <a:lnTo>
                      <a:pt x="753" y="877"/>
                    </a:lnTo>
                    <a:lnTo>
                      <a:pt x="762" y="895"/>
                    </a:lnTo>
                    <a:lnTo>
                      <a:pt x="771" y="914"/>
                    </a:lnTo>
                    <a:lnTo>
                      <a:pt x="778" y="932"/>
                    </a:lnTo>
                    <a:lnTo>
                      <a:pt x="780" y="940"/>
                    </a:lnTo>
                    <a:lnTo>
                      <a:pt x="782" y="948"/>
                    </a:lnTo>
                    <a:lnTo>
                      <a:pt x="782" y="948"/>
                    </a:lnTo>
                    <a:lnTo>
                      <a:pt x="769" y="941"/>
                    </a:lnTo>
                    <a:lnTo>
                      <a:pt x="756" y="933"/>
                    </a:lnTo>
                    <a:lnTo>
                      <a:pt x="744" y="924"/>
                    </a:lnTo>
                    <a:lnTo>
                      <a:pt x="732" y="915"/>
                    </a:lnTo>
                    <a:lnTo>
                      <a:pt x="711" y="896"/>
                    </a:lnTo>
                    <a:lnTo>
                      <a:pt x="693" y="876"/>
                    </a:lnTo>
                    <a:lnTo>
                      <a:pt x="676" y="854"/>
                    </a:lnTo>
                    <a:lnTo>
                      <a:pt x="661" y="832"/>
                    </a:lnTo>
                    <a:lnTo>
                      <a:pt x="631" y="787"/>
                    </a:lnTo>
                    <a:lnTo>
                      <a:pt x="616" y="764"/>
                    </a:lnTo>
                    <a:lnTo>
                      <a:pt x="601" y="742"/>
                    </a:lnTo>
                    <a:lnTo>
                      <a:pt x="585" y="722"/>
                    </a:lnTo>
                    <a:lnTo>
                      <a:pt x="568" y="702"/>
                    </a:lnTo>
                    <a:lnTo>
                      <a:pt x="548" y="684"/>
                    </a:lnTo>
                    <a:lnTo>
                      <a:pt x="538" y="674"/>
                    </a:lnTo>
                    <a:lnTo>
                      <a:pt x="527" y="666"/>
                    </a:lnTo>
                    <a:lnTo>
                      <a:pt x="516" y="659"/>
                    </a:lnTo>
                    <a:lnTo>
                      <a:pt x="503" y="653"/>
                    </a:lnTo>
                    <a:lnTo>
                      <a:pt x="491" y="646"/>
                    </a:lnTo>
                    <a:lnTo>
                      <a:pt x="477" y="640"/>
                    </a:lnTo>
                    <a:lnTo>
                      <a:pt x="477" y="640"/>
                    </a:lnTo>
                    <a:lnTo>
                      <a:pt x="465" y="613"/>
                    </a:lnTo>
                    <a:lnTo>
                      <a:pt x="451" y="587"/>
                    </a:lnTo>
                    <a:lnTo>
                      <a:pt x="436" y="558"/>
                    </a:lnTo>
                    <a:lnTo>
                      <a:pt x="420" y="531"/>
                    </a:lnTo>
                    <a:lnTo>
                      <a:pt x="402" y="503"/>
                    </a:lnTo>
                    <a:lnTo>
                      <a:pt x="382" y="474"/>
                    </a:lnTo>
                    <a:lnTo>
                      <a:pt x="363" y="448"/>
                    </a:lnTo>
                    <a:lnTo>
                      <a:pt x="341" y="422"/>
                    </a:lnTo>
                    <a:lnTo>
                      <a:pt x="320" y="397"/>
                    </a:lnTo>
                    <a:lnTo>
                      <a:pt x="298" y="375"/>
                    </a:lnTo>
                    <a:lnTo>
                      <a:pt x="275" y="354"/>
                    </a:lnTo>
                    <a:lnTo>
                      <a:pt x="253" y="337"/>
                    </a:lnTo>
                    <a:lnTo>
                      <a:pt x="232" y="322"/>
                    </a:lnTo>
                    <a:lnTo>
                      <a:pt x="220" y="315"/>
                    </a:lnTo>
                    <a:lnTo>
                      <a:pt x="210" y="310"/>
                    </a:lnTo>
                    <a:lnTo>
                      <a:pt x="198" y="306"/>
                    </a:lnTo>
                    <a:lnTo>
                      <a:pt x="188" y="302"/>
                    </a:lnTo>
                    <a:lnTo>
                      <a:pt x="178" y="299"/>
                    </a:lnTo>
                    <a:lnTo>
                      <a:pt x="168" y="298"/>
                    </a:lnTo>
                    <a:lnTo>
                      <a:pt x="168" y="298"/>
                    </a:lnTo>
                    <a:lnTo>
                      <a:pt x="150" y="298"/>
                    </a:lnTo>
                    <a:lnTo>
                      <a:pt x="150" y="298"/>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3" name="Freeform 98"/>
              <p:cNvSpPr>
                <a:spLocks noChangeAspect="1"/>
              </p:cNvSpPr>
              <p:nvPr/>
            </p:nvSpPr>
            <p:spPr bwMode="auto">
              <a:xfrm>
                <a:off x="6932536" y="1080526"/>
                <a:ext cx="1117502" cy="2175041"/>
              </a:xfrm>
              <a:custGeom>
                <a:avLst/>
                <a:gdLst/>
                <a:ahLst/>
                <a:cxnLst>
                  <a:cxn ang="0">
                    <a:pos x="305" y="1897"/>
                  </a:cxn>
                  <a:cxn ang="0">
                    <a:pos x="235" y="1990"/>
                  </a:cxn>
                  <a:cxn ang="0">
                    <a:pos x="212" y="2080"/>
                  </a:cxn>
                  <a:cxn ang="0">
                    <a:pos x="233" y="2157"/>
                  </a:cxn>
                  <a:cxn ang="0">
                    <a:pos x="295" y="2300"/>
                  </a:cxn>
                  <a:cxn ang="0">
                    <a:pos x="246" y="2439"/>
                  </a:cxn>
                  <a:cxn ang="0">
                    <a:pos x="167" y="2480"/>
                  </a:cxn>
                  <a:cxn ang="0">
                    <a:pos x="162" y="2567"/>
                  </a:cxn>
                  <a:cxn ang="0">
                    <a:pos x="86" y="2679"/>
                  </a:cxn>
                  <a:cxn ang="0">
                    <a:pos x="199" y="2853"/>
                  </a:cxn>
                  <a:cxn ang="0">
                    <a:pos x="255" y="2945"/>
                  </a:cxn>
                  <a:cxn ang="0">
                    <a:pos x="427" y="2957"/>
                  </a:cxn>
                  <a:cxn ang="0">
                    <a:pos x="454" y="3091"/>
                  </a:cxn>
                  <a:cxn ang="0">
                    <a:pos x="585" y="3075"/>
                  </a:cxn>
                  <a:cxn ang="0">
                    <a:pos x="684" y="3085"/>
                  </a:cxn>
                  <a:cxn ang="0">
                    <a:pos x="731" y="2922"/>
                  </a:cxn>
                  <a:cxn ang="0">
                    <a:pos x="882" y="2908"/>
                  </a:cxn>
                  <a:cxn ang="0">
                    <a:pos x="974" y="2774"/>
                  </a:cxn>
                  <a:cxn ang="0">
                    <a:pos x="1023" y="2621"/>
                  </a:cxn>
                  <a:cxn ang="0">
                    <a:pos x="888" y="2471"/>
                  </a:cxn>
                  <a:cxn ang="0">
                    <a:pos x="883" y="2168"/>
                  </a:cxn>
                  <a:cxn ang="0">
                    <a:pos x="952" y="2127"/>
                  </a:cxn>
                  <a:cxn ang="0">
                    <a:pos x="1064" y="2201"/>
                  </a:cxn>
                  <a:cxn ang="0">
                    <a:pos x="1052" y="2076"/>
                  </a:cxn>
                  <a:cxn ang="0">
                    <a:pos x="1027" y="1976"/>
                  </a:cxn>
                  <a:cxn ang="0">
                    <a:pos x="967" y="1966"/>
                  </a:cxn>
                  <a:cxn ang="0">
                    <a:pos x="858" y="1882"/>
                  </a:cxn>
                  <a:cxn ang="0">
                    <a:pos x="724" y="1764"/>
                  </a:cxn>
                  <a:cxn ang="0">
                    <a:pos x="661" y="1706"/>
                  </a:cxn>
                  <a:cxn ang="0">
                    <a:pos x="715" y="1605"/>
                  </a:cxn>
                  <a:cxn ang="0">
                    <a:pos x="914" y="1426"/>
                  </a:cxn>
                  <a:cxn ang="0">
                    <a:pos x="1020" y="1468"/>
                  </a:cxn>
                  <a:cxn ang="0">
                    <a:pos x="1205" y="1440"/>
                  </a:cxn>
                  <a:cxn ang="0">
                    <a:pos x="1267" y="1240"/>
                  </a:cxn>
                  <a:cxn ang="0">
                    <a:pos x="1367" y="1180"/>
                  </a:cxn>
                  <a:cxn ang="0">
                    <a:pos x="1411" y="857"/>
                  </a:cxn>
                  <a:cxn ang="0">
                    <a:pos x="1266" y="796"/>
                  </a:cxn>
                  <a:cxn ang="0">
                    <a:pos x="1012" y="908"/>
                  </a:cxn>
                  <a:cxn ang="0">
                    <a:pos x="1061" y="800"/>
                  </a:cxn>
                  <a:cxn ang="0">
                    <a:pos x="1012" y="623"/>
                  </a:cxn>
                  <a:cxn ang="0">
                    <a:pos x="888" y="546"/>
                  </a:cxn>
                  <a:cxn ang="0">
                    <a:pos x="1014" y="463"/>
                  </a:cxn>
                  <a:cxn ang="0">
                    <a:pos x="1138" y="393"/>
                  </a:cxn>
                  <a:cxn ang="0">
                    <a:pos x="1262" y="254"/>
                  </a:cxn>
                  <a:cxn ang="0">
                    <a:pos x="1163" y="188"/>
                  </a:cxn>
                  <a:cxn ang="0">
                    <a:pos x="1072" y="155"/>
                  </a:cxn>
                  <a:cxn ang="0">
                    <a:pos x="955" y="38"/>
                  </a:cxn>
                  <a:cxn ang="0">
                    <a:pos x="919" y="217"/>
                  </a:cxn>
                  <a:cxn ang="0">
                    <a:pos x="850" y="275"/>
                  </a:cxn>
                  <a:cxn ang="0">
                    <a:pos x="460" y="475"/>
                  </a:cxn>
                  <a:cxn ang="0">
                    <a:pos x="145" y="912"/>
                  </a:cxn>
                  <a:cxn ang="0">
                    <a:pos x="295" y="961"/>
                  </a:cxn>
                  <a:cxn ang="0">
                    <a:pos x="257" y="1052"/>
                  </a:cxn>
                  <a:cxn ang="0">
                    <a:pos x="121" y="1058"/>
                  </a:cxn>
                  <a:cxn ang="0">
                    <a:pos x="33" y="1266"/>
                  </a:cxn>
                  <a:cxn ang="0">
                    <a:pos x="34" y="1364"/>
                  </a:cxn>
                  <a:cxn ang="0">
                    <a:pos x="155" y="1485"/>
                  </a:cxn>
                  <a:cxn ang="0">
                    <a:pos x="82" y="1643"/>
                  </a:cxn>
                  <a:cxn ang="0">
                    <a:pos x="122" y="1739"/>
                  </a:cxn>
                  <a:cxn ang="0">
                    <a:pos x="257" y="1762"/>
                  </a:cxn>
                </a:cxnLst>
                <a:rect l="0" t="0" r="r" b="b"/>
                <a:pathLst>
                  <a:path w="1411" h="3127">
                    <a:moveTo>
                      <a:pt x="302" y="1820"/>
                    </a:moveTo>
                    <a:lnTo>
                      <a:pt x="302" y="1820"/>
                    </a:lnTo>
                    <a:lnTo>
                      <a:pt x="302" y="1820"/>
                    </a:lnTo>
                    <a:lnTo>
                      <a:pt x="302" y="1820"/>
                    </a:lnTo>
                    <a:lnTo>
                      <a:pt x="308" y="1825"/>
                    </a:lnTo>
                    <a:lnTo>
                      <a:pt x="316" y="1835"/>
                    </a:lnTo>
                    <a:lnTo>
                      <a:pt x="324" y="1844"/>
                    </a:lnTo>
                    <a:lnTo>
                      <a:pt x="326" y="1848"/>
                    </a:lnTo>
                    <a:lnTo>
                      <a:pt x="327" y="1852"/>
                    </a:lnTo>
                    <a:lnTo>
                      <a:pt x="327" y="1852"/>
                    </a:lnTo>
                    <a:lnTo>
                      <a:pt x="326" y="1859"/>
                    </a:lnTo>
                    <a:lnTo>
                      <a:pt x="324" y="1865"/>
                    </a:lnTo>
                    <a:lnTo>
                      <a:pt x="320" y="1869"/>
                    </a:lnTo>
                    <a:lnTo>
                      <a:pt x="317" y="1875"/>
                    </a:lnTo>
                    <a:lnTo>
                      <a:pt x="312" y="1880"/>
                    </a:lnTo>
                    <a:lnTo>
                      <a:pt x="309" y="1884"/>
                    </a:lnTo>
                    <a:lnTo>
                      <a:pt x="306" y="1890"/>
                    </a:lnTo>
                    <a:lnTo>
                      <a:pt x="305" y="1897"/>
                    </a:lnTo>
                    <a:lnTo>
                      <a:pt x="305" y="1897"/>
                    </a:lnTo>
                    <a:lnTo>
                      <a:pt x="305" y="1937"/>
                    </a:lnTo>
                    <a:lnTo>
                      <a:pt x="305" y="1937"/>
                    </a:lnTo>
                    <a:lnTo>
                      <a:pt x="300" y="1938"/>
                    </a:lnTo>
                    <a:lnTo>
                      <a:pt x="292" y="1938"/>
                    </a:lnTo>
                    <a:lnTo>
                      <a:pt x="282" y="1937"/>
                    </a:lnTo>
                    <a:lnTo>
                      <a:pt x="272" y="1937"/>
                    </a:lnTo>
                    <a:lnTo>
                      <a:pt x="272" y="1937"/>
                    </a:lnTo>
                    <a:lnTo>
                      <a:pt x="266" y="1938"/>
                    </a:lnTo>
                    <a:lnTo>
                      <a:pt x="263" y="1941"/>
                    </a:lnTo>
                    <a:lnTo>
                      <a:pt x="262" y="1944"/>
                    </a:lnTo>
                    <a:lnTo>
                      <a:pt x="260" y="1949"/>
                    </a:lnTo>
                    <a:lnTo>
                      <a:pt x="259" y="1959"/>
                    </a:lnTo>
                    <a:lnTo>
                      <a:pt x="257" y="1965"/>
                    </a:lnTo>
                    <a:lnTo>
                      <a:pt x="254" y="1970"/>
                    </a:lnTo>
                    <a:lnTo>
                      <a:pt x="254" y="1970"/>
                    </a:lnTo>
                    <a:lnTo>
                      <a:pt x="250" y="1976"/>
                    </a:lnTo>
                    <a:lnTo>
                      <a:pt x="246" y="1981"/>
                    </a:lnTo>
                    <a:lnTo>
                      <a:pt x="241" y="1985"/>
                    </a:lnTo>
                    <a:lnTo>
                      <a:pt x="235" y="1990"/>
                    </a:lnTo>
                    <a:lnTo>
                      <a:pt x="222" y="1997"/>
                    </a:lnTo>
                    <a:lnTo>
                      <a:pt x="211" y="2004"/>
                    </a:lnTo>
                    <a:lnTo>
                      <a:pt x="199" y="2011"/>
                    </a:lnTo>
                    <a:lnTo>
                      <a:pt x="194" y="2015"/>
                    </a:lnTo>
                    <a:lnTo>
                      <a:pt x="189" y="2020"/>
                    </a:lnTo>
                    <a:lnTo>
                      <a:pt x="186" y="2025"/>
                    </a:lnTo>
                    <a:lnTo>
                      <a:pt x="183" y="2030"/>
                    </a:lnTo>
                    <a:lnTo>
                      <a:pt x="181" y="2036"/>
                    </a:lnTo>
                    <a:lnTo>
                      <a:pt x="181" y="2043"/>
                    </a:lnTo>
                    <a:lnTo>
                      <a:pt x="181" y="2043"/>
                    </a:lnTo>
                    <a:lnTo>
                      <a:pt x="181" y="2048"/>
                    </a:lnTo>
                    <a:lnTo>
                      <a:pt x="182" y="2051"/>
                    </a:lnTo>
                    <a:lnTo>
                      <a:pt x="186" y="2057"/>
                    </a:lnTo>
                    <a:lnTo>
                      <a:pt x="190" y="2061"/>
                    </a:lnTo>
                    <a:lnTo>
                      <a:pt x="196" y="2065"/>
                    </a:lnTo>
                    <a:lnTo>
                      <a:pt x="202" y="2068"/>
                    </a:lnTo>
                    <a:lnTo>
                      <a:pt x="206" y="2072"/>
                    </a:lnTo>
                    <a:lnTo>
                      <a:pt x="211" y="2076"/>
                    </a:lnTo>
                    <a:lnTo>
                      <a:pt x="212" y="2080"/>
                    </a:lnTo>
                    <a:lnTo>
                      <a:pt x="213" y="2083"/>
                    </a:lnTo>
                    <a:lnTo>
                      <a:pt x="213" y="2083"/>
                    </a:lnTo>
                    <a:lnTo>
                      <a:pt x="206" y="2089"/>
                    </a:lnTo>
                    <a:lnTo>
                      <a:pt x="198" y="2097"/>
                    </a:lnTo>
                    <a:lnTo>
                      <a:pt x="191" y="2107"/>
                    </a:lnTo>
                    <a:lnTo>
                      <a:pt x="189" y="2112"/>
                    </a:lnTo>
                    <a:lnTo>
                      <a:pt x="188" y="2117"/>
                    </a:lnTo>
                    <a:lnTo>
                      <a:pt x="188" y="2117"/>
                    </a:lnTo>
                    <a:lnTo>
                      <a:pt x="189" y="2122"/>
                    </a:lnTo>
                    <a:lnTo>
                      <a:pt x="189" y="2127"/>
                    </a:lnTo>
                    <a:lnTo>
                      <a:pt x="191" y="2132"/>
                    </a:lnTo>
                    <a:lnTo>
                      <a:pt x="194" y="2135"/>
                    </a:lnTo>
                    <a:lnTo>
                      <a:pt x="199" y="2140"/>
                    </a:lnTo>
                    <a:lnTo>
                      <a:pt x="206" y="2142"/>
                    </a:lnTo>
                    <a:lnTo>
                      <a:pt x="220" y="2148"/>
                    </a:lnTo>
                    <a:lnTo>
                      <a:pt x="227" y="2151"/>
                    </a:lnTo>
                    <a:lnTo>
                      <a:pt x="229" y="2153"/>
                    </a:lnTo>
                    <a:lnTo>
                      <a:pt x="233" y="2157"/>
                    </a:lnTo>
                    <a:lnTo>
                      <a:pt x="233" y="2157"/>
                    </a:lnTo>
                    <a:lnTo>
                      <a:pt x="235" y="2165"/>
                    </a:lnTo>
                    <a:lnTo>
                      <a:pt x="237" y="2174"/>
                    </a:lnTo>
                    <a:lnTo>
                      <a:pt x="239" y="2184"/>
                    </a:lnTo>
                    <a:lnTo>
                      <a:pt x="240" y="2196"/>
                    </a:lnTo>
                    <a:lnTo>
                      <a:pt x="240" y="2217"/>
                    </a:lnTo>
                    <a:lnTo>
                      <a:pt x="240" y="2235"/>
                    </a:lnTo>
                    <a:lnTo>
                      <a:pt x="240" y="2235"/>
                    </a:lnTo>
                    <a:lnTo>
                      <a:pt x="241" y="2239"/>
                    </a:lnTo>
                    <a:lnTo>
                      <a:pt x="244" y="2242"/>
                    </a:lnTo>
                    <a:lnTo>
                      <a:pt x="251" y="2248"/>
                    </a:lnTo>
                    <a:lnTo>
                      <a:pt x="270" y="2260"/>
                    </a:lnTo>
                    <a:lnTo>
                      <a:pt x="279" y="2266"/>
                    </a:lnTo>
                    <a:lnTo>
                      <a:pt x="287" y="2274"/>
                    </a:lnTo>
                    <a:lnTo>
                      <a:pt x="290" y="2279"/>
                    </a:lnTo>
                    <a:lnTo>
                      <a:pt x="293" y="2285"/>
                    </a:lnTo>
                    <a:lnTo>
                      <a:pt x="294" y="2290"/>
                    </a:lnTo>
                    <a:lnTo>
                      <a:pt x="295" y="2297"/>
                    </a:lnTo>
                    <a:lnTo>
                      <a:pt x="295" y="2297"/>
                    </a:lnTo>
                    <a:lnTo>
                      <a:pt x="295" y="2300"/>
                    </a:lnTo>
                    <a:lnTo>
                      <a:pt x="296" y="2302"/>
                    </a:lnTo>
                    <a:lnTo>
                      <a:pt x="301" y="2309"/>
                    </a:lnTo>
                    <a:lnTo>
                      <a:pt x="304" y="2315"/>
                    </a:lnTo>
                    <a:lnTo>
                      <a:pt x="305" y="2319"/>
                    </a:lnTo>
                    <a:lnTo>
                      <a:pt x="305" y="2323"/>
                    </a:lnTo>
                    <a:lnTo>
                      <a:pt x="305" y="2323"/>
                    </a:lnTo>
                    <a:lnTo>
                      <a:pt x="297" y="2327"/>
                    </a:lnTo>
                    <a:lnTo>
                      <a:pt x="292" y="2334"/>
                    </a:lnTo>
                    <a:lnTo>
                      <a:pt x="286" y="2342"/>
                    </a:lnTo>
                    <a:lnTo>
                      <a:pt x="282" y="2350"/>
                    </a:lnTo>
                    <a:lnTo>
                      <a:pt x="279" y="2359"/>
                    </a:lnTo>
                    <a:lnTo>
                      <a:pt x="277" y="2370"/>
                    </a:lnTo>
                    <a:lnTo>
                      <a:pt x="273" y="2389"/>
                    </a:lnTo>
                    <a:lnTo>
                      <a:pt x="270" y="2409"/>
                    </a:lnTo>
                    <a:lnTo>
                      <a:pt x="267" y="2418"/>
                    </a:lnTo>
                    <a:lnTo>
                      <a:pt x="263" y="2425"/>
                    </a:lnTo>
                    <a:lnTo>
                      <a:pt x="258" y="2432"/>
                    </a:lnTo>
                    <a:lnTo>
                      <a:pt x="252" y="2436"/>
                    </a:lnTo>
                    <a:lnTo>
                      <a:pt x="246" y="2439"/>
                    </a:lnTo>
                    <a:lnTo>
                      <a:pt x="236" y="2440"/>
                    </a:lnTo>
                    <a:lnTo>
                      <a:pt x="236" y="2440"/>
                    </a:lnTo>
                    <a:lnTo>
                      <a:pt x="228" y="2440"/>
                    </a:lnTo>
                    <a:lnTo>
                      <a:pt x="222" y="2439"/>
                    </a:lnTo>
                    <a:lnTo>
                      <a:pt x="214" y="2435"/>
                    </a:lnTo>
                    <a:lnTo>
                      <a:pt x="206" y="2431"/>
                    </a:lnTo>
                    <a:lnTo>
                      <a:pt x="202" y="2430"/>
                    </a:lnTo>
                    <a:lnTo>
                      <a:pt x="195" y="2430"/>
                    </a:lnTo>
                    <a:lnTo>
                      <a:pt x="195" y="2430"/>
                    </a:lnTo>
                    <a:lnTo>
                      <a:pt x="191" y="2431"/>
                    </a:lnTo>
                    <a:lnTo>
                      <a:pt x="189" y="2433"/>
                    </a:lnTo>
                    <a:lnTo>
                      <a:pt x="187" y="2438"/>
                    </a:lnTo>
                    <a:lnTo>
                      <a:pt x="185" y="2442"/>
                    </a:lnTo>
                    <a:lnTo>
                      <a:pt x="182" y="2454"/>
                    </a:lnTo>
                    <a:lnTo>
                      <a:pt x="181" y="2462"/>
                    </a:lnTo>
                    <a:lnTo>
                      <a:pt x="181" y="2462"/>
                    </a:lnTo>
                    <a:lnTo>
                      <a:pt x="178" y="2468"/>
                    </a:lnTo>
                    <a:lnTo>
                      <a:pt x="175" y="2472"/>
                    </a:lnTo>
                    <a:lnTo>
                      <a:pt x="167" y="2480"/>
                    </a:lnTo>
                    <a:lnTo>
                      <a:pt x="158" y="2487"/>
                    </a:lnTo>
                    <a:lnTo>
                      <a:pt x="149" y="2493"/>
                    </a:lnTo>
                    <a:lnTo>
                      <a:pt x="140" y="2500"/>
                    </a:lnTo>
                    <a:lnTo>
                      <a:pt x="133" y="2507"/>
                    </a:lnTo>
                    <a:lnTo>
                      <a:pt x="129" y="2510"/>
                    </a:lnTo>
                    <a:lnTo>
                      <a:pt x="127" y="2515"/>
                    </a:lnTo>
                    <a:lnTo>
                      <a:pt x="126" y="2519"/>
                    </a:lnTo>
                    <a:lnTo>
                      <a:pt x="125" y="2524"/>
                    </a:lnTo>
                    <a:lnTo>
                      <a:pt x="125" y="2524"/>
                    </a:lnTo>
                    <a:lnTo>
                      <a:pt x="126" y="2527"/>
                    </a:lnTo>
                    <a:lnTo>
                      <a:pt x="127" y="2531"/>
                    </a:lnTo>
                    <a:lnTo>
                      <a:pt x="130" y="2535"/>
                    </a:lnTo>
                    <a:lnTo>
                      <a:pt x="137" y="2540"/>
                    </a:lnTo>
                    <a:lnTo>
                      <a:pt x="144" y="2544"/>
                    </a:lnTo>
                    <a:lnTo>
                      <a:pt x="150" y="2549"/>
                    </a:lnTo>
                    <a:lnTo>
                      <a:pt x="157" y="2555"/>
                    </a:lnTo>
                    <a:lnTo>
                      <a:pt x="159" y="2558"/>
                    </a:lnTo>
                    <a:lnTo>
                      <a:pt x="160" y="2562"/>
                    </a:lnTo>
                    <a:lnTo>
                      <a:pt x="162" y="2567"/>
                    </a:lnTo>
                    <a:lnTo>
                      <a:pt x="163" y="2572"/>
                    </a:lnTo>
                    <a:lnTo>
                      <a:pt x="163" y="2572"/>
                    </a:lnTo>
                    <a:lnTo>
                      <a:pt x="162" y="2580"/>
                    </a:lnTo>
                    <a:lnTo>
                      <a:pt x="160" y="2585"/>
                    </a:lnTo>
                    <a:lnTo>
                      <a:pt x="159" y="2588"/>
                    </a:lnTo>
                    <a:lnTo>
                      <a:pt x="156" y="2590"/>
                    </a:lnTo>
                    <a:lnTo>
                      <a:pt x="147" y="2592"/>
                    </a:lnTo>
                    <a:lnTo>
                      <a:pt x="141" y="2592"/>
                    </a:lnTo>
                    <a:lnTo>
                      <a:pt x="133" y="2594"/>
                    </a:lnTo>
                    <a:lnTo>
                      <a:pt x="133" y="2594"/>
                    </a:lnTo>
                    <a:lnTo>
                      <a:pt x="124" y="2600"/>
                    </a:lnTo>
                    <a:lnTo>
                      <a:pt x="114" y="2608"/>
                    </a:lnTo>
                    <a:lnTo>
                      <a:pt x="106" y="2617"/>
                    </a:lnTo>
                    <a:lnTo>
                      <a:pt x="99" y="2629"/>
                    </a:lnTo>
                    <a:lnTo>
                      <a:pt x="94" y="2640"/>
                    </a:lnTo>
                    <a:lnTo>
                      <a:pt x="89" y="2653"/>
                    </a:lnTo>
                    <a:lnTo>
                      <a:pt x="87" y="2667"/>
                    </a:lnTo>
                    <a:lnTo>
                      <a:pt x="86" y="2679"/>
                    </a:lnTo>
                    <a:lnTo>
                      <a:pt x="86" y="2679"/>
                    </a:lnTo>
                    <a:lnTo>
                      <a:pt x="86" y="2693"/>
                    </a:lnTo>
                    <a:lnTo>
                      <a:pt x="87" y="2706"/>
                    </a:lnTo>
                    <a:lnTo>
                      <a:pt x="89" y="2717"/>
                    </a:lnTo>
                    <a:lnTo>
                      <a:pt x="92" y="2728"/>
                    </a:lnTo>
                    <a:lnTo>
                      <a:pt x="96" y="2737"/>
                    </a:lnTo>
                    <a:lnTo>
                      <a:pt x="99" y="2746"/>
                    </a:lnTo>
                    <a:lnTo>
                      <a:pt x="109" y="2761"/>
                    </a:lnTo>
                    <a:lnTo>
                      <a:pt x="119" y="2776"/>
                    </a:lnTo>
                    <a:lnTo>
                      <a:pt x="130" y="2791"/>
                    </a:lnTo>
                    <a:lnTo>
                      <a:pt x="141" y="2805"/>
                    </a:lnTo>
                    <a:lnTo>
                      <a:pt x="151" y="2822"/>
                    </a:lnTo>
                    <a:lnTo>
                      <a:pt x="151" y="2822"/>
                    </a:lnTo>
                    <a:lnTo>
                      <a:pt x="153" y="2825"/>
                    </a:lnTo>
                    <a:lnTo>
                      <a:pt x="157" y="2829"/>
                    </a:lnTo>
                    <a:lnTo>
                      <a:pt x="165" y="2835"/>
                    </a:lnTo>
                    <a:lnTo>
                      <a:pt x="173" y="2839"/>
                    </a:lnTo>
                    <a:lnTo>
                      <a:pt x="183" y="2844"/>
                    </a:lnTo>
                    <a:lnTo>
                      <a:pt x="191" y="2848"/>
                    </a:lnTo>
                    <a:lnTo>
                      <a:pt x="199" y="2853"/>
                    </a:lnTo>
                    <a:lnTo>
                      <a:pt x="202" y="2857"/>
                    </a:lnTo>
                    <a:lnTo>
                      <a:pt x="204" y="2861"/>
                    </a:lnTo>
                    <a:lnTo>
                      <a:pt x="206" y="2865"/>
                    </a:lnTo>
                    <a:lnTo>
                      <a:pt x="206" y="2870"/>
                    </a:lnTo>
                    <a:lnTo>
                      <a:pt x="206" y="2870"/>
                    </a:lnTo>
                    <a:lnTo>
                      <a:pt x="206" y="2896"/>
                    </a:lnTo>
                    <a:lnTo>
                      <a:pt x="206" y="2896"/>
                    </a:lnTo>
                    <a:lnTo>
                      <a:pt x="208" y="2901"/>
                    </a:lnTo>
                    <a:lnTo>
                      <a:pt x="210" y="2907"/>
                    </a:lnTo>
                    <a:lnTo>
                      <a:pt x="217" y="2919"/>
                    </a:lnTo>
                    <a:lnTo>
                      <a:pt x="221" y="2926"/>
                    </a:lnTo>
                    <a:lnTo>
                      <a:pt x="225" y="2932"/>
                    </a:lnTo>
                    <a:lnTo>
                      <a:pt x="227" y="2941"/>
                    </a:lnTo>
                    <a:lnTo>
                      <a:pt x="228" y="2951"/>
                    </a:lnTo>
                    <a:lnTo>
                      <a:pt x="228" y="2951"/>
                    </a:lnTo>
                    <a:lnTo>
                      <a:pt x="247" y="2951"/>
                    </a:lnTo>
                    <a:lnTo>
                      <a:pt x="247" y="2951"/>
                    </a:lnTo>
                    <a:lnTo>
                      <a:pt x="247" y="2951"/>
                    </a:lnTo>
                    <a:lnTo>
                      <a:pt x="255" y="2945"/>
                    </a:lnTo>
                    <a:lnTo>
                      <a:pt x="263" y="2937"/>
                    </a:lnTo>
                    <a:lnTo>
                      <a:pt x="281" y="2919"/>
                    </a:lnTo>
                    <a:lnTo>
                      <a:pt x="290" y="2909"/>
                    </a:lnTo>
                    <a:lnTo>
                      <a:pt x="298" y="2903"/>
                    </a:lnTo>
                    <a:lnTo>
                      <a:pt x="306" y="2897"/>
                    </a:lnTo>
                    <a:lnTo>
                      <a:pt x="310" y="2896"/>
                    </a:lnTo>
                    <a:lnTo>
                      <a:pt x="312" y="2896"/>
                    </a:lnTo>
                    <a:lnTo>
                      <a:pt x="312" y="2896"/>
                    </a:lnTo>
                    <a:lnTo>
                      <a:pt x="323" y="2896"/>
                    </a:lnTo>
                    <a:lnTo>
                      <a:pt x="333" y="2898"/>
                    </a:lnTo>
                    <a:lnTo>
                      <a:pt x="344" y="2901"/>
                    </a:lnTo>
                    <a:lnTo>
                      <a:pt x="356" y="2905"/>
                    </a:lnTo>
                    <a:lnTo>
                      <a:pt x="367" y="2911"/>
                    </a:lnTo>
                    <a:lnTo>
                      <a:pt x="379" y="2916"/>
                    </a:lnTo>
                    <a:lnTo>
                      <a:pt x="389" y="2923"/>
                    </a:lnTo>
                    <a:lnTo>
                      <a:pt x="400" y="2930"/>
                    </a:lnTo>
                    <a:lnTo>
                      <a:pt x="410" y="2938"/>
                    </a:lnTo>
                    <a:lnTo>
                      <a:pt x="419" y="2947"/>
                    </a:lnTo>
                    <a:lnTo>
                      <a:pt x="427" y="2957"/>
                    </a:lnTo>
                    <a:lnTo>
                      <a:pt x="434" y="2967"/>
                    </a:lnTo>
                    <a:lnTo>
                      <a:pt x="440" y="2977"/>
                    </a:lnTo>
                    <a:lnTo>
                      <a:pt x="445" y="2988"/>
                    </a:lnTo>
                    <a:lnTo>
                      <a:pt x="448" y="2998"/>
                    </a:lnTo>
                    <a:lnTo>
                      <a:pt x="449" y="3010"/>
                    </a:lnTo>
                    <a:lnTo>
                      <a:pt x="449" y="3010"/>
                    </a:lnTo>
                    <a:lnTo>
                      <a:pt x="448" y="3014"/>
                    </a:lnTo>
                    <a:lnTo>
                      <a:pt x="447" y="3020"/>
                    </a:lnTo>
                    <a:lnTo>
                      <a:pt x="441" y="3028"/>
                    </a:lnTo>
                    <a:lnTo>
                      <a:pt x="437" y="3038"/>
                    </a:lnTo>
                    <a:lnTo>
                      <a:pt x="434" y="3044"/>
                    </a:lnTo>
                    <a:lnTo>
                      <a:pt x="434" y="3050"/>
                    </a:lnTo>
                    <a:lnTo>
                      <a:pt x="434" y="3050"/>
                    </a:lnTo>
                    <a:lnTo>
                      <a:pt x="434" y="3060"/>
                    </a:lnTo>
                    <a:lnTo>
                      <a:pt x="437" y="3069"/>
                    </a:lnTo>
                    <a:lnTo>
                      <a:pt x="439" y="3077"/>
                    </a:lnTo>
                    <a:lnTo>
                      <a:pt x="442" y="3083"/>
                    </a:lnTo>
                    <a:lnTo>
                      <a:pt x="448" y="3088"/>
                    </a:lnTo>
                    <a:lnTo>
                      <a:pt x="454" y="3091"/>
                    </a:lnTo>
                    <a:lnTo>
                      <a:pt x="462" y="3094"/>
                    </a:lnTo>
                    <a:lnTo>
                      <a:pt x="471" y="3095"/>
                    </a:lnTo>
                    <a:lnTo>
                      <a:pt x="471" y="3095"/>
                    </a:lnTo>
                    <a:lnTo>
                      <a:pt x="480" y="3094"/>
                    </a:lnTo>
                    <a:lnTo>
                      <a:pt x="487" y="3090"/>
                    </a:lnTo>
                    <a:lnTo>
                      <a:pt x="492" y="3085"/>
                    </a:lnTo>
                    <a:lnTo>
                      <a:pt x="495" y="3081"/>
                    </a:lnTo>
                    <a:lnTo>
                      <a:pt x="499" y="3076"/>
                    </a:lnTo>
                    <a:lnTo>
                      <a:pt x="503" y="3073"/>
                    </a:lnTo>
                    <a:lnTo>
                      <a:pt x="508" y="3069"/>
                    </a:lnTo>
                    <a:lnTo>
                      <a:pt x="515" y="3068"/>
                    </a:lnTo>
                    <a:lnTo>
                      <a:pt x="515" y="3068"/>
                    </a:lnTo>
                    <a:lnTo>
                      <a:pt x="526" y="3069"/>
                    </a:lnTo>
                    <a:lnTo>
                      <a:pt x="534" y="3072"/>
                    </a:lnTo>
                    <a:lnTo>
                      <a:pt x="542" y="3074"/>
                    </a:lnTo>
                    <a:lnTo>
                      <a:pt x="552" y="3075"/>
                    </a:lnTo>
                    <a:lnTo>
                      <a:pt x="552" y="3075"/>
                    </a:lnTo>
                    <a:lnTo>
                      <a:pt x="585" y="3075"/>
                    </a:lnTo>
                    <a:lnTo>
                      <a:pt x="585" y="3075"/>
                    </a:lnTo>
                    <a:lnTo>
                      <a:pt x="588" y="3076"/>
                    </a:lnTo>
                    <a:lnTo>
                      <a:pt x="592" y="3077"/>
                    </a:lnTo>
                    <a:lnTo>
                      <a:pt x="594" y="3079"/>
                    </a:lnTo>
                    <a:lnTo>
                      <a:pt x="598" y="3082"/>
                    </a:lnTo>
                    <a:lnTo>
                      <a:pt x="601" y="3089"/>
                    </a:lnTo>
                    <a:lnTo>
                      <a:pt x="606" y="3097"/>
                    </a:lnTo>
                    <a:lnTo>
                      <a:pt x="609" y="3105"/>
                    </a:lnTo>
                    <a:lnTo>
                      <a:pt x="614" y="3113"/>
                    </a:lnTo>
                    <a:lnTo>
                      <a:pt x="621" y="3119"/>
                    </a:lnTo>
                    <a:lnTo>
                      <a:pt x="624" y="3122"/>
                    </a:lnTo>
                    <a:lnTo>
                      <a:pt x="629" y="3123"/>
                    </a:lnTo>
                    <a:lnTo>
                      <a:pt x="629" y="3123"/>
                    </a:lnTo>
                    <a:lnTo>
                      <a:pt x="629" y="3123"/>
                    </a:lnTo>
                    <a:lnTo>
                      <a:pt x="629" y="3127"/>
                    </a:lnTo>
                    <a:lnTo>
                      <a:pt x="629" y="3127"/>
                    </a:lnTo>
                    <a:lnTo>
                      <a:pt x="629" y="3127"/>
                    </a:lnTo>
                    <a:lnTo>
                      <a:pt x="640" y="3118"/>
                    </a:lnTo>
                    <a:lnTo>
                      <a:pt x="654" y="3107"/>
                    </a:lnTo>
                    <a:lnTo>
                      <a:pt x="684" y="3085"/>
                    </a:lnTo>
                    <a:lnTo>
                      <a:pt x="699" y="3073"/>
                    </a:lnTo>
                    <a:lnTo>
                      <a:pt x="715" y="3060"/>
                    </a:lnTo>
                    <a:lnTo>
                      <a:pt x="731" y="3044"/>
                    </a:lnTo>
                    <a:lnTo>
                      <a:pt x="746" y="3028"/>
                    </a:lnTo>
                    <a:lnTo>
                      <a:pt x="746" y="3028"/>
                    </a:lnTo>
                    <a:lnTo>
                      <a:pt x="738" y="3019"/>
                    </a:lnTo>
                    <a:lnTo>
                      <a:pt x="730" y="3010"/>
                    </a:lnTo>
                    <a:lnTo>
                      <a:pt x="721" y="2998"/>
                    </a:lnTo>
                    <a:lnTo>
                      <a:pt x="713" y="2984"/>
                    </a:lnTo>
                    <a:lnTo>
                      <a:pt x="710" y="2977"/>
                    </a:lnTo>
                    <a:lnTo>
                      <a:pt x="708" y="2970"/>
                    </a:lnTo>
                    <a:lnTo>
                      <a:pt x="706" y="2964"/>
                    </a:lnTo>
                    <a:lnTo>
                      <a:pt x="706" y="2957"/>
                    </a:lnTo>
                    <a:lnTo>
                      <a:pt x="707" y="2950"/>
                    </a:lnTo>
                    <a:lnTo>
                      <a:pt x="709" y="2943"/>
                    </a:lnTo>
                    <a:lnTo>
                      <a:pt x="709" y="2943"/>
                    </a:lnTo>
                    <a:lnTo>
                      <a:pt x="715" y="2936"/>
                    </a:lnTo>
                    <a:lnTo>
                      <a:pt x="722" y="2929"/>
                    </a:lnTo>
                    <a:lnTo>
                      <a:pt x="731" y="2922"/>
                    </a:lnTo>
                    <a:lnTo>
                      <a:pt x="740" y="2915"/>
                    </a:lnTo>
                    <a:lnTo>
                      <a:pt x="762" y="2903"/>
                    </a:lnTo>
                    <a:lnTo>
                      <a:pt x="786" y="2889"/>
                    </a:lnTo>
                    <a:lnTo>
                      <a:pt x="813" y="2875"/>
                    </a:lnTo>
                    <a:lnTo>
                      <a:pt x="839" y="2860"/>
                    </a:lnTo>
                    <a:lnTo>
                      <a:pt x="863" y="2844"/>
                    </a:lnTo>
                    <a:lnTo>
                      <a:pt x="875" y="2836"/>
                    </a:lnTo>
                    <a:lnTo>
                      <a:pt x="886" y="2827"/>
                    </a:lnTo>
                    <a:lnTo>
                      <a:pt x="886" y="2827"/>
                    </a:lnTo>
                    <a:lnTo>
                      <a:pt x="889" y="2827"/>
                    </a:lnTo>
                    <a:lnTo>
                      <a:pt x="891" y="2828"/>
                    </a:lnTo>
                    <a:lnTo>
                      <a:pt x="893" y="2830"/>
                    </a:lnTo>
                    <a:lnTo>
                      <a:pt x="894" y="2832"/>
                    </a:lnTo>
                    <a:lnTo>
                      <a:pt x="896" y="2838"/>
                    </a:lnTo>
                    <a:lnTo>
                      <a:pt x="894" y="2845"/>
                    </a:lnTo>
                    <a:lnTo>
                      <a:pt x="892" y="2863"/>
                    </a:lnTo>
                    <a:lnTo>
                      <a:pt x="886" y="2883"/>
                    </a:lnTo>
                    <a:lnTo>
                      <a:pt x="883" y="2901"/>
                    </a:lnTo>
                    <a:lnTo>
                      <a:pt x="882" y="2908"/>
                    </a:lnTo>
                    <a:lnTo>
                      <a:pt x="883" y="2915"/>
                    </a:lnTo>
                    <a:lnTo>
                      <a:pt x="885" y="2919"/>
                    </a:lnTo>
                    <a:lnTo>
                      <a:pt x="886" y="2921"/>
                    </a:lnTo>
                    <a:lnTo>
                      <a:pt x="889" y="2921"/>
                    </a:lnTo>
                    <a:lnTo>
                      <a:pt x="896" y="2921"/>
                    </a:lnTo>
                    <a:lnTo>
                      <a:pt x="905" y="2917"/>
                    </a:lnTo>
                    <a:lnTo>
                      <a:pt x="905" y="2917"/>
                    </a:lnTo>
                    <a:lnTo>
                      <a:pt x="909" y="2905"/>
                    </a:lnTo>
                    <a:lnTo>
                      <a:pt x="915" y="2893"/>
                    </a:lnTo>
                    <a:lnTo>
                      <a:pt x="922" y="2882"/>
                    </a:lnTo>
                    <a:lnTo>
                      <a:pt x="928" y="2871"/>
                    </a:lnTo>
                    <a:lnTo>
                      <a:pt x="942" y="2853"/>
                    </a:lnTo>
                    <a:lnTo>
                      <a:pt x="954" y="2836"/>
                    </a:lnTo>
                    <a:lnTo>
                      <a:pt x="960" y="2827"/>
                    </a:lnTo>
                    <a:lnTo>
                      <a:pt x="965" y="2817"/>
                    </a:lnTo>
                    <a:lnTo>
                      <a:pt x="968" y="2808"/>
                    </a:lnTo>
                    <a:lnTo>
                      <a:pt x="972" y="2798"/>
                    </a:lnTo>
                    <a:lnTo>
                      <a:pt x="973" y="2786"/>
                    </a:lnTo>
                    <a:lnTo>
                      <a:pt x="974" y="2774"/>
                    </a:lnTo>
                    <a:lnTo>
                      <a:pt x="973" y="2760"/>
                    </a:lnTo>
                    <a:lnTo>
                      <a:pt x="970" y="2745"/>
                    </a:lnTo>
                    <a:lnTo>
                      <a:pt x="970" y="2745"/>
                    </a:lnTo>
                    <a:lnTo>
                      <a:pt x="981" y="2729"/>
                    </a:lnTo>
                    <a:lnTo>
                      <a:pt x="992" y="2715"/>
                    </a:lnTo>
                    <a:lnTo>
                      <a:pt x="1003" y="2702"/>
                    </a:lnTo>
                    <a:lnTo>
                      <a:pt x="1013" y="2688"/>
                    </a:lnTo>
                    <a:lnTo>
                      <a:pt x="1022" y="2675"/>
                    </a:lnTo>
                    <a:lnTo>
                      <a:pt x="1029" y="2660"/>
                    </a:lnTo>
                    <a:lnTo>
                      <a:pt x="1031" y="2652"/>
                    </a:lnTo>
                    <a:lnTo>
                      <a:pt x="1034" y="2644"/>
                    </a:lnTo>
                    <a:lnTo>
                      <a:pt x="1036" y="2633"/>
                    </a:lnTo>
                    <a:lnTo>
                      <a:pt x="1037" y="2624"/>
                    </a:lnTo>
                    <a:lnTo>
                      <a:pt x="1037" y="2624"/>
                    </a:lnTo>
                    <a:lnTo>
                      <a:pt x="1036" y="2618"/>
                    </a:lnTo>
                    <a:lnTo>
                      <a:pt x="1035" y="2617"/>
                    </a:lnTo>
                    <a:lnTo>
                      <a:pt x="1033" y="2617"/>
                    </a:lnTo>
                    <a:lnTo>
                      <a:pt x="1029" y="2617"/>
                    </a:lnTo>
                    <a:lnTo>
                      <a:pt x="1023" y="2621"/>
                    </a:lnTo>
                    <a:lnTo>
                      <a:pt x="1011" y="2633"/>
                    </a:lnTo>
                    <a:lnTo>
                      <a:pt x="993" y="2648"/>
                    </a:lnTo>
                    <a:lnTo>
                      <a:pt x="977" y="2664"/>
                    </a:lnTo>
                    <a:lnTo>
                      <a:pt x="968" y="2672"/>
                    </a:lnTo>
                    <a:lnTo>
                      <a:pt x="961" y="2678"/>
                    </a:lnTo>
                    <a:lnTo>
                      <a:pt x="953" y="2682"/>
                    </a:lnTo>
                    <a:lnTo>
                      <a:pt x="947" y="2684"/>
                    </a:lnTo>
                    <a:lnTo>
                      <a:pt x="944" y="2684"/>
                    </a:lnTo>
                    <a:lnTo>
                      <a:pt x="942" y="2683"/>
                    </a:lnTo>
                    <a:lnTo>
                      <a:pt x="939" y="2682"/>
                    </a:lnTo>
                    <a:lnTo>
                      <a:pt x="937" y="2679"/>
                    </a:lnTo>
                    <a:lnTo>
                      <a:pt x="937" y="2679"/>
                    </a:lnTo>
                    <a:lnTo>
                      <a:pt x="931" y="2667"/>
                    </a:lnTo>
                    <a:lnTo>
                      <a:pt x="926" y="2651"/>
                    </a:lnTo>
                    <a:lnTo>
                      <a:pt x="920" y="2632"/>
                    </a:lnTo>
                    <a:lnTo>
                      <a:pt x="915" y="2611"/>
                    </a:lnTo>
                    <a:lnTo>
                      <a:pt x="906" y="2567"/>
                    </a:lnTo>
                    <a:lnTo>
                      <a:pt x="897" y="2518"/>
                    </a:lnTo>
                    <a:lnTo>
                      <a:pt x="888" y="2471"/>
                    </a:lnTo>
                    <a:lnTo>
                      <a:pt x="878" y="2428"/>
                    </a:lnTo>
                    <a:lnTo>
                      <a:pt x="874" y="2411"/>
                    </a:lnTo>
                    <a:lnTo>
                      <a:pt x="868" y="2395"/>
                    </a:lnTo>
                    <a:lnTo>
                      <a:pt x="862" y="2382"/>
                    </a:lnTo>
                    <a:lnTo>
                      <a:pt x="857" y="2374"/>
                    </a:lnTo>
                    <a:lnTo>
                      <a:pt x="857" y="2374"/>
                    </a:lnTo>
                    <a:lnTo>
                      <a:pt x="847" y="2363"/>
                    </a:lnTo>
                    <a:lnTo>
                      <a:pt x="840" y="2352"/>
                    </a:lnTo>
                    <a:lnTo>
                      <a:pt x="836" y="2341"/>
                    </a:lnTo>
                    <a:lnTo>
                      <a:pt x="832" y="2328"/>
                    </a:lnTo>
                    <a:lnTo>
                      <a:pt x="832" y="2317"/>
                    </a:lnTo>
                    <a:lnTo>
                      <a:pt x="834" y="2304"/>
                    </a:lnTo>
                    <a:lnTo>
                      <a:pt x="836" y="2292"/>
                    </a:lnTo>
                    <a:lnTo>
                      <a:pt x="839" y="2278"/>
                    </a:lnTo>
                    <a:lnTo>
                      <a:pt x="850" y="2251"/>
                    </a:lnTo>
                    <a:lnTo>
                      <a:pt x="861" y="2224"/>
                    </a:lnTo>
                    <a:lnTo>
                      <a:pt x="873" y="2196"/>
                    </a:lnTo>
                    <a:lnTo>
                      <a:pt x="878" y="2182"/>
                    </a:lnTo>
                    <a:lnTo>
                      <a:pt x="883" y="2168"/>
                    </a:lnTo>
                    <a:lnTo>
                      <a:pt x="883" y="2168"/>
                    </a:lnTo>
                    <a:lnTo>
                      <a:pt x="894" y="2171"/>
                    </a:lnTo>
                    <a:lnTo>
                      <a:pt x="905" y="2171"/>
                    </a:lnTo>
                    <a:lnTo>
                      <a:pt x="913" y="2170"/>
                    </a:lnTo>
                    <a:lnTo>
                      <a:pt x="918" y="2165"/>
                    </a:lnTo>
                    <a:lnTo>
                      <a:pt x="922" y="2159"/>
                    </a:lnTo>
                    <a:lnTo>
                      <a:pt x="924" y="2153"/>
                    </a:lnTo>
                    <a:lnTo>
                      <a:pt x="926" y="2145"/>
                    </a:lnTo>
                    <a:lnTo>
                      <a:pt x="926" y="2137"/>
                    </a:lnTo>
                    <a:lnTo>
                      <a:pt x="924" y="2121"/>
                    </a:lnTo>
                    <a:lnTo>
                      <a:pt x="923" y="2107"/>
                    </a:lnTo>
                    <a:lnTo>
                      <a:pt x="923" y="2103"/>
                    </a:lnTo>
                    <a:lnTo>
                      <a:pt x="924" y="2099"/>
                    </a:lnTo>
                    <a:lnTo>
                      <a:pt x="927" y="2097"/>
                    </a:lnTo>
                    <a:lnTo>
                      <a:pt x="930" y="2098"/>
                    </a:lnTo>
                    <a:lnTo>
                      <a:pt x="930" y="2098"/>
                    </a:lnTo>
                    <a:lnTo>
                      <a:pt x="935" y="2103"/>
                    </a:lnTo>
                    <a:lnTo>
                      <a:pt x="941" y="2110"/>
                    </a:lnTo>
                    <a:lnTo>
                      <a:pt x="952" y="2127"/>
                    </a:lnTo>
                    <a:lnTo>
                      <a:pt x="977" y="2171"/>
                    </a:lnTo>
                    <a:lnTo>
                      <a:pt x="989" y="2190"/>
                    </a:lnTo>
                    <a:lnTo>
                      <a:pt x="995" y="2198"/>
                    </a:lnTo>
                    <a:lnTo>
                      <a:pt x="1000" y="2205"/>
                    </a:lnTo>
                    <a:lnTo>
                      <a:pt x="1005" y="2209"/>
                    </a:lnTo>
                    <a:lnTo>
                      <a:pt x="1011" y="2211"/>
                    </a:lnTo>
                    <a:lnTo>
                      <a:pt x="1013" y="2211"/>
                    </a:lnTo>
                    <a:lnTo>
                      <a:pt x="1014" y="2210"/>
                    </a:lnTo>
                    <a:lnTo>
                      <a:pt x="1019" y="2205"/>
                    </a:lnTo>
                    <a:lnTo>
                      <a:pt x="1019" y="2205"/>
                    </a:lnTo>
                    <a:lnTo>
                      <a:pt x="1025" y="2194"/>
                    </a:lnTo>
                    <a:lnTo>
                      <a:pt x="1030" y="2186"/>
                    </a:lnTo>
                    <a:lnTo>
                      <a:pt x="1035" y="2181"/>
                    </a:lnTo>
                    <a:lnTo>
                      <a:pt x="1039" y="2180"/>
                    </a:lnTo>
                    <a:lnTo>
                      <a:pt x="1044" y="2180"/>
                    </a:lnTo>
                    <a:lnTo>
                      <a:pt x="1049" y="2182"/>
                    </a:lnTo>
                    <a:lnTo>
                      <a:pt x="1052" y="2186"/>
                    </a:lnTo>
                    <a:lnTo>
                      <a:pt x="1056" y="2190"/>
                    </a:lnTo>
                    <a:lnTo>
                      <a:pt x="1064" y="2201"/>
                    </a:lnTo>
                    <a:lnTo>
                      <a:pt x="1071" y="2211"/>
                    </a:lnTo>
                    <a:lnTo>
                      <a:pt x="1075" y="2214"/>
                    </a:lnTo>
                    <a:lnTo>
                      <a:pt x="1079" y="2217"/>
                    </a:lnTo>
                    <a:lnTo>
                      <a:pt x="1083" y="2217"/>
                    </a:lnTo>
                    <a:lnTo>
                      <a:pt x="1088" y="2216"/>
                    </a:lnTo>
                    <a:lnTo>
                      <a:pt x="1088" y="2216"/>
                    </a:lnTo>
                    <a:lnTo>
                      <a:pt x="1092" y="2213"/>
                    </a:lnTo>
                    <a:lnTo>
                      <a:pt x="1096" y="2210"/>
                    </a:lnTo>
                    <a:lnTo>
                      <a:pt x="1098" y="2206"/>
                    </a:lnTo>
                    <a:lnTo>
                      <a:pt x="1099" y="2203"/>
                    </a:lnTo>
                    <a:lnTo>
                      <a:pt x="1100" y="2198"/>
                    </a:lnTo>
                    <a:lnTo>
                      <a:pt x="1102" y="2195"/>
                    </a:lnTo>
                    <a:lnTo>
                      <a:pt x="1099" y="2184"/>
                    </a:lnTo>
                    <a:lnTo>
                      <a:pt x="1096" y="2173"/>
                    </a:lnTo>
                    <a:lnTo>
                      <a:pt x="1091" y="2161"/>
                    </a:lnTo>
                    <a:lnTo>
                      <a:pt x="1077" y="2135"/>
                    </a:lnTo>
                    <a:lnTo>
                      <a:pt x="1064" y="2106"/>
                    </a:lnTo>
                    <a:lnTo>
                      <a:pt x="1057" y="2091"/>
                    </a:lnTo>
                    <a:lnTo>
                      <a:pt x="1052" y="2076"/>
                    </a:lnTo>
                    <a:lnTo>
                      <a:pt x="1049" y="2061"/>
                    </a:lnTo>
                    <a:lnTo>
                      <a:pt x="1046" y="2046"/>
                    </a:lnTo>
                    <a:lnTo>
                      <a:pt x="1046" y="2038"/>
                    </a:lnTo>
                    <a:lnTo>
                      <a:pt x="1048" y="2031"/>
                    </a:lnTo>
                    <a:lnTo>
                      <a:pt x="1049" y="2025"/>
                    </a:lnTo>
                    <a:lnTo>
                      <a:pt x="1051" y="2018"/>
                    </a:lnTo>
                    <a:lnTo>
                      <a:pt x="1051" y="2018"/>
                    </a:lnTo>
                    <a:lnTo>
                      <a:pt x="1054" y="2010"/>
                    </a:lnTo>
                    <a:lnTo>
                      <a:pt x="1057" y="2002"/>
                    </a:lnTo>
                    <a:lnTo>
                      <a:pt x="1058" y="1993"/>
                    </a:lnTo>
                    <a:lnTo>
                      <a:pt x="1059" y="1985"/>
                    </a:lnTo>
                    <a:lnTo>
                      <a:pt x="1058" y="1969"/>
                    </a:lnTo>
                    <a:lnTo>
                      <a:pt x="1054" y="1955"/>
                    </a:lnTo>
                    <a:lnTo>
                      <a:pt x="1054" y="1955"/>
                    </a:lnTo>
                    <a:lnTo>
                      <a:pt x="1049" y="1961"/>
                    </a:lnTo>
                    <a:lnTo>
                      <a:pt x="1042" y="1969"/>
                    </a:lnTo>
                    <a:lnTo>
                      <a:pt x="1037" y="1972"/>
                    </a:lnTo>
                    <a:lnTo>
                      <a:pt x="1033" y="1975"/>
                    </a:lnTo>
                    <a:lnTo>
                      <a:pt x="1027" y="1976"/>
                    </a:lnTo>
                    <a:lnTo>
                      <a:pt x="1022" y="1977"/>
                    </a:lnTo>
                    <a:lnTo>
                      <a:pt x="1022" y="1977"/>
                    </a:lnTo>
                    <a:lnTo>
                      <a:pt x="1018" y="1976"/>
                    </a:lnTo>
                    <a:lnTo>
                      <a:pt x="1013" y="1975"/>
                    </a:lnTo>
                    <a:lnTo>
                      <a:pt x="1008" y="1973"/>
                    </a:lnTo>
                    <a:lnTo>
                      <a:pt x="1005" y="1970"/>
                    </a:lnTo>
                    <a:lnTo>
                      <a:pt x="1002" y="1967"/>
                    </a:lnTo>
                    <a:lnTo>
                      <a:pt x="998" y="1964"/>
                    </a:lnTo>
                    <a:lnTo>
                      <a:pt x="997" y="1959"/>
                    </a:lnTo>
                    <a:lnTo>
                      <a:pt x="996" y="1955"/>
                    </a:lnTo>
                    <a:lnTo>
                      <a:pt x="996" y="1955"/>
                    </a:lnTo>
                    <a:lnTo>
                      <a:pt x="992" y="1955"/>
                    </a:lnTo>
                    <a:lnTo>
                      <a:pt x="989" y="1957"/>
                    </a:lnTo>
                    <a:lnTo>
                      <a:pt x="984" y="1961"/>
                    </a:lnTo>
                    <a:lnTo>
                      <a:pt x="978" y="1965"/>
                    </a:lnTo>
                    <a:lnTo>
                      <a:pt x="975" y="1966"/>
                    </a:lnTo>
                    <a:lnTo>
                      <a:pt x="970" y="1967"/>
                    </a:lnTo>
                    <a:lnTo>
                      <a:pt x="970" y="1967"/>
                    </a:lnTo>
                    <a:lnTo>
                      <a:pt x="967" y="1966"/>
                    </a:lnTo>
                    <a:lnTo>
                      <a:pt x="965" y="1964"/>
                    </a:lnTo>
                    <a:lnTo>
                      <a:pt x="962" y="1960"/>
                    </a:lnTo>
                    <a:lnTo>
                      <a:pt x="960" y="1955"/>
                    </a:lnTo>
                    <a:lnTo>
                      <a:pt x="957" y="1944"/>
                    </a:lnTo>
                    <a:lnTo>
                      <a:pt x="953" y="1931"/>
                    </a:lnTo>
                    <a:lnTo>
                      <a:pt x="949" y="1918"/>
                    </a:lnTo>
                    <a:lnTo>
                      <a:pt x="946" y="1912"/>
                    </a:lnTo>
                    <a:lnTo>
                      <a:pt x="943" y="1906"/>
                    </a:lnTo>
                    <a:lnTo>
                      <a:pt x="939" y="1901"/>
                    </a:lnTo>
                    <a:lnTo>
                      <a:pt x="935" y="1897"/>
                    </a:lnTo>
                    <a:lnTo>
                      <a:pt x="929" y="1895"/>
                    </a:lnTo>
                    <a:lnTo>
                      <a:pt x="922" y="1893"/>
                    </a:lnTo>
                    <a:lnTo>
                      <a:pt x="922" y="1893"/>
                    </a:lnTo>
                    <a:lnTo>
                      <a:pt x="906" y="1891"/>
                    </a:lnTo>
                    <a:lnTo>
                      <a:pt x="892" y="1890"/>
                    </a:lnTo>
                    <a:lnTo>
                      <a:pt x="878" y="1889"/>
                    </a:lnTo>
                    <a:lnTo>
                      <a:pt x="868" y="1886"/>
                    </a:lnTo>
                    <a:lnTo>
                      <a:pt x="862" y="1884"/>
                    </a:lnTo>
                    <a:lnTo>
                      <a:pt x="858" y="1882"/>
                    </a:lnTo>
                    <a:lnTo>
                      <a:pt x="854" y="1877"/>
                    </a:lnTo>
                    <a:lnTo>
                      <a:pt x="851" y="1873"/>
                    </a:lnTo>
                    <a:lnTo>
                      <a:pt x="848" y="1867"/>
                    </a:lnTo>
                    <a:lnTo>
                      <a:pt x="847" y="1860"/>
                    </a:lnTo>
                    <a:lnTo>
                      <a:pt x="846" y="1852"/>
                    </a:lnTo>
                    <a:lnTo>
                      <a:pt x="845" y="1842"/>
                    </a:lnTo>
                    <a:lnTo>
                      <a:pt x="845" y="1842"/>
                    </a:lnTo>
                    <a:lnTo>
                      <a:pt x="779" y="1786"/>
                    </a:lnTo>
                    <a:lnTo>
                      <a:pt x="779" y="1786"/>
                    </a:lnTo>
                    <a:lnTo>
                      <a:pt x="779" y="1786"/>
                    </a:lnTo>
                    <a:lnTo>
                      <a:pt x="762" y="1785"/>
                    </a:lnTo>
                    <a:lnTo>
                      <a:pt x="753" y="1785"/>
                    </a:lnTo>
                    <a:lnTo>
                      <a:pt x="745" y="1783"/>
                    </a:lnTo>
                    <a:lnTo>
                      <a:pt x="738" y="1781"/>
                    </a:lnTo>
                    <a:lnTo>
                      <a:pt x="731" y="1777"/>
                    </a:lnTo>
                    <a:lnTo>
                      <a:pt x="726" y="1771"/>
                    </a:lnTo>
                    <a:lnTo>
                      <a:pt x="725" y="1768"/>
                    </a:lnTo>
                    <a:lnTo>
                      <a:pt x="724" y="1764"/>
                    </a:lnTo>
                    <a:lnTo>
                      <a:pt x="724" y="1764"/>
                    </a:lnTo>
                    <a:lnTo>
                      <a:pt x="725" y="1750"/>
                    </a:lnTo>
                    <a:lnTo>
                      <a:pt x="728" y="1735"/>
                    </a:lnTo>
                    <a:lnTo>
                      <a:pt x="728" y="1728"/>
                    </a:lnTo>
                    <a:lnTo>
                      <a:pt x="725" y="1721"/>
                    </a:lnTo>
                    <a:lnTo>
                      <a:pt x="722" y="1716"/>
                    </a:lnTo>
                    <a:lnTo>
                      <a:pt x="720" y="1714"/>
                    </a:lnTo>
                    <a:lnTo>
                      <a:pt x="716" y="1713"/>
                    </a:lnTo>
                    <a:lnTo>
                      <a:pt x="716" y="1713"/>
                    </a:lnTo>
                    <a:lnTo>
                      <a:pt x="703" y="1710"/>
                    </a:lnTo>
                    <a:lnTo>
                      <a:pt x="687" y="1710"/>
                    </a:lnTo>
                    <a:lnTo>
                      <a:pt x="674" y="1710"/>
                    </a:lnTo>
                    <a:lnTo>
                      <a:pt x="667" y="1710"/>
                    </a:lnTo>
                    <a:lnTo>
                      <a:pt x="662" y="1709"/>
                    </a:lnTo>
                    <a:lnTo>
                      <a:pt x="662" y="1709"/>
                    </a:lnTo>
                    <a:lnTo>
                      <a:pt x="666" y="1709"/>
                    </a:lnTo>
                    <a:lnTo>
                      <a:pt x="662" y="1709"/>
                    </a:lnTo>
                    <a:lnTo>
                      <a:pt x="662" y="1709"/>
                    </a:lnTo>
                    <a:lnTo>
                      <a:pt x="662" y="1709"/>
                    </a:lnTo>
                    <a:lnTo>
                      <a:pt x="661" y="1706"/>
                    </a:lnTo>
                    <a:lnTo>
                      <a:pt x="661" y="1702"/>
                    </a:lnTo>
                    <a:lnTo>
                      <a:pt x="661" y="1694"/>
                    </a:lnTo>
                    <a:lnTo>
                      <a:pt x="662" y="1685"/>
                    </a:lnTo>
                    <a:lnTo>
                      <a:pt x="662" y="1676"/>
                    </a:lnTo>
                    <a:lnTo>
                      <a:pt x="662" y="1676"/>
                    </a:lnTo>
                    <a:lnTo>
                      <a:pt x="663" y="1659"/>
                    </a:lnTo>
                    <a:lnTo>
                      <a:pt x="666" y="1646"/>
                    </a:lnTo>
                    <a:lnTo>
                      <a:pt x="667" y="1643"/>
                    </a:lnTo>
                    <a:lnTo>
                      <a:pt x="669" y="1639"/>
                    </a:lnTo>
                    <a:lnTo>
                      <a:pt x="672" y="1636"/>
                    </a:lnTo>
                    <a:lnTo>
                      <a:pt x="675" y="1634"/>
                    </a:lnTo>
                    <a:lnTo>
                      <a:pt x="682" y="1631"/>
                    </a:lnTo>
                    <a:lnTo>
                      <a:pt x="690" y="1628"/>
                    </a:lnTo>
                    <a:lnTo>
                      <a:pt x="699" y="1624"/>
                    </a:lnTo>
                    <a:lnTo>
                      <a:pt x="709" y="1617"/>
                    </a:lnTo>
                    <a:lnTo>
                      <a:pt x="709" y="1617"/>
                    </a:lnTo>
                    <a:lnTo>
                      <a:pt x="713" y="1614"/>
                    </a:lnTo>
                    <a:lnTo>
                      <a:pt x="715" y="1610"/>
                    </a:lnTo>
                    <a:lnTo>
                      <a:pt x="715" y="1605"/>
                    </a:lnTo>
                    <a:lnTo>
                      <a:pt x="715" y="1600"/>
                    </a:lnTo>
                    <a:lnTo>
                      <a:pt x="714" y="1590"/>
                    </a:lnTo>
                    <a:lnTo>
                      <a:pt x="715" y="1585"/>
                    </a:lnTo>
                    <a:lnTo>
                      <a:pt x="716" y="1580"/>
                    </a:lnTo>
                    <a:lnTo>
                      <a:pt x="716" y="1580"/>
                    </a:lnTo>
                    <a:lnTo>
                      <a:pt x="738" y="1563"/>
                    </a:lnTo>
                    <a:lnTo>
                      <a:pt x="758" y="1549"/>
                    </a:lnTo>
                    <a:lnTo>
                      <a:pt x="767" y="1541"/>
                    </a:lnTo>
                    <a:lnTo>
                      <a:pt x="775" y="1533"/>
                    </a:lnTo>
                    <a:lnTo>
                      <a:pt x="783" y="1524"/>
                    </a:lnTo>
                    <a:lnTo>
                      <a:pt x="790" y="1515"/>
                    </a:lnTo>
                    <a:lnTo>
                      <a:pt x="790" y="1515"/>
                    </a:lnTo>
                    <a:lnTo>
                      <a:pt x="805" y="1495"/>
                    </a:lnTo>
                    <a:lnTo>
                      <a:pt x="820" y="1479"/>
                    </a:lnTo>
                    <a:lnTo>
                      <a:pt x="836" y="1464"/>
                    </a:lnTo>
                    <a:lnTo>
                      <a:pt x="853" y="1453"/>
                    </a:lnTo>
                    <a:lnTo>
                      <a:pt x="871" y="1442"/>
                    </a:lnTo>
                    <a:lnTo>
                      <a:pt x="892" y="1434"/>
                    </a:lnTo>
                    <a:lnTo>
                      <a:pt x="914" y="1426"/>
                    </a:lnTo>
                    <a:lnTo>
                      <a:pt x="937" y="1419"/>
                    </a:lnTo>
                    <a:lnTo>
                      <a:pt x="937" y="1419"/>
                    </a:lnTo>
                    <a:lnTo>
                      <a:pt x="944" y="1416"/>
                    </a:lnTo>
                    <a:lnTo>
                      <a:pt x="949" y="1410"/>
                    </a:lnTo>
                    <a:lnTo>
                      <a:pt x="959" y="1400"/>
                    </a:lnTo>
                    <a:lnTo>
                      <a:pt x="964" y="1394"/>
                    </a:lnTo>
                    <a:lnTo>
                      <a:pt x="969" y="1389"/>
                    </a:lnTo>
                    <a:lnTo>
                      <a:pt x="976" y="1387"/>
                    </a:lnTo>
                    <a:lnTo>
                      <a:pt x="984" y="1386"/>
                    </a:lnTo>
                    <a:lnTo>
                      <a:pt x="984" y="1386"/>
                    </a:lnTo>
                    <a:lnTo>
                      <a:pt x="991" y="1387"/>
                    </a:lnTo>
                    <a:lnTo>
                      <a:pt x="996" y="1391"/>
                    </a:lnTo>
                    <a:lnTo>
                      <a:pt x="1000" y="1395"/>
                    </a:lnTo>
                    <a:lnTo>
                      <a:pt x="1004" y="1402"/>
                    </a:lnTo>
                    <a:lnTo>
                      <a:pt x="1006" y="1410"/>
                    </a:lnTo>
                    <a:lnTo>
                      <a:pt x="1008" y="1419"/>
                    </a:lnTo>
                    <a:lnTo>
                      <a:pt x="1013" y="1439"/>
                    </a:lnTo>
                    <a:lnTo>
                      <a:pt x="1018" y="1458"/>
                    </a:lnTo>
                    <a:lnTo>
                      <a:pt x="1020" y="1468"/>
                    </a:lnTo>
                    <a:lnTo>
                      <a:pt x="1025" y="1476"/>
                    </a:lnTo>
                    <a:lnTo>
                      <a:pt x="1029" y="1483"/>
                    </a:lnTo>
                    <a:lnTo>
                      <a:pt x="1035" y="1488"/>
                    </a:lnTo>
                    <a:lnTo>
                      <a:pt x="1043" y="1492"/>
                    </a:lnTo>
                    <a:lnTo>
                      <a:pt x="1051" y="1493"/>
                    </a:lnTo>
                    <a:lnTo>
                      <a:pt x="1051" y="1493"/>
                    </a:lnTo>
                    <a:lnTo>
                      <a:pt x="1058" y="1492"/>
                    </a:lnTo>
                    <a:lnTo>
                      <a:pt x="1066" y="1488"/>
                    </a:lnTo>
                    <a:lnTo>
                      <a:pt x="1074" y="1484"/>
                    </a:lnTo>
                    <a:lnTo>
                      <a:pt x="1082" y="1479"/>
                    </a:lnTo>
                    <a:lnTo>
                      <a:pt x="1106" y="1460"/>
                    </a:lnTo>
                    <a:lnTo>
                      <a:pt x="1106" y="1460"/>
                    </a:lnTo>
                    <a:lnTo>
                      <a:pt x="1114" y="1455"/>
                    </a:lnTo>
                    <a:lnTo>
                      <a:pt x="1123" y="1453"/>
                    </a:lnTo>
                    <a:lnTo>
                      <a:pt x="1143" y="1449"/>
                    </a:lnTo>
                    <a:lnTo>
                      <a:pt x="1165" y="1447"/>
                    </a:lnTo>
                    <a:lnTo>
                      <a:pt x="1186" y="1445"/>
                    </a:lnTo>
                    <a:lnTo>
                      <a:pt x="1196" y="1442"/>
                    </a:lnTo>
                    <a:lnTo>
                      <a:pt x="1205" y="1440"/>
                    </a:lnTo>
                    <a:lnTo>
                      <a:pt x="1213" y="1437"/>
                    </a:lnTo>
                    <a:lnTo>
                      <a:pt x="1220" y="1432"/>
                    </a:lnTo>
                    <a:lnTo>
                      <a:pt x="1226" y="1425"/>
                    </a:lnTo>
                    <a:lnTo>
                      <a:pt x="1230" y="1418"/>
                    </a:lnTo>
                    <a:lnTo>
                      <a:pt x="1234" y="1408"/>
                    </a:lnTo>
                    <a:lnTo>
                      <a:pt x="1235" y="1396"/>
                    </a:lnTo>
                    <a:lnTo>
                      <a:pt x="1235" y="1396"/>
                    </a:lnTo>
                    <a:lnTo>
                      <a:pt x="1235" y="1361"/>
                    </a:lnTo>
                    <a:lnTo>
                      <a:pt x="1235" y="1361"/>
                    </a:lnTo>
                    <a:lnTo>
                      <a:pt x="1235" y="1346"/>
                    </a:lnTo>
                    <a:lnTo>
                      <a:pt x="1237" y="1332"/>
                    </a:lnTo>
                    <a:lnTo>
                      <a:pt x="1241" y="1319"/>
                    </a:lnTo>
                    <a:lnTo>
                      <a:pt x="1245" y="1308"/>
                    </a:lnTo>
                    <a:lnTo>
                      <a:pt x="1255" y="1285"/>
                    </a:lnTo>
                    <a:lnTo>
                      <a:pt x="1259" y="1273"/>
                    </a:lnTo>
                    <a:lnTo>
                      <a:pt x="1264" y="1260"/>
                    </a:lnTo>
                    <a:lnTo>
                      <a:pt x="1264" y="1260"/>
                    </a:lnTo>
                    <a:lnTo>
                      <a:pt x="1266" y="1250"/>
                    </a:lnTo>
                    <a:lnTo>
                      <a:pt x="1267" y="1240"/>
                    </a:lnTo>
                    <a:lnTo>
                      <a:pt x="1270" y="1219"/>
                    </a:lnTo>
                    <a:lnTo>
                      <a:pt x="1271" y="1210"/>
                    </a:lnTo>
                    <a:lnTo>
                      <a:pt x="1273" y="1201"/>
                    </a:lnTo>
                    <a:lnTo>
                      <a:pt x="1277" y="1193"/>
                    </a:lnTo>
                    <a:lnTo>
                      <a:pt x="1283" y="1183"/>
                    </a:lnTo>
                    <a:lnTo>
                      <a:pt x="1283" y="1183"/>
                    </a:lnTo>
                    <a:lnTo>
                      <a:pt x="1296" y="1194"/>
                    </a:lnTo>
                    <a:lnTo>
                      <a:pt x="1303" y="1197"/>
                    </a:lnTo>
                    <a:lnTo>
                      <a:pt x="1308" y="1198"/>
                    </a:lnTo>
                    <a:lnTo>
                      <a:pt x="1312" y="1198"/>
                    </a:lnTo>
                    <a:lnTo>
                      <a:pt x="1312" y="1198"/>
                    </a:lnTo>
                    <a:lnTo>
                      <a:pt x="1320" y="1198"/>
                    </a:lnTo>
                    <a:lnTo>
                      <a:pt x="1326" y="1196"/>
                    </a:lnTo>
                    <a:lnTo>
                      <a:pt x="1339" y="1189"/>
                    </a:lnTo>
                    <a:lnTo>
                      <a:pt x="1344" y="1186"/>
                    </a:lnTo>
                    <a:lnTo>
                      <a:pt x="1351" y="1182"/>
                    </a:lnTo>
                    <a:lnTo>
                      <a:pt x="1358" y="1180"/>
                    </a:lnTo>
                    <a:lnTo>
                      <a:pt x="1367" y="1180"/>
                    </a:lnTo>
                    <a:lnTo>
                      <a:pt x="1367" y="1180"/>
                    </a:lnTo>
                    <a:lnTo>
                      <a:pt x="1357" y="1134"/>
                    </a:lnTo>
                    <a:lnTo>
                      <a:pt x="1347" y="1086"/>
                    </a:lnTo>
                    <a:lnTo>
                      <a:pt x="1338" y="1034"/>
                    </a:lnTo>
                    <a:lnTo>
                      <a:pt x="1327" y="982"/>
                    </a:lnTo>
                    <a:lnTo>
                      <a:pt x="1327" y="982"/>
                    </a:lnTo>
                    <a:lnTo>
                      <a:pt x="1326" y="975"/>
                    </a:lnTo>
                    <a:lnTo>
                      <a:pt x="1327" y="969"/>
                    </a:lnTo>
                    <a:lnTo>
                      <a:pt x="1331" y="962"/>
                    </a:lnTo>
                    <a:lnTo>
                      <a:pt x="1335" y="956"/>
                    </a:lnTo>
                    <a:lnTo>
                      <a:pt x="1349" y="942"/>
                    </a:lnTo>
                    <a:lnTo>
                      <a:pt x="1365" y="928"/>
                    </a:lnTo>
                    <a:lnTo>
                      <a:pt x="1381" y="912"/>
                    </a:lnTo>
                    <a:lnTo>
                      <a:pt x="1389" y="904"/>
                    </a:lnTo>
                    <a:lnTo>
                      <a:pt x="1396" y="895"/>
                    </a:lnTo>
                    <a:lnTo>
                      <a:pt x="1402" y="886"/>
                    </a:lnTo>
                    <a:lnTo>
                      <a:pt x="1407" y="876"/>
                    </a:lnTo>
                    <a:lnTo>
                      <a:pt x="1410" y="867"/>
                    </a:lnTo>
                    <a:lnTo>
                      <a:pt x="1411" y="857"/>
                    </a:lnTo>
                    <a:lnTo>
                      <a:pt x="1411" y="857"/>
                    </a:lnTo>
                    <a:lnTo>
                      <a:pt x="1411" y="851"/>
                    </a:lnTo>
                    <a:lnTo>
                      <a:pt x="1410" y="844"/>
                    </a:lnTo>
                    <a:lnTo>
                      <a:pt x="1408" y="837"/>
                    </a:lnTo>
                    <a:lnTo>
                      <a:pt x="1405" y="831"/>
                    </a:lnTo>
                    <a:lnTo>
                      <a:pt x="1402" y="824"/>
                    </a:lnTo>
                    <a:lnTo>
                      <a:pt x="1398" y="819"/>
                    </a:lnTo>
                    <a:lnTo>
                      <a:pt x="1393" y="813"/>
                    </a:lnTo>
                    <a:lnTo>
                      <a:pt x="1387" y="807"/>
                    </a:lnTo>
                    <a:lnTo>
                      <a:pt x="1380" y="802"/>
                    </a:lnTo>
                    <a:lnTo>
                      <a:pt x="1373" y="798"/>
                    </a:lnTo>
                    <a:lnTo>
                      <a:pt x="1365" y="794"/>
                    </a:lnTo>
                    <a:lnTo>
                      <a:pt x="1355" y="791"/>
                    </a:lnTo>
                    <a:lnTo>
                      <a:pt x="1346" y="790"/>
                    </a:lnTo>
                    <a:lnTo>
                      <a:pt x="1334" y="789"/>
                    </a:lnTo>
                    <a:lnTo>
                      <a:pt x="1321" y="789"/>
                    </a:lnTo>
                    <a:lnTo>
                      <a:pt x="1309" y="791"/>
                    </a:lnTo>
                    <a:lnTo>
                      <a:pt x="1309" y="791"/>
                    </a:lnTo>
                    <a:lnTo>
                      <a:pt x="1287" y="793"/>
                    </a:lnTo>
                    <a:lnTo>
                      <a:pt x="1266" y="796"/>
                    </a:lnTo>
                    <a:lnTo>
                      <a:pt x="1245" y="797"/>
                    </a:lnTo>
                    <a:lnTo>
                      <a:pt x="1227" y="797"/>
                    </a:lnTo>
                    <a:lnTo>
                      <a:pt x="1191" y="796"/>
                    </a:lnTo>
                    <a:lnTo>
                      <a:pt x="1174" y="796"/>
                    </a:lnTo>
                    <a:lnTo>
                      <a:pt x="1158" y="797"/>
                    </a:lnTo>
                    <a:lnTo>
                      <a:pt x="1143" y="800"/>
                    </a:lnTo>
                    <a:lnTo>
                      <a:pt x="1128" y="804"/>
                    </a:lnTo>
                    <a:lnTo>
                      <a:pt x="1114" y="811"/>
                    </a:lnTo>
                    <a:lnTo>
                      <a:pt x="1102" y="819"/>
                    </a:lnTo>
                    <a:lnTo>
                      <a:pt x="1089" y="830"/>
                    </a:lnTo>
                    <a:lnTo>
                      <a:pt x="1076" y="845"/>
                    </a:lnTo>
                    <a:lnTo>
                      <a:pt x="1066" y="863"/>
                    </a:lnTo>
                    <a:lnTo>
                      <a:pt x="1054" y="886"/>
                    </a:lnTo>
                    <a:lnTo>
                      <a:pt x="1054" y="886"/>
                    </a:lnTo>
                    <a:lnTo>
                      <a:pt x="1046" y="895"/>
                    </a:lnTo>
                    <a:lnTo>
                      <a:pt x="1037" y="901"/>
                    </a:lnTo>
                    <a:lnTo>
                      <a:pt x="1029" y="905"/>
                    </a:lnTo>
                    <a:lnTo>
                      <a:pt x="1020" y="907"/>
                    </a:lnTo>
                    <a:lnTo>
                      <a:pt x="1012" y="908"/>
                    </a:lnTo>
                    <a:lnTo>
                      <a:pt x="1004" y="907"/>
                    </a:lnTo>
                    <a:lnTo>
                      <a:pt x="997" y="905"/>
                    </a:lnTo>
                    <a:lnTo>
                      <a:pt x="990" y="901"/>
                    </a:lnTo>
                    <a:lnTo>
                      <a:pt x="984" y="898"/>
                    </a:lnTo>
                    <a:lnTo>
                      <a:pt x="981" y="892"/>
                    </a:lnTo>
                    <a:lnTo>
                      <a:pt x="977" y="888"/>
                    </a:lnTo>
                    <a:lnTo>
                      <a:pt x="976" y="881"/>
                    </a:lnTo>
                    <a:lnTo>
                      <a:pt x="976" y="875"/>
                    </a:lnTo>
                    <a:lnTo>
                      <a:pt x="978" y="869"/>
                    </a:lnTo>
                    <a:lnTo>
                      <a:pt x="983" y="862"/>
                    </a:lnTo>
                    <a:lnTo>
                      <a:pt x="989" y="857"/>
                    </a:lnTo>
                    <a:lnTo>
                      <a:pt x="989" y="857"/>
                    </a:lnTo>
                    <a:lnTo>
                      <a:pt x="997" y="851"/>
                    </a:lnTo>
                    <a:lnTo>
                      <a:pt x="1005" y="844"/>
                    </a:lnTo>
                    <a:lnTo>
                      <a:pt x="1021" y="834"/>
                    </a:lnTo>
                    <a:lnTo>
                      <a:pt x="1036" y="823"/>
                    </a:lnTo>
                    <a:lnTo>
                      <a:pt x="1050" y="813"/>
                    </a:lnTo>
                    <a:lnTo>
                      <a:pt x="1057" y="807"/>
                    </a:lnTo>
                    <a:lnTo>
                      <a:pt x="1061" y="800"/>
                    </a:lnTo>
                    <a:lnTo>
                      <a:pt x="1067" y="793"/>
                    </a:lnTo>
                    <a:lnTo>
                      <a:pt x="1071" y="785"/>
                    </a:lnTo>
                    <a:lnTo>
                      <a:pt x="1073" y="776"/>
                    </a:lnTo>
                    <a:lnTo>
                      <a:pt x="1074" y="765"/>
                    </a:lnTo>
                    <a:lnTo>
                      <a:pt x="1074" y="753"/>
                    </a:lnTo>
                    <a:lnTo>
                      <a:pt x="1073" y="739"/>
                    </a:lnTo>
                    <a:lnTo>
                      <a:pt x="1073" y="739"/>
                    </a:lnTo>
                    <a:lnTo>
                      <a:pt x="1071" y="722"/>
                    </a:lnTo>
                    <a:lnTo>
                      <a:pt x="1067" y="707"/>
                    </a:lnTo>
                    <a:lnTo>
                      <a:pt x="1064" y="693"/>
                    </a:lnTo>
                    <a:lnTo>
                      <a:pt x="1060" y="681"/>
                    </a:lnTo>
                    <a:lnTo>
                      <a:pt x="1056" y="669"/>
                    </a:lnTo>
                    <a:lnTo>
                      <a:pt x="1050" y="660"/>
                    </a:lnTo>
                    <a:lnTo>
                      <a:pt x="1044" y="651"/>
                    </a:lnTo>
                    <a:lnTo>
                      <a:pt x="1038" y="644"/>
                    </a:lnTo>
                    <a:lnTo>
                      <a:pt x="1033" y="637"/>
                    </a:lnTo>
                    <a:lnTo>
                      <a:pt x="1026" y="631"/>
                    </a:lnTo>
                    <a:lnTo>
                      <a:pt x="1019" y="626"/>
                    </a:lnTo>
                    <a:lnTo>
                      <a:pt x="1012" y="623"/>
                    </a:lnTo>
                    <a:lnTo>
                      <a:pt x="997" y="616"/>
                    </a:lnTo>
                    <a:lnTo>
                      <a:pt x="982" y="613"/>
                    </a:lnTo>
                    <a:lnTo>
                      <a:pt x="966" y="610"/>
                    </a:lnTo>
                    <a:lnTo>
                      <a:pt x="951" y="608"/>
                    </a:lnTo>
                    <a:lnTo>
                      <a:pt x="936" y="607"/>
                    </a:lnTo>
                    <a:lnTo>
                      <a:pt x="921" y="605"/>
                    </a:lnTo>
                    <a:lnTo>
                      <a:pt x="908" y="600"/>
                    </a:lnTo>
                    <a:lnTo>
                      <a:pt x="903" y="598"/>
                    </a:lnTo>
                    <a:lnTo>
                      <a:pt x="897" y="594"/>
                    </a:lnTo>
                    <a:lnTo>
                      <a:pt x="891" y="591"/>
                    </a:lnTo>
                    <a:lnTo>
                      <a:pt x="886" y="586"/>
                    </a:lnTo>
                    <a:lnTo>
                      <a:pt x="882" y="580"/>
                    </a:lnTo>
                    <a:lnTo>
                      <a:pt x="878" y="575"/>
                    </a:lnTo>
                    <a:lnTo>
                      <a:pt x="878" y="575"/>
                    </a:lnTo>
                    <a:lnTo>
                      <a:pt x="878" y="567"/>
                    </a:lnTo>
                    <a:lnTo>
                      <a:pt x="880" y="560"/>
                    </a:lnTo>
                    <a:lnTo>
                      <a:pt x="881" y="554"/>
                    </a:lnTo>
                    <a:lnTo>
                      <a:pt x="884" y="549"/>
                    </a:lnTo>
                    <a:lnTo>
                      <a:pt x="888" y="546"/>
                    </a:lnTo>
                    <a:lnTo>
                      <a:pt x="891" y="542"/>
                    </a:lnTo>
                    <a:lnTo>
                      <a:pt x="897" y="540"/>
                    </a:lnTo>
                    <a:lnTo>
                      <a:pt x="901" y="539"/>
                    </a:lnTo>
                    <a:lnTo>
                      <a:pt x="914" y="537"/>
                    </a:lnTo>
                    <a:lnTo>
                      <a:pt x="928" y="537"/>
                    </a:lnTo>
                    <a:lnTo>
                      <a:pt x="958" y="537"/>
                    </a:lnTo>
                    <a:lnTo>
                      <a:pt x="972" y="537"/>
                    </a:lnTo>
                    <a:lnTo>
                      <a:pt x="985" y="536"/>
                    </a:lnTo>
                    <a:lnTo>
                      <a:pt x="998" y="532"/>
                    </a:lnTo>
                    <a:lnTo>
                      <a:pt x="1003" y="529"/>
                    </a:lnTo>
                    <a:lnTo>
                      <a:pt x="1007" y="525"/>
                    </a:lnTo>
                    <a:lnTo>
                      <a:pt x="1012" y="522"/>
                    </a:lnTo>
                    <a:lnTo>
                      <a:pt x="1015" y="517"/>
                    </a:lnTo>
                    <a:lnTo>
                      <a:pt x="1018" y="510"/>
                    </a:lnTo>
                    <a:lnTo>
                      <a:pt x="1019" y="503"/>
                    </a:lnTo>
                    <a:lnTo>
                      <a:pt x="1019" y="495"/>
                    </a:lnTo>
                    <a:lnTo>
                      <a:pt x="1019" y="486"/>
                    </a:lnTo>
                    <a:lnTo>
                      <a:pt x="1018" y="476"/>
                    </a:lnTo>
                    <a:lnTo>
                      <a:pt x="1014" y="463"/>
                    </a:lnTo>
                    <a:lnTo>
                      <a:pt x="1014" y="463"/>
                    </a:lnTo>
                    <a:lnTo>
                      <a:pt x="1013" y="449"/>
                    </a:lnTo>
                    <a:lnTo>
                      <a:pt x="1013" y="438"/>
                    </a:lnTo>
                    <a:lnTo>
                      <a:pt x="1013" y="427"/>
                    </a:lnTo>
                    <a:lnTo>
                      <a:pt x="1015" y="419"/>
                    </a:lnTo>
                    <a:lnTo>
                      <a:pt x="1018" y="412"/>
                    </a:lnTo>
                    <a:lnTo>
                      <a:pt x="1020" y="408"/>
                    </a:lnTo>
                    <a:lnTo>
                      <a:pt x="1025" y="403"/>
                    </a:lnTo>
                    <a:lnTo>
                      <a:pt x="1028" y="401"/>
                    </a:lnTo>
                    <a:lnTo>
                      <a:pt x="1033" y="399"/>
                    </a:lnTo>
                    <a:lnTo>
                      <a:pt x="1038" y="399"/>
                    </a:lnTo>
                    <a:lnTo>
                      <a:pt x="1049" y="399"/>
                    </a:lnTo>
                    <a:lnTo>
                      <a:pt x="1069" y="401"/>
                    </a:lnTo>
                    <a:lnTo>
                      <a:pt x="1069" y="401"/>
                    </a:lnTo>
                    <a:lnTo>
                      <a:pt x="1090" y="403"/>
                    </a:lnTo>
                    <a:lnTo>
                      <a:pt x="1106" y="403"/>
                    </a:lnTo>
                    <a:lnTo>
                      <a:pt x="1120" y="402"/>
                    </a:lnTo>
                    <a:lnTo>
                      <a:pt x="1130" y="397"/>
                    </a:lnTo>
                    <a:lnTo>
                      <a:pt x="1138" y="393"/>
                    </a:lnTo>
                    <a:lnTo>
                      <a:pt x="1144" y="387"/>
                    </a:lnTo>
                    <a:lnTo>
                      <a:pt x="1150" y="380"/>
                    </a:lnTo>
                    <a:lnTo>
                      <a:pt x="1152" y="372"/>
                    </a:lnTo>
                    <a:lnTo>
                      <a:pt x="1158" y="356"/>
                    </a:lnTo>
                    <a:lnTo>
                      <a:pt x="1163" y="342"/>
                    </a:lnTo>
                    <a:lnTo>
                      <a:pt x="1166" y="335"/>
                    </a:lnTo>
                    <a:lnTo>
                      <a:pt x="1170" y="331"/>
                    </a:lnTo>
                    <a:lnTo>
                      <a:pt x="1175" y="326"/>
                    </a:lnTo>
                    <a:lnTo>
                      <a:pt x="1183" y="324"/>
                    </a:lnTo>
                    <a:lnTo>
                      <a:pt x="1183" y="324"/>
                    </a:lnTo>
                    <a:lnTo>
                      <a:pt x="1197" y="321"/>
                    </a:lnTo>
                    <a:lnTo>
                      <a:pt x="1209" y="317"/>
                    </a:lnTo>
                    <a:lnTo>
                      <a:pt x="1220" y="310"/>
                    </a:lnTo>
                    <a:lnTo>
                      <a:pt x="1229" y="303"/>
                    </a:lnTo>
                    <a:lnTo>
                      <a:pt x="1239" y="294"/>
                    </a:lnTo>
                    <a:lnTo>
                      <a:pt x="1245" y="285"/>
                    </a:lnTo>
                    <a:lnTo>
                      <a:pt x="1252" y="274"/>
                    </a:lnTo>
                    <a:lnTo>
                      <a:pt x="1258" y="264"/>
                    </a:lnTo>
                    <a:lnTo>
                      <a:pt x="1262" y="254"/>
                    </a:lnTo>
                    <a:lnTo>
                      <a:pt x="1265" y="244"/>
                    </a:lnTo>
                    <a:lnTo>
                      <a:pt x="1266" y="234"/>
                    </a:lnTo>
                    <a:lnTo>
                      <a:pt x="1267" y="225"/>
                    </a:lnTo>
                    <a:lnTo>
                      <a:pt x="1266" y="217"/>
                    </a:lnTo>
                    <a:lnTo>
                      <a:pt x="1264" y="209"/>
                    </a:lnTo>
                    <a:lnTo>
                      <a:pt x="1262" y="203"/>
                    </a:lnTo>
                    <a:lnTo>
                      <a:pt x="1257" y="200"/>
                    </a:lnTo>
                    <a:lnTo>
                      <a:pt x="1257" y="200"/>
                    </a:lnTo>
                    <a:lnTo>
                      <a:pt x="1237" y="208"/>
                    </a:lnTo>
                    <a:lnTo>
                      <a:pt x="1229" y="211"/>
                    </a:lnTo>
                    <a:lnTo>
                      <a:pt x="1221" y="212"/>
                    </a:lnTo>
                    <a:lnTo>
                      <a:pt x="1214" y="213"/>
                    </a:lnTo>
                    <a:lnTo>
                      <a:pt x="1207" y="213"/>
                    </a:lnTo>
                    <a:lnTo>
                      <a:pt x="1202" y="213"/>
                    </a:lnTo>
                    <a:lnTo>
                      <a:pt x="1196" y="212"/>
                    </a:lnTo>
                    <a:lnTo>
                      <a:pt x="1186" y="208"/>
                    </a:lnTo>
                    <a:lnTo>
                      <a:pt x="1178" y="203"/>
                    </a:lnTo>
                    <a:lnTo>
                      <a:pt x="1170" y="196"/>
                    </a:lnTo>
                    <a:lnTo>
                      <a:pt x="1163" y="188"/>
                    </a:lnTo>
                    <a:lnTo>
                      <a:pt x="1155" y="181"/>
                    </a:lnTo>
                    <a:lnTo>
                      <a:pt x="1148" y="174"/>
                    </a:lnTo>
                    <a:lnTo>
                      <a:pt x="1140" y="168"/>
                    </a:lnTo>
                    <a:lnTo>
                      <a:pt x="1129" y="164"/>
                    </a:lnTo>
                    <a:lnTo>
                      <a:pt x="1125" y="163"/>
                    </a:lnTo>
                    <a:lnTo>
                      <a:pt x="1119" y="163"/>
                    </a:lnTo>
                    <a:lnTo>
                      <a:pt x="1113" y="163"/>
                    </a:lnTo>
                    <a:lnTo>
                      <a:pt x="1106" y="164"/>
                    </a:lnTo>
                    <a:lnTo>
                      <a:pt x="1098" y="166"/>
                    </a:lnTo>
                    <a:lnTo>
                      <a:pt x="1091" y="168"/>
                    </a:lnTo>
                    <a:lnTo>
                      <a:pt x="1073" y="178"/>
                    </a:lnTo>
                    <a:lnTo>
                      <a:pt x="1073" y="178"/>
                    </a:lnTo>
                    <a:lnTo>
                      <a:pt x="1065" y="181"/>
                    </a:lnTo>
                    <a:lnTo>
                      <a:pt x="1062" y="181"/>
                    </a:lnTo>
                    <a:lnTo>
                      <a:pt x="1061" y="181"/>
                    </a:lnTo>
                    <a:lnTo>
                      <a:pt x="1060" y="180"/>
                    </a:lnTo>
                    <a:lnTo>
                      <a:pt x="1060" y="179"/>
                    </a:lnTo>
                    <a:lnTo>
                      <a:pt x="1062" y="173"/>
                    </a:lnTo>
                    <a:lnTo>
                      <a:pt x="1072" y="155"/>
                    </a:lnTo>
                    <a:lnTo>
                      <a:pt x="1077" y="143"/>
                    </a:lnTo>
                    <a:lnTo>
                      <a:pt x="1082" y="129"/>
                    </a:lnTo>
                    <a:lnTo>
                      <a:pt x="1087" y="114"/>
                    </a:lnTo>
                    <a:lnTo>
                      <a:pt x="1088" y="98"/>
                    </a:lnTo>
                    <a:lnTo>
                      <a:pt x="1089" y="90"/>
                    </a:lnTo>
                    <a:lnTo>
                      <a:pt x="1088" y="82"/>
                    </a:lnTo>
                    <a:lnTo>
                      <a:pt x="1087" y="73"/>
                    </a:lnTo>
                    <a:lnTo>
                      <a:pt x="1084" y="65"/>
                    </a:lnTo>
                    <a:lnTo>
                      <a:pt x="1081" y="57"/>
                    </a:lnTo>
                    <a:lnTo>
                      <a:pt x="1076" y="49"/>
                    </a:lnTo>
                    <a:lnTo>
                      <a:pt x="1071" y="40"/>
                    </a:lnTo>
                    <a:lnTo>
                      <a:pt x="1064" y="32"/>
                    </a:lnTo>
                    <a:lnTo>
                      <a:pt x="1056" y="23"/>
                    </a:lnTo>
                    <a:lnTo>
                      <a:pt x="1046" y="15"/>
                    </a:lnTo>
                    <a:lnTo>
                      <a:pt x="1035" y="9"/>
                    </a:lnTo>
                    <a:lnTo>
                      <a:pt x="1022" y="0"/>
                    </a:lnTo>
                    <a:lnTo>
                      <a:pt x="1022" y="0"/>
                    </a:lnTo>
                    <a:lnTo>
                      <a:pt x="988" y="20"/>
                    </a:lnTo>
                    <a:lnTo>
                      <a:pt x="955" y="38"/>
                    </a:lnTo>
                    <a:lnTo>
                      <a:pt x="939" y="46"/>
                    </a:lnTo>
                    <a:lnTo>
                      <a:pt x="924" y="56"/>
                    </a:lnTo>
                    <a:lnTo>
                      <a:pt x="911" y="66"/>
                    </a:lnTo>
                    <a:lnTo>
                      <a:pt x="897" y="76"/>
                    </a:lnTo>
                    <a:lnTo>
                      <a:pt x="885" y="88"/>
                    </a:lnTo>
                    <a:lnTo>
                      <a:pt x="874" y="101"/>
                    </a:lnTo>
                    <a:lnTo>
                      <a:pt x="865" y="116"/>
                    </a:lnTo>
                    <a:lnTo>
                      <a:pt x="855" y="132"/>
                    </a:lnTo>
                    <a:lnTo>
                      <a:pt x="848" y="149"/>
                    </a:lnTo>
                    <a:lnTo>
                      <a:pt x="844" y="170"/>
                    </a:lnTo>
                    <a:lnTo>
                      <a:pt x="840" y="193"/>
                    </a:lnTo>
                    <a:lnTo>
                      <a:pt x="838" y="218"/>
                    </a:lnTo>
                    <a:lnTo>
                      <a:pt x="838" y="218"/>
                    </a:lnTo>
                    <a:lnTo>
                      <a:pt x="848" y="216"/>
                    </a:lnTo>
                    <a:lnTo>
                      <a:pt x="860" y="213"/>
                    </a:lnTo>
                    <a:lnTo>
                      <a:pt x="875" y="212"/>
                    </a:lnTo>
                    <a:lnTo>
                      <a:pt x="892" y="212"/>
                    </a:lnTo>
                    <a:lnTo>
                      <a:pt x="909" y="214"/>
                    </a:lnTo>
                    <a:lnTo>
                      <a:pt x="919" y="217"/>
                    </a:lnTo>
                    <a:lnTo>
                      <a:pt x="928" y="219"/>
                    </a:lnTo>
                    <a:lnTo>
                      <a:pt x="936" y="224"/>
                    </a:lnTo>
                    <a:lnTo>
                      <a:pt x="945" y="228"/>
                    </a:lnTo>
                    <a:lnTo>
                      <a:pt x="945" y="228"/>
                    </a:lnTo>
                    <a:lnTo>
                      <a:pt x="943" y="261"/>
                    </a:lnTo>
                    <a:lnTo>
                      <a:pt x="941" y="271"/>
                    </a:lnTo>
                    <a:lnTo>
                      <a:pt x="939" y="275"/>
                    </a:lnTo>
                    <a:lnTo>
                      <a:pt x="937" y="279"/>
                    </a:lnTo>
                    <a:lnTo>
                      <a:pt x="934" y="282"/>
                    </a:lnTo>
                    <a:lnTo>
                      <a:pt x="930" y="285"/>
                    </a:lnTo>
                    <a:lnTo>
                      <a:pt x="927" y="287"/>
                    </a:lnTo>
                    <a:lnTo>
                      <a:pt x="921" y="288"/>
                    </a:lnTo>
                    <a:lnTo>
                      <a:pt x="907" y="290"/>
                    </a:lnTo>
                    <a:lnTo>
                      <a:pt x="890" y="290"/>
                    </a:lnTo>
                    <a:lnTo>
                      <a:pt x="890" y="290"/>
                    </a:lnTo>
                    <a:lnTo>
                      <a:pt x="883" y="290"/>
                    </a:lnTo>
                    <a:lnTo>
                      <a:pt x="877" y="288"/>
                    </a:lnTo>
                    <a:lnTo>
                      <a:pt x="863" y="282"/>
                    </a:lnTo>
                    <a:lnTo>
                      <a:pt x="850" y="275"/>
                    </a:lnTo>
                    <a:lnTo>
                      <a:pt x="832" y="269"/>
                    </a:lnTo>
                    <a:lnTo>
                      <a:pt x="822" y="265"/>
                    </a:lnTo>
                    <a:lnTo>
                      <a:pt x="812" y="263"/>
                    </a:lnTo>
                    <a:lnTo>
                      <a:pt x="800" y="262"/>
                    </a:lnTo>
                    <a:lnTo>
                      <a:pt x="787" y="262"/>
                    </a:lnTo>
                    <a:lnTo>
                      <a:pt x="774" y="263"/>
                    </a:lnTo>
                    <a:lnTo>
                      <a:pt x="759" y="265"/>
                    </a:lnTo>
                    <a:lnTo>
                      <a:pt x="743" y="270"/>
                    </a:lnTo>
                    <a:lnTo>
                      <a:pt x="724" y="275"/>
                    </a:lnTo>
                    <a:lnTo>
                      <a:pt x="724" y="275"/>
                    </a:lnTo>
                    <a:lnTo>
                      <a:pt x="700" y="301"/>
                    </a:lnTo>
                    <a:lnTo>
                      <a:pt x="676" y="324"/>
                    </a:lnTo>
                    <a:lnTo>
                      <a:pt x="649" y="345"/>
                    </a:lnTo>
                    <a:lnTo>
                      <a:pt x="623" y="365"/>
                    </a:lnTo>
                    <a:lnTo>
                      <a:pt x="595" y="384"/>
                    </a:lnTo>
                    <a:lnTo>
                      <a:pt x="569" y="402"/>
                    </a:lnTo>
                    <a:lnTo>
                      <a:pt x="514" y="438"/>
                    </a:lnTo>
                    <a:lnTo>
                      <a:pt x="486" y="456"/>
                    </a:lnTo>
                    <a:lnTo>
                      <a:pt x="460" y="475"/>
                    </a:lnTo>
                    <a:lnTo>
                      <a:pt x="433" y="494"/>
                    </a:lnTo>
                    <a:lnTo>
                      <a:pt x="408" y="514"/>
                    </a:lnTo>
                    <a:lnTo>
                      <a:pt x="382" y="536"/>
                    </a:lnTo>
                    <a:lnTo>
                      <a:pt x="359" y="559"/>
                    </a:lnTo>
                    <a:lnTo>
                      <a:pt x="338" y="584"/>
                    </a:lnTo>
                    <a:lnTo>
                      <a:pt x="317" y="610"/>
                    </a:lnTo>
                    <a:lnTo>
                      <a:pt x="317" y="610"/>
                    </a:lnTo>
                    <a:lnTo>
                      <a:pt x="305" y="629"/>
                    </a:lnTo>
                    <a:lnTo>
                      <a:pt x="295" y="648"/>
                    </a:lnTo>
                    <a:lnTo>
                      <a:pt x="274" y="692"/>
                    </a:lnTo>
                    <a:lnTo>
                      <a:pt x="252" y="738"/>
                    </a:lnTo>
                    <a:lnTo>
                      <a:pt x="241" y="759"/>
                    </a:lnTo>
                    <a:lnTo>
                      <a:pt x="228" y="779"/>
                    </a:lnTo>
                    <a:lnTo>
                      <a:pt x="228" y="779"/>
                    </a:lnTo>
                    <a:lnTo>
                      <a:pt x="209" y="808"/>
                    </a:lnTo>
                    <a:lnTo>
                      <a:pt x="191" y="835"/>
                    </a:lnTo>
                    <a:lnTo>
                      <a:pt x="162" y="880"/>
                    </a:lnTo>
                    <a:lnTo>
                      <a:pt x="151" y="898"/>
                    </a:lnTo>
                    <a:lnTo>
                      <a:pt x="145" y="912"/>
                    </a:lnTo>
                    <a:lnTo>
                      <a:pt x="144" y="918"/>
                    </a:lnTo>
                    <a:lnTo>
                      <a:pt x="144" y="923"/>
                    </a:lnTo>
                    <a:lnTo>
                      <a:pt x="145" y="927"/>
                    </a:lnTo>
                    <a:lnTo>
                      <a:pt x="148" y="930"/>
                    </a:lnTo>
                    <a:lnTo>
                      <a:pt x="148" y="930"/>
                    </a:lnTo>
                    <a:lnTo>
                      <a:pt x="167" y="944"/>
                    </a:lnTo>
                    <a:lnTo>
                      <a:pt x="182" y="952"/>
                    </a:lnTo>
                    <a:lnTo>
                      <a:pt x="195" y="957"/>
                    </a:lnTo>
                    <a:lnTo>
                      <a:pt x="206" y="959"/>
                    </a:lnTo>
                    <a:lnTo>
                      <a:pt x="217" y="959"/>
                    </a:lnTo>
                    <a:lnTo>
                      <a:pt x="228" y="958"/>
                    </a:lnTo>
                    <a:lnTo>
                      <a:pt x="243" y="958"/>
                    </a:lnTo>
                    <a:lnTo>
                      <a:pt x="262" y="960"/>
                    </a:lnTo>
                    <a:lnTo>
                      <a:pt x="262" y="960"/>
                    </a:lnTo>
                    <a:lnTo>
                      <a:pt x="270" y="957"/>
                    </a:lnTo>
                    <a:lnTo>
                      <a:pt x="278" y="954"/>
                    </a:lnTo>
                    <a:lnTo>
                      <a:pt x="285" y="956"/>
                    </a:lnTo>
                    <a:lnTo>
                      <a:pt x="290" y="958"/>
                    </a:lnTo>
                    <a:lnTo>
                      <a:pt x="295" y="961"/>
                    </a:lnTo>
                    <a:lnTo>
                      <a:pt x="300" y="966"/>
                    </a:lnTo>
                    <a:lnTo>
                      <a:pt x="304" y="972"/>
                    </a:lnTo>
                    <a:lnTo>
                      <a:pt x="306" y="977"/>
                    </a:lnTo>
                    <a:lnTo>
                      <a:pt x="311" y="990"/>
                    </a:lnTo>
                    <a:lnTo>
                      <a:pt x="315" y="1003"/>
                    </a:lnTo>
                    <a:lnTo>
                      <a:pt x="317" y="1014"/>
                    </a:lnTo>
                    <a:lnTo>
                      <a:pt x="317" y="1014"/>
                    </a:lnTo>
                    <a:lnTo>
                      <a:pt x="312" y="1019"/>
                    </a:lnTo>
                    <a:lnTo>
                      <a:pt x="310" y="1022"/>
                    </a:lnTo>
                    <a:lnTo>
                      <a:pt x="308" y="1031"/>
                    </a:lnTo>
                    <a:lnTo>
                      <a:pt x="305" y="1041"/>
                    </a:lnTo>
                    <a:lnTo>
                      <a:pt x="302" y="1050"/>
                    </a:lnTo>
                    <a:lnTo>
                      <a:pt x="300" y="1052"/>
                    </a:lnTo>
                    <a:lnTo>
                      <a:pt x="296" y="1056"/>
                    </a:lnTo>
                    <a:lnTo>
                      <a:pt x="292" y="1057"/>
                    </a:lnTo>
                    <a:lnTo>
                      <a:pt x="286" y="1058"/>
                    </a:lnTo>
                    <a:lnTo>
                      <a:pt x="278" y="1058"/>
                    </a:lnTo>
                    <a:lnTo>
                      <a:pt x="269" y="1056"/>
                    </a:lnTo>
                    <a:lnTo>
                      <a:pt x="257" y="1052"/>
                    </a:lnTo>
                    <a:lnTo>
                      <a:pt x="243" y="1048"/>
                    </a:lnTo>
                    <a:lnTo>
                      <a:pt x="243" y="1048"/>
                    </a:lnTo>
                    <a:lnTo>
                      <a:pt x="237" y="1057"/>
                    </a:lnTo>
                    <a:lnTo>
                      <a:pt x="232" y="1064"/>
                    </a:lnTo>
                    <a:lnTo>
                      <a:pt x="225" y="1069"/>
                    </a:lnTo>
                    <a:lnTo>
                      <a:pt x="219" y="1073"/>
                    </a:lnTo>
                    <a:lnTo>
                      <a:pt x="212" y="1076"/>
                    </a:lnTo>
                    <a:lnTo>
                      <a:pt x="206" y="1079"/>
                    </a:lnTo>
                    <a:lnTo>
                      <a:pt x="199" y="1081"/>
                    </a:lnTo>
                    <a:lnTo>
                      <a:pt x="193" y="1081"/>
                    </a:lnTo>
                    <a:lnTo>
                      <a:pt x="185" y="1081"/>
                    </a:lnTo>
                    <a:lnTo>
                      <a:pt x="178" y="1079"/>
                    </a:lnTo>
                    <a:lnTo>
                      <a:pt x="163" y="1074"/>
                    </a:lnTo>
                    <a:lnTo>
                      <a:pt x="148" y="1067"/>
                    </a:lnTo>
                    <a:lnTo>
                      <a:pt x="133" y="1059"/>
                    </a:lnTo>
                    <a:lnTo>
                      <a:pt x="133" y="1059"/>
                    </a:lnTo>
                    <a:lnTo>
                      <a:pt x="127" y="1057"/>
                    </a:lnTo>
                    <a:lnTo>
                      <a:pt x="124" y="1056"/>
                    </a:lnTo>
                    <a:lnTo>
                      <a:pt x="121" y="1058"/>
                    </a:lnTo>
                    <a:lnTo>
                      <a:pt x="119" y="1061"/>
                    </a:lnTo>
                    <a:lnTo>
                      <a:pt x="119" y="1066"/>
                    </a:lnTo>
                    <a:lnTo>
                      <a:pt x="119" y="1072"/>
                    </a:lnTo>
                    <a:lnTo>
                      <a:pt x="120" y="1089"/>
                    </a:lnTo>
                    <a:lnTo>
                      <a:pt x="122" y="1109"/>
                    </a:lnTo>
                    <a:lnTo>
                      <a:pt x="124" y="1130"/>
                    </a:lnTo>
                    <a:lnTo>
                      <a:pt x="124" y="1142"/>
                    </a:lnTo>
                    <a:lnTo>
                      <a:pt x="122" y="1153"/>
                    </a:lnTo>
                    <a:lnTo>
                      <a:pt x="121" y="1165"/>
                    </a:lnTo>
                    <a:lnTo>
                      <a:pt x="118" y="1176"/>
                    </a:lnTo>
                    <a:lnTo>
                      <a:pt x="118" y="1176"/>
                    </a:lnTo>
                    <a:lnTo>
                      <a:pt x="114" y="1187"/>
                    </a:lnTo>
                    <a:lnTo>
                      <a:pt x="107" y="1197"/>
                    </a:lnTo>
                    <a:lnTo>
                      <a:pt x="101" y="1208"/>
                    </a:lnTo>
                    <a:lnTo>
                      <a:pt x="92" y="1216"/>
                    </a:lnTo>
                    <a:lnTo>
                      <a:pt x="73" y="1233"/>
                    </a:lnTo>
                    <a:lnTo>
                      <a:pt x="52" y="1249"/>
                    </a:lnTo>
                    <a:lnTo>
                      <a:pt x="43" y="1258"/>
                    </a:lnTo>
                    <a:lnTo>
                      <a:pt x="33" y="1266"/>
                    </a:lnTo>
                    <a:lnTo>
                      <a:pt x="25" y="1277"/>
                    </a:lnTo>
                    <a:lnTo>
                      <a:pt x="17" y="1287"/>
                    </a:lnTo>
                    <a:lnTo>
                      <a:pt x="10" y="1298"/>
                    </a:lnTo>
                    <a:lnTo>
                      <a:pt x="5" y="1311"/>
                    </a:lnTo>
                    <a:lnTo>
                      <a:pt x="2" y="1326"/>
                    </a:lnTo>
                    <a:lnTo>
                      <a:pt x="0" y="1341"/>
                    </a:lnTo>
                    <a:lnTo>
                      <a:pt x="0" y="1341"/>
                    </a:lnTo>
                    <a:lnTo>
                      <a:pt x="2" y="1349"/>
                    </a:lnTo>
                    <a:lnTo>
                      <a:pt x="2" y="1355"/>
                    </a:lnTo>
                    <a:lnTo>
                      <a:pt x="4" y="1361"/>
                    </a:lnTo>
                    <a:lnTo>
                      <a:pt x="4" y="1361"/>
                    </a:lnTo>
                    <a:lnTo>
                      <a:pt x="4" y="1361"/>
                    </a:lnTo>
                    <a:lnTo>
                      <a:pt x="4" y="1361"/>
                    </a:lnTo>
                    <a:lnTo>
                      <a:pt x="4" y="1361"/>
                    </a:lnTo>
                    <a:lnTo>
                      <a:pt x="11" y="1359"/>
                    </a:lnTo>
                    <a:lnTo>
                      <a:pt x="15" y="1359"/>
                    </a:lnTo>
                    <a:lnTo>
                      <a:pt x="23" y="1361"/>
                    </a:lnTo>
                    <a:lnTo>
                      <a:pt x="29" y="1363"/>
                    </a:lnTo>
                    <a:lnTo>
                      <a:pt x="34" y="1364"/>
                    </a:lnTo>
                    <a:lnTo>
                      <a:pt x="34" y="1364"/>
                    </a:lnTo>
                    <a:lnTo>
                      <a:pt x="42" y="1364"/>
                    </a:lnTo>
                    <a:lnTo>
                      <a:pt x="51" y="1366"/>
                    </a:lnTo>
                    <a:lnTo>
                      <a:pt x="60" y="1369"/>
                    </a:lnTo>
                    <a:lnTo>
                      <a:pt x="71" y="1372"/>
                    </a:lnTo>
                    <a:lnTo>
                      <a:pt x="92" y="1381"/>
                    </a:lnTo>
                    <a:lnTo>
                      <a:pt x="113" y="1393"/>
                    </a:lnTo>
                    <a:lnTo>
                      <a:pt x="124" y="1400"/>
                    </a:lnTo>
                    <a:lnTo>
                      <a:pt x="133" y="1407"/>
                    </a:lnTo>
                    <a:lnTo>
                      <a:pt x="141" y="1415"/>
                    </a:lnTo>
                    <a:lnTo>
                      <a:pt x="148" y="1423"/>
                    </a:lnTo>
                    <a:lnTo>
                      <a:pt x="153" y="1431"/>
                    </a:lnTo>
                    <a:lnTo>
                      <a:pt x="158" y="1439"/>
                    </a:lnTo>
                    <a:lnTo>
                      <a:pt x="162" y="1447"/>
                    </a:lnTo>
                    <a:lnTo>
                      <a:pt x="163" y="1455"/>
                    </a:lnTo>
                    <a:lnTo>
                      <a:pt x="163" y="1455"/>
                    </a:lnTo>
                    <a:lnTo>
                      <a:pt x="162" y="1468"/>
                    </a:lnTo>
                    <a:lnTo>
                      <a:pt x="159" y="1477"/>
                    </a:lnTo>
                    <a:lnTo>
                      <a:pt x="155" y="1485"/>
                    </a:lnTo>
                    <a:lnTo>
                      <a:pt x="151" y="1491"/>
                    </a:lnTo>
                    <a:lnTo>
                      <a:pt x="142" y="1500"/>
                    </a:lnTo>
                    <a:lnTo>
                      <a:pt x="138" y="1504"/>
                    </a:lnTo>
                    <a:lnTo>
                      <a:pt x="136" y="1511"/>
                    </a:lnTo>
                    <a:lnTo>
                      <a:pt x="136" y="1511"/>
                    </a:lnTo>
                    <a:lnTo>
                      <a:pt x="135" y="1516"/>
                    </a:lnTo>
                    <a:lnTo>
                      <a:pt x="134" y="1522"/>
                    </a:lnTo>
                    <a:lnTo>
                      <a:pt x="135" y="1531"/>
                    </a:lnTo>
                    <a:lnTo>
                      <a:pt x="137" y="1541"/>
                    </a:lnTo>
                    <a:lnTo>
                      <a:pt x="137" y="1546"/>
                    </a:lnTo>
                    <a:lnTo>
                      <a:pt x="136" y="1552"/>
                    </a:lnTo>
                    <a:lnTo>
                      <a:pt x="136" y="1552"/>
                    </a:lnTo>
                    <a:lnTo>
                      <a:pt x="134" y="1560"/>
                    </a:lnTo>
                    <a:lnTo>
                      <a:pt x="129" y="1567"/>
                    </a:lnTo>
                    <a:lnTo>
                      <a:pt x="121" y="1580"/>
                    </a:lnTo>
                    <a:lnTo>
                      <a:pt x="102" y="1607"/>
                    </a:lnTo>
                    <a:lnTo>
                      <a:pt x="92" y="1621"/>
                    </a:lnTo>
                    <a:lnTo>
                      <a:pt x="84" y="1634"/>
                    </a:lnTo>
                    <a:lnTo>
                      <a:pt x="82" y="1643"/>
                    </a:lnTo>
                    <a:lnTo>
                      <a:pt x="80" y="1651"/>
                    </a:lnTo>
                    <a:lnTo>
                      <a:pt x="79" y="1659"/>
                    </a:lnTo>
                    <a:lnTo>
                      <a:pt x="78" y="1668"/>
                    </a:lnTo>
                    <a:lnTo>
                      <a:pt x="78" y="1668"/>
                    </a:lnTo>
                    <a:lnTo>
                      <a:pt x="79" y="1678"/>
                    </a:lnTo>
                    <a:lnTo>
                      <a:pt x="80" y="1686"/>
                    </a:lnTo>
                    <a:lnTo>
                      <a:pt x="83" y="1692"/>
                    </a:lnTo>
                    <a:lnTo>
                      <a:pt x="88" y="1695"/>
                    </a:lnTo>
                    <a:lnTo>
                      <a:pt x="94" y="1698"/>
                    </a:lnTo>
                    <a:lnTo>
                      <a:pt x="101" y="1699"/>
                    </a:lnTo>
                    <a:lnTo>
                      <a:pt x="109" y="1699"/>
                    </a:lnTo>
                    <a:lnTo>
                      <a:pt x="118" y="1698"/>
                    </a:lnTo>
                    <a:lnTo>
                      <a:pt x="118" y="1698"/>
                    </a:lnTo>
                    <a:lnTo>
                      <a:pt x="120" y="1703"/>
                    </a:lnTo>
                    <a:lnTo>
                      <a:pt x="121" y="1708"/>
                    </a:lnTo>
                    <a:lnTo>
                      <a:pt x="122" y="1717"/>
                    </a:lnTo>
                    <a:lnTo>
                      <a:pt x="121" y="1735"/>
                    </a:lnTo>
                    <a:lnTo>
                      <a:pt x="121" y="1735"/>
                    </a:lnTo>
                    <a:lnTo>
                      <a:pt x="122" y="1739"/>
                    </a:lnTo>
                    <a:lnTo>
                      <a:pt x="126" y="1744"/>
                    </a:lnTo>
                    <a:lnTo>
                      <a:pt x="132" y="1750"/>
                    </a:lnTo>
                    <a:lnTo>
                      <a:pt x="138" y="1754"/>
                    </a:lnTo>
                    <a:lnTo>
                      <a:pt x="147" y="1758"/>
                    </a:lnTo>
                    <a:lnTo>
                      <a:pt x="156" y="1761"/>
                    </a:lnTo>
                    <a:lnTo>
                      <a:pt x="166" y="1763"/>
                    </a:lnTo>
                    <a:lnTo>
                      <a:pt x="176" y="1764"/>
                    </a:lnTo>
                    <a:lnTo>
                      <a:pt x="176" y="1764"/>
                    </a:lnTo>
                    <a:lnTo>
                      <a:pt x="183" y="1763"/>
                    </a:lnTo>
                    <a:lnTo>
                      <a:pt x="190" y="1762"/>
                    </a:lnTo>
                    <a:lnTo>
                      <a:pt x="203" y="1759"/>
                    </a:lnTo>
                    <a:lnTo>
                      <a:pt x="214" y="1755"/>
                    </a:lnTo>
                    <a:lnTo>
                      <a:pt x="221" y="1753"/>
                    </a:lnTo>
                    <a:lnTo>
                      <a:pt x="228" y="1753"/>
                    </a:lnTo>
                    <a:lnTo>
                      <a:pt x="228" y="1753"/>
                    </a:lnTo>
                    <a:lnTo>
                      <a:pt x="237" y="1754"/>
                    </a:lnTo>
                    <a:lnTo>
                      <a:pt x="246" y="1755"/>
                    </a:lnTo>
                    <a:lnTo>
                      <a:pt x="252" y="1759"/>
                    </a:lnTo>
                    <a:lnTo>
                      <a:pt x="257" y="1762"/>
                    </a:lnTo>
                    <a:lnTo>
                      <a:pt x="262" y="1767"/>
                    </a:lnTo>
                    <a:lnTo>
                      <a:pt x="265" y="1773"/>
                    </a:lnTo>
                    <a:lnTo>
                      <a:pt x="270" y="1783"/>
                    </a:lnTo>
                    <a:lnTo>
                      <a:pt x="273" y="1796"/>
                    </a:lnTo>
                    <a:lnTo>
                      <a:pt x="278" y="1806"/>
                    </a:lnTo>
                    <a:lnTo>
                      <a:pt x="281" y="1811"/>
                    </a:lnTo>
                    <a:lnTo>
                      <a:pt x="285" y="1814"/>
                    </a:lnTo>
                    <a:lnTo>
                      <a:pt x="289" y="1817"/>
                    </a:lnTo>
                    <a:lnTo>
                      <a:pt x="295" y="1820"/>
                    </a:lnTo>
                    <a:lnTo>
                      <a:pt x="295" y="1820"/>
                    </a:lnTo>
                    <a:lnTo>
                      <a:pt x="302" y="1820"/>
                    </a:lnTo>
                    <a:lnTo>
                      <a:pt x="302" y="182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4" name="Freeform 99"/>
              <p:cNvSpPr>
                <a:spLocks noChangeAspect="1"/>
              </p:cNvSpPr>
              <p:nvPr/>
            </p:nvSpPr>
            <p:spPr bwMode="auto">
              <a:xfrm>
                <a:off x="6244599" y="4089125"/>
                <a:ext cx="1146034" cy="701357"/>
              </a:xfrm>
              <a:custGeom>
                <a:avLst/>
                <a:gdLst/>
                <a:ahLst/>
                <a:cxnLst>
                  <a:cxn ang="0">
                    <a:pos x="1407" y="812"/>
                  </a:cxn>
                  <a:cxn ang="0">
                    <a:pos x="1337" y="739"/>
                  </a:cxn>
                  <a:cxn ang="0">
                    <a:pos x="1293" y="712"/>
                  </a:cxn>
                  <a:cxn ang="0">
                    <a:pos x="1254" y="698"/>
                  </a:cxn>
                  <a:cxn ang="0">
                    <a:pos x="1253" y="611"/>
                  </a:cxn>
                  <a:cxn ang="0">
                    <a:pos x="1242" y="560"/>
                  </a:cxn>
                  <a:cxn ang="0">
                    <a:pos x="1283" y="496"/>
                  </a:cxn>
                  <a:cxn ang="0">
                    <a:pos x="1294" y="437"/>
                  </a:cxn>
                  <a:cxn ang="0">
                    <a:pos x="1329" y="382"/>
                  </a:cxn>
                  <a:cxn ang="0">
                    <a:pos x="1292" y="353"/>
                  </a:cxn>
                  <a:cxn ang="0">
                    <a:pos x="1300" y="312"/>
                  </a:cxn>
                  <a:cxn ang="0">
                    <a:pos x="1401" y="286"/>
                  </a:cxn>
                  <a:cxn ang="0">
                    <a:pos x="1360" y="180"/>
                  </a:cxn>
                  <a:cxn ang="0">
                    <a:pos x="1309" y="152"/>
                  </a:cxn>
                  <a:cxn ang="0">
                    <a:pos x="1255" y="200"/>
                  </a:cxn>
                  <a:cxn ang="0">
                    <a:pos x="1217" y="263"/>
                  </a:cxn>
                  <a:cxn ang="0">
                    <a:pos x="1164" y="312"/>
                  </a:cxn>
                  <a:cxn ang="0">
                    <a:pos x="1135" y="337"/>
                  </a:cxn>
                  <a:cxn ang="0">
                    <a:pos x="1075" y="298"/>
                  </a:cxn>
                  <a:cxn ang="0">
                    <a:pos x="1029" y="306"/>
                  </a:cxn>
                  <a:cxn ang="0">
                    <a:pos x="980" y="300"/>
                  </a:cxn>
                  <a:cxn ang="0">
                    <a:pos x="991" y="245"/>
                  </a:cxn>
                  <a:cxn ang="0">
                    <a:pos x="985" y="190"/>
                  </a:cxn>
                  <a:cxn ang="0">
                    <a:pos x="1002" y="157"/>
                  </a:cxn>
                  <a:cxn ang="0">
                    <a:pos x="1026" y="22"/>
                  </a:cxn>
                  <a:cxn ang="0">
                    <a:pos x="971" y="1"/>
                  </a:cxn>
                  <a:cxn ang="0">
                    <a:pos x="866" y="62"/>
                  </a:cxn>
                  <a:cxn ang="0">
                    <a:pos x="794" y="119"/>
                  </a:cxn>
                  <a:cxn ang="0">
                    <a:pos x="718" y="193"/>
                  </a:cxn>
                  <a:cxn ang="0">
                    <a:pos x="642" y="216"/>
                  </a:cxn>
                  <a:cxn ang="0">
                    <a:pos x="549" y="282"/>
                  </a:cxn>
                  <a:cxn ang="0">
                    <a:pos x="444" y="310"/>
                  </a:cxn>
                  <a:cxn ang="0">
                    <a:pos x="373" y="302"/>
                  </a:cxn>
                  <a:cxn ang="0">
                    <a:pos x="307" y="276"/>
                  </a:cxn>
                  <a:cxn ang="0">
                    <a:pos x="95" y="294"/>
                  </a:cxn>
                  <a:cxn ang="0">
                    <a:pos x="18" y="342"/>
                  </a:cxn>
                  <a:cxn ang="0">
                    <a:pos x="0" y="367"/>
                  </a:cxn>
                  <a:cxn ang="0">
                    <a:pos x="32" y="399"/>
                  </a:cxn>
                  <a:cxn ang="0">
                    <a:pos x="83" y="420"/>
                  </a:cxn>
                  <a:cxn ang="0">
                    <a:pos x="67" y="461"/>
                  </a:cxn>
                  <a:cxn ang="0">
                    <a:pos x="105" y="469"/>
                  </a:cxn>
                  <a:cxn ang="0">
                    <a:pos x="158" y="436"/>
                  </a:cxn>
                  <a:cxn ang="0">
                    <a:pos x="202" y="482"/>
                  </a:cxn>
                  <a:cxn ang="0">
                    <a:pos x="243" y="480"/>
                  </a:cxn>
                  <a:cxn ang="0">
                    <a:pos x="274" y="557"/>
                  </a:cxn>
                  <a:cxn ang="0">
                    <a:pos x="298" y="591"/>
                  </a:cxn>
                  <a:cxn ang="0">
                    <a:pos x="297" y="627"/>
                  </a:cxn>
                  <a:cxn ang="0">
                    <a:pos x="315" y="673"/>
                  </a:cxn>
                  <a:cxn ang="0">
                    <a:pos x="364" y="724"/>
                  </a:cxn>
                  <a:cxn ang="0">
                    <a:pos x="467" y="684"/>
                  </a:cxn>
                  <a:cxn ang="0">
                    <a:pos x="635" y="653"/>
                  </a:cxn>
                  <a:cxn ang="0">
                    <a:pos x="723" y="665"/>
                  </a:cxn>
                  <a:cxn ang="0">
                    <a:pos x="968" y="877"/>
                  </a:cxn>
                  <a:cxn ang="0">
                    <a:pos x="1120" y="1006"/>
                  </a:cxn>
                  <a:cxn ang="0">
                    <a:pos x="1236" y="958"/>
                  </a:cxn>
                  <a:cxn ang="0">
                    <a:pos x="1418" y="922"/>
                  </a:cxn>
                  <a:cxn ang="0">
                    <a:pos x="1444" y="841"/>
                  </a:cxn>
                </a:cxnLst>
                <a:rect l="0" t="0" r="r" b="b"/>
                <a:pathLst>
                  <a:path w="1444" h="1008">
                    <a:moveTo>
                      <a:pt x="1443" y="841"/>
                    </a:moveTo>
                    <a:lnTo>
                      <a:pt x="1443" y="841"/>
                    </a:lnTo>
                    <a:lnTo>
                      <a:pt x="1443" y="841"/>
                    </a:lnTo>
                    <a:lnTo>
                      <a:pt x="1443" y="841"/>
                    </a:lnTo>
                    <a:lnTo>
                      <a:pt x="1435" y="838"/>
                    </a:lnTo>
                    <a:lnTo>
                      <a:pt x="1426" y="833"/>
                    </a:lnTo>
                    <a:lnTo>
                      <a:pt x="1419" y="827"/>
                    </a:lnTo>
                    <a:lnTo>
                      <a:pt x="1413" y="820"/>
                    </a:lnTo>
                    <a:lnTo>
                      <a:pt x="1407" y="812"/>
                    </a:lnTo>
                    <a:lnTo>
                      <a:pt x="1401" y="804"/>
                    </a:lnTo>
                    <a:lnTo>
                      <a:pt x="1391" y="786"/>
                    </a:lnTo>
                    <a:lnTo>
                      <a:pt x="1381" y="768"/>
                    </a:lnTo>
                    <a:lnTo>
                      <a:pt x="1375" y="760"/>
                    </a:lnTo>
                    <a:lnTo>
                      <a:pt x="1369" y="752"/>
                    </a:lnTo>
                    <a:lnTo>
                      <a:pt x="1362" y="747"/>
                    </a:lnTo>
                    <a:lnTo>
                      <a:pt x="1355" y="742"/>
                    </a:lnTo>
                    <a:lnTo>
                      <a:pt x="1346" y="740"/>
                    </a:lnTo>
                    <a:lnTo>
                      <a:pt x="1337" y="739"/>
                    </a:lnTo>
                    <a:lnTo>
                      <a:pt x="1337" y="739"/>
                    </a:lnTo>
                    <a:lnTo>
                      <a:pt x="1315" y="739"/>
                    </a:lnTo>
                    <a:lnTo>
                      <a:pt x="1315" y="739"/>
                    </a:lnTo>
                    <a:lnTo>
                      <a:pt x="1309" y="737"/>
                    </a:lnTo>
                    <a:lnTo>
                      <a:pt x="1306" y="736"/>
                    </a:lnTo>
                    <a:lnTo>
                      <a:pt x="1303" y="733"/>
                    </a:lnTo>
                    <a:lnTo>
                      <a:pt x="1299" y="729"/>
                    </a:lnTo>
                    <a:lnTo>
                      <a:pt x="1296" y="721"/>
                    </a:lnTo>
                    <a:lnTo>
                      <a:pt x="1293" y="712"/>
                    </a:lnTo>
                    <a:lnTo>
                      <a:pt x="1293" y="712"/>
                    </a:lnTo>
                    <a:lnTo>
                      <a:pt x="1285" y="714"/>
                    </a:lnTo>
                    <a:lnTo>
                      <a:pt x="1280" y="714"/>
                    </a:lnTo>
                    <a:lnTo>
                      <a:pt x="1274" y="714"/>
                    </a:lnTo>
                    <a:lnTo>
                      <a:pt x="1268" y="712"/>
                    </a:lnTo>
                    <a:lnTo>
                      <a:pt x="1263" y="710"/>
                    </a:lnTo>
                    <a:lnTo>
                      <a:pt x="1260" y="707"/>
                    </a:lnTo>
                    <a:lnTo>
                      <a:pt x="1256" y="703"/>
                    </a:lnTo>
                    <a:lnTo>
                      <a:pt x="1254" y="698"/>
                    </a:lnTo>
                    <a:lnTo>
                      <a:pt x="1250" y="688"/>
                    </a:lnTo>
                    <a:lnTo>
                      <a:pt x="1247" y="675"/>
                    </a:lnTo>
                    <a:lnTo>
                      <a:pt x="1246" y="661"/>
                    </a:lnTo>
                    <a:lnTo>
                      <a:pt x="1245" y="646"/>
                    </a:lnTo>
                    <a:lnTo>
                      <a:pt x="1245" y="646"/>
                    </a:lnTo>
                    <a:lnTo>
                      <a:pt x="1246" y="636"/>
                    </a:lnTo>
                    <a:lnTo>
                      <a:pt x="1247" y="627"/>
                    </a:lnTo>
                    <a:lnTo>
                      <a:pt x="1251" y="618"/>
                    </a:lnTo>
                    <a:lnTo>
                      <a:pt x="1253" y="611"/>
                    </a:lnTo>
                    <a:lnTo>
                      <a:pt x="1261" y="597"/>
                    </a:lnTo>
                    <a:lnTo>
                      <a:pt x="1267" y="583"/>
                    </a:lnTo>
                    <a:lnTo>
                      <a:pt x="1267" y="583"/>
                    </a:lnTo>
                    <a:lnTo>
                      <a:pt x="1259" y="580"/>
                    </a:lnTo>
                    <a:lnTo>
                      <a:pt x="1254" y="577"/>
                    </a:lnTo>
                    <a:lnTo>
                      <a:pt x="1250" y="574"/>
                    </a:lnTo>
                    <a:lnTo>
                      <a:pt x="1246" y="571"/>
                    </a:lnTo>
                    <a:lnTo>
                      <a:pt x="1244" y="566"/>
                    </a:lnTo>
                    <a:lnTo>
                      <a:pt x="1242" y="560"/>
                    </a:lnTo>
                    <a:lnTo>
                      <a:pt x="1242" y="554"/>
                    </a:lnTo>
                    <a:lnTo>
                      <a:pt x="1242" y="554"/>
                    </a:lnTo>
                    <a:lnTo>
                      <a:pt x="1242" y="550"/>
                    </a:lnTo>
                    <a:lnTo>
                      <a:pt x="1243" y="546"/>
                    </a:lnTo>
                    <a:lnTo>
                      <a:pt x="1248" y="537"/>
                    </a:lnTo>
                    <a:lnTo>
                      <a:pt x="1256" y="528"/>
                    </a:lnTo>
                    <a:lnTo>
                      <a:pt x="1266" y="518"/>
                    </a:lnTo>
                    <a:lnTo>
                      <a:pt x="1275" y="507"/>
                    </a:lnTo>
                    <a:lnTo>
                      <a:pt x="1283" y="496"/>
                    </a:lnTo>
                    <a:lnTo>
                      <a:pt x="1286" y="489"/>
                    </a:lnTo>
                    <a:lnTo>
                      <a:pt x="1290" y="483"/>
                    </a:lnTo>
                    <a:lnTo>
                      <a:pt x="1292" y="476"/>
                    </a:lnTo>
                    <a:lnTo>
                      <a:pt x="1293" y="469"/>
                    </a:lnTo>
                    <a:lnTo>
                      <a:pt x="1293" y="469"/>
                    </a:lnTo>
                    <a:lnTo>
                      <a:pt x="1293" y="447"/>
                    </a:lnTo>
                    <a:lnTo>
                      <a:pt x="1293" y="447"/>
                    </a:lnTo>
                    <a:lnTo>
                      <a:pt x="1293" y="442"/>
                    </a:lnTo>
                    <a:lnTo>
                      <a:pt x="1294" y="437"/>
                    </a:lnTo>
                    <a:lnTo>
                      <a:pt x="1299" y="427"/>
                    </a:lnTo>
                    <a:lnTo>
                      <a:pt x="1305" y="419"/>
                    </a:lnTo>
                    <a:lnTo>
                      <a:pt x="1311" y="412"/>
                    </a:lnTo>
                    <a:lnTo>
                      <a:pt x="1317" y="405"/>
                    </a:lnTo>
                    <a:lnTo>
                      <a:pt x="1323" y="398"/>
                    </a:lnTo>
                    <a:lnTo>
                      <a:pt x="1328" y="390"/>
                    </a:lnTo>
                    <a:lnTo>
                      <a:pt x="1329" y="386"/>
                    </a:lnTo>
                    <a:lnTo>
                      <a:pt x="1329" y="382"/>
                    </a:lnTo>
                    <a:lnTo>
                      <a:pt x="1329" y="382"/>
                    </a:lnTo>
                    <a:lnTo>
                      <a:pt x="1329" y="376"/>
                    </a:lnTo>
                    <a:lnTo>
                      <a:pt x="1328" y="373"/>
                    </a:lnTo>
                    <a:lnTo>
                      <a:pt x="1326" y="369"/>
                    </a:lnTo>
                    <a:lnTo>
                      <a:pt x="1322" y="367"/>
                    </a:lnTo>
                    <a:lnTo>
                      <a:pt x="1315" y="363"/>
                    </a:lnTo>
                    <a:lnTo>
                      <a:pt x="1307" y="360"/>
                    </a:lnTo>
                    <a:lnTo>
                      <a:pt x="1299" y="358"/>
                    </a:lnTo>
                    <a:lnTo>
                      <a:pt x="1296" y="355"/>
                    </a:lnTo>
                    <a:lnTo>
                      <a:pt x="1292" y="353"/>
                    </a:lnTo>
                    <a:lnTo>
                      <a:pt x="1289" y="350"/>
                    </a:lnTo>
                    <a:lnTo>
                      <a:pt x="1288" y="345"/>
                    </a:lnTo>
                    <a:lnTo>
                      <a:pt x="1285" y="340"/>
                    </a:lnTo>
                    <a:lnTo>
                      <a:pt x="1285" y="334"/>
                    </a:lnTo>
                    <a:lnTo>
                      <a:pt x="1285" y="334"/>
                    </a:lnTo>
                    <a:lnTo>
                      <a:pt x="1286" y="328"/>
                    </a:lnTo>
                    <a:lnTo>
                      <a:pt x="1290" y="322"/>
                    </a:lnTo>
                    <a:lnTo>
                      <a:pt x="1294" y="316"/>
                    </a:lnTo>
                    <a:lnTo>
                      <a:pt x="1300" y="312"/>
                    </a:lnTo>
                    <a:lnTo>
                      <a:pt x="1300" y="312"/>
                    </a:lnTo>
                    <a:lnTo>
                      <a:pt x="1359" y="312"/>
                    </a:lnTo>
                    <a:lnTo>
                      <a:pt x="1359" y="312"/>
                    </a:lnTo>
                    <a:lnTo>
                      <a:pt x="1359" y="312"/>
                    </a:lnTo>
                    <a:lnTo>
                      <a:pt x="1372" y="307"/>
                    </a:lnTo>
                    <a:lnTo>
                      <a:pt x="1387" y="301"/>
                    </a:lnTo>
                    <a:lnTo>
                      <a:pt x="1392" y="297"/>
                    </a:lnTo>
                    <a:lnTo>
                      <a:pt x="1398" y="292"/>
                    </a:lnTo>
                    <a:lnTo>
                      <a:pt x="1401" y="286"/>
                    </a:lnTo>
                    <a:lnTo>
                      <a:pt x="1403" y="283"/>
                    </a:lnTo>
                    <a:lnTo>
                      <a:pt x="1403" y="279"/>
                    </a:lnTo>
                    <a:lnTo>
                      <a:pt x="1403" y="279"/>
                    </a:lnTo>
                    <a:lnTo>
                      <a:pt x="1403" y="273"/>
                    </a:lnTo>
                    <a:lnTo>
                      <a:pt x="1400" y="266"/>
                    </a:lnTo>
                    <a:lnTo>
                      <a:pt x="1393" y="246"/>
                    </a:lnTo>
                    <a:lnTo>
                      <a:pt x="1384" y="224"/>
                    </a:lnTo>
                    <a:lnTo>
                      <a:pt x="1373" y="202"/>
                    </a:lnTo>
                    <a:lnTo>
                      <a:pt x="1360" y="180"/>
                    </a:lnTo>
                    <a:lnTo>
                      <a:pt x="1347" y="163"/>
                    </a:lnTo>
                    <a:lnTo>
                      <a:pt x="1342" y="156"/>
                    </a:lnTo>
                    <a:lnTo>
                      <a:pt x="1336" y="152"/>
                    </a:lnTo>
                    <a:lnTo>
                      <a:pt x="1330" y="148"/>
                    </a:lnTo>
                    <a:lnTo>
                      <a:pt x="1326" y="147"/>
                    </a:lnTo>
                    <a:lnTo>
                      <a:pt x="1326" y="147"/>
                    </a:lnTo>
                    <a:lnTo>
                      <a:pt x="1321" y="147"/>
                    </a:lnTo>
                    <a:lnTo>
                      <a:pt x="1317" y="148"/>
                    </a:lnTo>
                    <a:lnTo>
                      <a:pt x="1309" y="152"/>
                    </a:lnTo>
                    <a:lnTo>
                      <a:pt x="1304" y="156"/>
                    </a:lnTo>
                    <a:lnTo>
                      <a:pt x="1298" y="163"/>
                    </a:lnTo>
                    <a:lnTo>
                      <a:pt x="1289" y="176"/>
                    </a:lnTo>
                    <a:lnTo>
                      <a:pt x="1283" y="182"/>
                    </a:lnTo>
                    <a:lnTo>
                      <a:pt x="1278" y="186"/>
                    </a:lnTo>
                    <a:lnTo>
                      <a:pt x="1278" y="186"/>
                    </a:lnTo>
                    <a:lnTo>
                      <a:pt x="1273" y="192"/>
                    </a:lnTo>
                    <a:lnTo>
                      <a:pt x="1267" y="195"/>
                    </a:lnTo>
                    <a:lnTo>
                      <a:pt x="1255" y="200"/>
                    </a:lnTo>
                    <a:lnTo>
                      <a:pt x="1250" y="202"/>
                    </a:lnTo>
                    <a:lnTo>
                      <a:pt x="1244" y="206"/>
                    </a:lnTo>
                    <a:lnTo>
                      <a:pt x="1238" y="210"/>
                    </a:lnTo>
                    <a:lnTo>
                      <a:pt x="1235" y="216"/>
                    </a:lnTo>
                    <a:lnTo>
                      <a:pt x="1235" y="216"/>
                    </a:lnTo>
                    <a:lnTo>
                      <a:pt x="1229" y="224"/>
                    </a:lnTo>
                    <a:lnTo>
                      <a:pt x="1225" y="233"/>
                    </a:lnTo>
                    <a:lnTo>
                      <a:pt x="1221" y="253"/>
                    </a:lnTo>
                    <a:lnTo>
                      <a:pt x="1217" y="263"/>
                    </a:lnTo>
                    <a:lnTo>
                      <a:pt x="1214" y="274"/>
                    </a:lnTo>
                    <a:lnTo>
                      <a:pt x="1208" y="282"/>
                    </a:lnTo>
                    <a:lnTo>
                      <a:pt x="1201" y="290"/>
                    </a:lnTo>
                    <a:lnTo>
                      <a:pt x="1201" y="290"/>
                    </a:lnTo>
                    <a:lnTo>
                      <a:pt x="1192" y="294"/>
                    </a:lnTo>
                    <a:lnTo>
                      <a:pt x="1183" y="298"/>
                    </a:lnTo>
                    <a:lnTo>
                      <a:pt x="1172" y="304"/>
                    </a:lnTo>
                    <a:lnTo>
                      <a:pt x="1168" y="307"/>
                    </a:lnTo>
                    <a:lnTo>
                      <a:pt x="1164" y="312"/>
                    </a:lnTo>
                    <a:lnTo>
                      <a:pt x="1164" y="312"/>
                    </a:lnTo>
                    <a:lnTo>
                      <a:pt x="1160" y="315"/>
                    </a:lnTo>
                    <a:lnTo>
                      <a:pt x="1158" y="319"/>
                    </a:lnTo>
                    <a:lnTo>
                      <a:pt x="1152" y="328"/>
                    </a:lnTo>
                    <a:lnTo>
                      <a:pt x="1149" y="331"/>
                    </a:lnTo>
                    <a:lnTo>
                      <a:pt x="1145" y="335"/>
                    </a:lnTo>
                    <a:lnTo>
                      <a:pt x="1140" y="337"/>
                    </a:lnTo>
                    <a:lnTo>
                      <a:pt x="1135" y="337"/>
                    </a:lnTo>
                    <a:lnTo>
                      <a:pt x="1135" y="337"/>
                    </a:lnTo>
                    <a:lnTo>
                      <a:pt x="1126" y="337"/>
                    </a:lnTo>
                    <a:lnTo>
                      <a:pt x="1121" y="336"/>
                    </a:lnTo>
                    <a:lnTo>
                      <a:pt x="1115" y="334"/>
                    </a:lnTo>
                    <a:lnTo>
                      <a:pt x="1109" y="330"/>
                    </a:lnTo>
                    <a:lnTo>
                      <a:pt x="1101" y="323"/>
                    </a:lnTo>
                    <a:lnTo>
                      <a:pt x="1094" y="315"/>
                    </a:lnTo>
                    <a:lnTo>
                      <a:pt x="1087" y="307"/>
                    </a:lnTo>
                    <a:lnTo>
                      <a:pt x="1079" y="300"/>
                    </a:lnTo>
                    <a:lnTo>
                      <a:pt x="1075" y="298"/>
                    </a:lnTo>
                    <a:lnTo>
                      <a:pt x="1069" y="296"/>
                    </a:lnTo>
                    <a:lnTo>
                      <a:pt x="1062" y="294"/>
                    </a:lnTo>
                    <a:lnTo>
                      <a:pt x="1054" y="294"/>
                    </a:lnTo>
                    <a:lnTo>
                      <a:pt x="1054" y="294"/>
                    </a:lnTo>
                    <a:lnTo>
                      <a:pt x="1048" y="294"/>
                    </a:lnTo>
                    <a:lnTo>
                      <a:pt x="1042" y="297"/>
                    </a:lnTo>
                    <a:lnTo>
                      <a:pt x="1038" y="300"/>
                    </a:lnTo>
                    <a:lnTo>
                      <a:pt x="1033" y="302"/>
                    </a:lnTo>
                    <a:lnTo>
                      <a:pt x="1029" y="306"/>
                    </a:lnTo>
                    <a:lnTo>
                      <a:pt x="1024" y="309"/>
                    </a:lnTo>
                    <a:lnTo>
                      <a:pt x="1017" y="312"/>
                    </a:lnTo>
                    <a:lnTo>
                      <a:pt x="1010" y="312"/>
                    </a:lnTo>
                    <a:lnTo>
                      <a:pt x="1010" y="312"/>
                    </a:lnTo>
                    <a:lnTo>
                      <a:pt x="1003" y="312"/>
                    </a:lnTo>
                    <a:lnTo>
                      <a:pt x="996" y="310"/>
                    </a:lnTo>
                    <a:lnTo>
                      <a:pt x="990" y="307"/>
                    </a:lnTo>
                    <a:lnTo>
                      <a:pt x="985" y="305"/>
                    </a:lnTo>
                    <a:lnTo>
                      <a:pt x="980" y="300"/>
                    </a:lnTo>
                    <a:lnTo>
                      <a:pt x="976" y="294"/>
                    </a:lnTo>
                    <a:lnTo>
                      <a:pt x="973" y="289"/>
                    </a:lnTo>
                    <a:lnTo>
                      <a:pt x="973" y="283"/>
                    </a:lnTo>
                    <a:lnTo>
                      <a:pt x="973" y="283"/>
                    </a:lnTo>
                    <a:lnTo>
                      <a:pt x="975" y="274"/>
                    </a:lnTo>
                    <a:lnTo>
                      <a:pt x="977" y="266"/>
                    </a:lnTo>
                    <a:lnTo>
                      <a:pt x="981" y="259"/>
                    </a:lnTo>
                    <a:lnTo>
                      <a:pt x="986" y="252"/>
                    </a:lnTo>
                    <a:lnTo>
                      <a:pt x="991" y="245"/>
                    </a:lnTo>
                    <a:lnTo>
                      <a:pt x="995" y="237"/>
                    </a:lnTo>
                    <a:lnTo>
                      <a:pt x="998" y="229"/>
                    </a:lnTo>
                    <a:lnTo>
                      <a:pt x="999" y="221"/>
                    </a:lnTo>
                    <a:lnTo>
                      <a:pt x="999" y="221"/>
                    </a:lnTo>
                    <a:lnTo>
                      <a:pt x="999" y="215"/>
                    </a:lnTo>
                    <a:lnTo>
                      <a:pt x="996" y="210"/>
                    </a:lnTo>
                    <a:lnTo>
                      <a:pt x="992" y="203"/>
                    </a:lnTo>
                    <a:lnTo>
                      <a:pt x="986" y="194"/>
                    </a:lnTo>
                    <a:lnTo>
                      <a:pt x="985" y="190"/>
                    </a:lnTo>
                    <a:lnTo>
                      <a:pt x="984" y="183"/>
                    </a:lnTo>
                    <a:lnTo>
                      <a:pt x="984" y="183"/>
                    </a:lnTo>
                    <a:lnTo>
                      <a:pt x="985" y="179"/>
                    </a:lnTo>
                    <a:lnTo>
                      <a:pt x="986" y="176"/>
                    </a:lnTo>
                    <a:lnTo>
                      <a:pt x="992" y="170"/>
                    </a:lnTo>
                    <a:lnTo>
                      <a:pt x="998" y="164"/>
                    </a:lnTo>
                    <a:lnTo>
                      <a:pt x="1001" y="161"/>
                    </a:lnTo>
                    <a:lnTo>
                      <a:pt x="1002" y="157"/>
                    </a:lnTo>
                    <a:lnTo>
                      <a:pt x="1002" y="157"/>
                    </a:lnTo>
                    <a:lnTo>
                      <a:pt x="1011" y="130"/>
                    </a:lnTo>
                    <a:lnTo>
                      <a:pt x="1019" y="100"/>
                    </a:lnTo>
                    <a:lnTo>
                      <a:pt x="1023" y="85"/>
                    </a:lnTo>
                    <a:lnTo>
                      <a:pt x="1026" y="70"/>
                    </a:lnTo>
                    <a:lnTo>
                      <a:pt x="1028" y="55"/>
                    </a:lnTo>
                    <a:lnTo>
                      <a:pt x="1029" y="40"/>
                    </a:lnTo>
                    <a:lnTo>
                      <a:pt x="1029" y="40"/>
                    </a:lnTo>
                    <a:lnTo>
                      <a:pt x="1028" y="30"/>
                    </a:lnTo>
                    <a:lnTo>
                      <a:pt x="1026" y="22"/>
                    </a:lnTo>
                    <a:lnTo>
                      <a:pt x="1024" y="15"/>
                    </a:lnTo>
                    <a:lnTo>
                      <a:pt x="1021" y="9"/>
                    </a:lnTo>
                    <a:lnTo>
                      <a:pt x="1015" y="4"/>
                    </a:lnTo>
                    <a:lnTo>
                      <a:pt x="1008" y="2"/>
                    </a:lnTo>
                    <a:lnTo>
                      <a:pt x="999" y="1"/>
                    </a:lnTo>
                    <a:lnTo>
                      <a:pt x="987" y="0"/>
                    </a:lnTo>
                    <a:lnTo>
                      <a:pt x="987" y="0"/>
                    </a:lnTo>
                    <a:lnTo>
                      <a:pt x="979" y="0"/>
                    </a:lnTo>
                    <a:lnTo>
                      <a:pt x="971" y="1"/>
                    </a:lnTo>
                    <a:lnTo>
                      <a:pt x="963" y="3"/>
                    </a:lnTo>
                    <a:lnTo>
                      <a:pt x="956" y="6"/>
                    </a:lnTo>
                    <a:lnTo>
                      <a:pt x="944" y="11"/>
                    </a:lnTo>
                    <a:lnTo>
                      <a:pt x="932" y="21"/>
                    </a:lnTo>
                    <a:lnTo>
                      <a:pt x="922" y="30"/>
                    </a:lnTo>
                    <a:lnTo>
                      <a:pt x="911" y="40"/>
                    </a:lnTo>
                    <a:lnTo>
                      <a:pt x="893" y="62"/>
                    </a:lnTo>
                    <a:lnTo>
                      <a:pt x="893" y="62"/>
                    </a:lnTo>
                    <a:lnTo>
                      <a:pt x="866" y="62"/>
                    </a:lnTo>
                    <a:lnTo>
                      <a:pt x="866" y="62"/>
                    </a:lnTo>
                    <a:lnTo>
                      <a:pt x="866" y="62"/>
                    </a:lnTo>
                    <a:lnTo>
                      <a:pt x="854" y="68"/>
                    </a:lnTo>
                    <a:lnTo>
                      <a:pt x="843" y="73"/>
                    </a:lnTo>
                    <a:lnTo>
                      <a:pt x="833" y="80"/>
                    </a:lnTo>
                    <a:lnTo>
                      <a:pt x="824" y="87"/>
                    </a:lnTo>
                    <a:lnTo>
                      <a:pt x="816" y="94"/>
                    </a:lnTo>
                    <a:lnTo>
                      <a:pt x="808" y="102"/>
                    </a:lnTo>
                    <a:lnTo>
                      <a:pt x="794" y="119"/>
                    </a:lnTo>
                    <a:lnTo>
                      <a:pt x="780" y="137"/>
                    </a:lnTo>
                    <a:lnTo>
                      <a:pt x="765" y="154"/>
                    </a:lnTo>
                    <a:lnTo>
                      <a:pt x="757" y="163"/>
                    </a:lnTo>
                    <a:lnTo>
                      <a:pt x="748" y="171"/>
                    </a:lnTo>
                    <a:lnTo>
                      <a:pt x="739" y="179"/>
                    </a:lnTo>
                    <a:lnTo>
                      <a:pt x="727" y="186"/>
                    </a:lnTo>
                    <a:lnTo>
                      <a:pt x="727" y="186"/>
                    </a:lnTo>
                    <a:lnTo>
                      <a:pt x="723" y="190"/>
                    </a:lnTo>
                    <a:lnTo>
                      <a:pt x="718" y="193"/>
                    </a:lnTo>
                    <a:lnTo>
                      <a:pt x="708" y="197"/>
                    </a:lnTo>
                    <a:lnTo>
                      <a:pt x="695" y="200"/>
                    </a:lnTo>
                    <a:lnTo>
                      <a:pt x="683" y="201"/>
                    </a:lnTo>
                    <a:lnTo>
                      <a:pt x="672" y="203"/>
                    </a:lnTo>
                    <a:lnTo>
                      <a:pt x="660" y="207"/>
                    </a:lnTo>
                    <a:lnTo>
                      <a:pt x="650" y="210"/>
                    </a:lnTo>
                    <a:lnTo>
                      <a:pt x="647" y="213"/>
                    </a:lnTo>
                    <a:lnTo>
                      <a:pt x="642" y="216"/>
                    </a:lnTo>
                    <a:lnTo>
                      <a:pt x="642" y="216"/>
                    </a:lnTo>
                    <a:lnTo>
                      <a:pt x="622" y="238"/>
                    </a:lnTo>
                    <a:lnTo>
                      <a:pt x="612" y="248"/>
                    </a:lnTo>
                    <a:lnTo>
                      <a:pt x="601" y="259"/>
                    </a:lnTo>
                    <a:lnTo>
                      <a:pt x="588" y="268"/>
                    </a:lnTo>
                    <a:lnTo>
                      <a:pt x="581" y="273"/>
                    </a:lnTo>
                    <a:lnTo>
                      <a:pt x="574" y="276"/>
                    </a:lnTo>
                    <a:lnTo>
                      <a:pt x="566" y="278"/>
                    </a:lnTo>
                    <a:lnTo>
                      <a:pt x="558" y="281"/>
                    </a:lnTo>
                    <a:lnTo>
                      <a:pt x="549" y="282"/>
                    </a:lnTo>
                    <a:lnTo>
                      <a:pt x="540" y="283"/>
                    </a:lnTo>
                    <a:lnTo>
                      <a:pt x="540" y="283"/>
                    </a:lnTo>
                    <a:lnTo>
                      <a:pt x="529" y="283"/>
                    </a:lnTo>
                    <a:lnTo>
                      <a:pt x="520" y="284"/>
                    </a:lnTo>
                    <a:lnTo>
                      <a:pt x="503" y="287"/>
                    </a:lnTo>
                    <a:lnTo>
                      <a:pt x="488" y="293"/>
                    </a:lnTo>
                    <a:lnTo>
                      <a:pt x="473" y="299"/>
                    </a:lnTo>
                    <a:lnTo>
                      <a:pt x="458" y="305"/>
                    </a:lnTo>
                    <a:lnTo>
                      <a:pt x="444" y="310"/>
                    </a:lnTo>
                    <a:lnTo>
                      <a:pt x="428" y="314"/>
                    </a:lnTo>
                    <a:lnTo>
                      <a:pt x="420" y="315"/>
                    </a:lnTo>
                    <a:lnTo>
                      <a:pt x="411" y="315"/>
                    </a:lnTo>
                    <a:lnTo>
                      <a:pt x="411" y="315"/>
                    </a:lnTo>
                    <a:lnTo>
                      <a:pt x="403" y="315"/>
                    </a:lnTo>
                    <a:lnTo>
                      <a:pt x="396" y="314"/>
                    </a:lnTo>
                    <a:lnTo>
                      <a:pt x="389" y="312"/>
                    </a:lnTo>
                    <a:lnTo>
                      <a:pt x="383" y="309"/>
                    </a:lnTo>
                    <a:lnTo>
                      <a:pt x="373" y="302"/>
                    </a:lnTo>
                    <a:lnTo>
                      <a:pt x="362" y="296"/>
                    </a:lnTo>
                    <a:lnTo>
                      <a:pt x="353" y="287"/>
                    </a:lnTo>
                    <a:lnTo>
                      <a:pt x="343" y="282"/>
                    </a:lnTo>
                    <a:lnTo>
                      <a:pt x="337" y="278"/>
                    </a:lnTo>
                    <a:lnTo>
                      <a:pt x="332" y="277"/>
                    </a:lnTo>
                    <a:lnTo>
                      <a:pt x="326" y="276"/>
                    </a:lnTo>
                    <a:lnTo>
                      <a:pt x="319" y="275"/>
                    </a:lnTo>
                    <a:lnTo>
                      <a:pt x="319" y="275"/>
                    </a:lnTo>
                    <a:lnTo>
                      <a:pt x="307" y="276"/>
                    </a:lnTo>
                    <a:lnTo>
                      <a:pt x="297" y="278"/>
                    </a:lnTo>
                    <a:lnTo>
                      <a:pt x="286" y="281"/>
                    </a:lnTo>
                    <a:lnTo>
                      <a:pt x="276" y="284"/>
                    </a:lnTo>
                    <a:lnTo>
                      <a:pt x="258" y="291"/>
                    </a:lnTo>
                    <a:lnTo>
                      <a:pt x="248" y="293"/>
                    </a:lnTo>
                    <a:lnTo>
                      <a:pt x="238" y="294"/>
                    </a:lnTo>
                    <a:lnTo>
                      <a:pt x="238" y="294"/>
                    </a:lnTo>
                    <a:lnTo>
                      <a:pt x="95" y="294"/>
                    </a:lnTo>
                    <a:lnTo>
                      <a:pt x="95" y="294"/>
                    </a:lnTo>
                    <a:lnTo>
                      <a:pt x="80" y="296"/>
                    </a:lnTo>
                    <a:lnTo>
                      <a:pt x="68" y="298"/>
                    </a:lnTo>
                    <a:lnTo>
                      <a:pt x="56" y="304"/>
                    </a:lnTo>
                    <a:lnTo>
                      <a:pt x="47" y="309"/>
                    </a:lnTo>
                    <a:lnTo>
                      <a:pt x="38" y="316"/>
                    </a:lnTo>
                    <a:lnTo>
                      <a:pt x="31" y="324"/>
                    </a:lnTo>
                    <a:lnTo>
                      <a:pt x="24" y="334"/>
                    </a:lnTo>
                    <a:lnTo>
                      <a:pt x="18" y="342"/>
                    </a:lnTo>
                    <a:lnTo>
                      <a:pt x="18" y="342"/>
                    </a:lnTo>
                    <a:lnTo>
                      <a:pt x="15" y="340"/>
                    </a:lnTo>
                    <a:lnTo>
                      <a:pt x="13" y="339"/>
                    </a:lnTo>
                    <a:lnTo>
                      <a:pt x="13" y="338"/>
                    </a:lnTo>
                    <a:lnTo>
                      <a:pt x="10" y="337"/>
                    </a:lnTo>
                    <a:lnTo>
                      <a:pt x="10" y="337"/>
                    </a:lnTo>
                    <a:lnTo>
                      <a:pt x="7" y="344"/>
                    </a:lnTo>
                    <a:lnTo>
                      <a:pt x="5" y="350"/>
                    </a:lnTo>
                    <a:lnTo>
                      <a:pt x="1" y="358"/>
                    </a:lnTo>
                    <a:lnTo>
                      <a:pt x="0" y="367"/>
                    </a:lnTo>
                    <a:lnTo>
                      <a:pt x="1" y="371"/>
                    </a:lnTo>
                    <a:lnTo>
                      <a:pt x="1" y="376"/>
                    </a:lnTo>
                    <a:lnTo>
                      <a:pt x="3" y="381"/>
                    </a:lnTo>
                    <a:lnTo>
                      <a:pt x="6" y="385"/>
                    </a:lnTo>
                    <a:lnTo>
                      <a:pt x="10" y="389"/>
                    </a:lnTo>
                    <a:lnTo>
                      <a:pt x="15" y="392"/>
                    </a:lnTo>
                    <a:lnTo>
                      <a:pt x="15" y="392"/>
                    </a:lnTo>
                    <a:lnTo>
                      <a:pt x="25" y="397"/>
                    </a:lnTo>
                    <a:lnTo>
                      <a:pt x="32" y="399"/>
                    </a:lnTo>
                    <a:lnTo>
                      <a:pt x="39" y="400"/>
                    </a:lnTo>
                    <a:lnTo>
                      <a:pt x="41" y="400"/>
                    </a:lnTo>
                    <a:lnTo>
                      <a:pt x="44" y="401"/>
                    </a:lnTo>
                    <a:lnTo>
                      <a:pt x="54" y="407"/>
                    </a:lnTo>
                    <a:lnTo>
                      <a:pt x="54" y="407"/>
                    </a:lnTo>
                    <a:lnTo>
                      <a:pt x="63" y="412"/>
                    </a:lnTo>
                    <a:lnTo>
                      <a:pt x="70" y="414"/>
                    </a:lnTo>
                    <a:lnTo>
                      <a:pt x="80" y="418"/>
                    </a:lnTo>
                    <a:lnTo>
                      <a:pt x="83" y="420"/>
                    </a:lnTo>
                    <a:lnTo>
                      <a:pt x="83" y="423"/>
                    </a:lnTo>
                    <a:lnTo>
                      <a:pt x="79" y="429"/>
                    </a:lnTo>
                    <a:lnTo>
                      <a:pt x="72" y="437"/>
                    </a:lnTo>
                    <a:lnTo>
                      <a:pt x="72" y="437"/>
                    </a:lnTo>
                    <a:lnTo>
                      <a:pt x="69" y="442"/>
                    </a:lnTo>
                    <a:lnTo>
                      <a:pt x="67" y="447"/>
                    </a:lnTo>
                    <a:lnTo>
                      <a:pt x="66" y="452"/>
                    </a:lnTo>
                    <a:lnTo>
                      <a:pt x="66" y="458"/>
                    </a:lnTo>
                    <a:lnTo>
                      <a:pt x="67" y="461"/>
                    </a:lnTo>
                    <a:lnTo>
                      <a:pt x="69" y="466"/>
                    </a:lnTo>
                    <a:lnTo>
                      <a:pt x="71" y="468"/>
                    </a:lnTo>
                    <a:lnTo>
                      <a:pt x="75" y="472"/>
                    </a:lnTo>
                    <a:lnTo>
                      <a:pt x="78" y="473"/>
                    </a:lnTo>
                    <a:lnTo>
                      <a:pt x="83" y="474"/>
                    </a:lnTo>
                    <a:lnTo>
                      <a:pt x="87" y="474"/>
                    </a:lnTo>
                    <a:lnTo>
                      <a:pt x="93" y="474"/>
                    </a:lnTo>
                    <a:lnTo>
                      <a:pt x="99" y="472"/>
                    </a:lnTo>
                    <a:lnTo>
                      <a:pt x="105" y="469"/>
                    </a:lnTo>
                    <a:lnTo>
                      <a:pt x="110" y="465"/>
                    </a:lnTo>
                    <a:lnTo>
                      <a:pt x="117" y="459"/>
                    </a:lnTo>
                    <a:lnTo>
                      <a:pt x="117" y="459"/>
                    </a:lnTo>
                    <a:lnTo>
                      <a:pt x="128" y="449"/>
                    </a:lnTo>
                    <a:lnTo>
                      <a:pt x="137" y="441"/>
                    </a:lnTo>
                    <a:lnTo>
                      <a:pt x="144" y="436"/>
                    </a:lnTo>
                    <a:lnTo>
                      <a:pt x="152" y="435"/>
                    </a:lnTo>
                    <a:lnTo>
                      <a:pt x="154" y="435"/>
                    </a:lnTo>
                    <a:lnTo>
                      <a:pt x="158" y="436"/>
                    </a:lnTo>
                    <a:lnTo>
                      <a:pt x="163" y="441"/>
                    </a:lnTo>
                    <a:lnTo>
                      <a:pt x="168" y="446"/>
                    </a:lnTo>
                    <a:lnTo>
                      <a:pt x="173" y="454"/>
                    </a:lnTo>
                    <a:lnTo>
                      <a:pt x="173" y="454"/>
                    </a:lnTo>
                    <a:lnTo>
                      <a:pt x="183" y="472"/>
                    </a:lnTo>
                    <a:lnTo>
                      <a:pt x="187" y="477"/>
                    </a:lnTo>
                    <a:lnTo>
                      <a:pt x="192" y="481"/>
                    </a:lnTo>
                    <a:lnTo>
                      <a:pt x="198" y="483"/>
                    </a:lnTo>
                    <a:lnTo>
                      <a:pt x="202" y="482"/>
                    </a:lnTo>
                    <a:lnTo>
                      <a:pt x="207" y="480"/>
                    </a:lnTo>
                    <a:lnTo>
                      <a:pt x="213" y="474"/>
                    </a:lnTo>
                    <a:lnTo>
                      <a:pt x="213" y="474"/>
                    </a:lnTo>
                    <a:lnTo>
                      <a:pt x="219" y="469"/>
                    </a:lnTo>
                    <a:lnTo>
                      <a:pt x="223" y="467"/>
                    </a:lnTo>
                    <a:lnTo>
                      <a:pt x="228" y="467"/>
                    </a:lnTo>
                    <a:lnTo>
                      <a:pt x="234" y="468"/>
                    </a:lnTo>
                    <a:lnTo>
                      <a:pt x="238" y="473"/>
                    </a:lnTo>
                    <a:lnTo>
                      <a:pt x="243" y="480"/>
                    </a:lnTo>
                    <a:lnTo>
                      <a:pt x="248" y="488"/>
                    </a:lnTo>
                    <a:lnTo>
                      <a:pt x="253" y="499"/>
                    </a:lnTo>
                    <a:lnTo>
                      <a:pt x="253" y="499"/>
                    </a:lnTo>
                    <a:lnTo>
                      <a:pt x="265" y="519"/>
                    </a:lnTo>
                    <a:lnTo>
                      <a:pt x="269" y="528"/>
                    </a:lnTo>
                    <a:lnTo>
                      <a:pt x="271" y="536"/>
                    </a:lnTo>
                    <a:lnTo>
                      <a:pt x="274" y="543"/>
                    </a:lnTo>
                    <a:lnTo>
                      <a:pt x="274" y="550"/>
                    </a:lnTo>
                    <a:lnTo>
                      <a:pt x="274" y="557"/>
                    </a:lnTo>
                    <a:lnTo>
                      <a:pt x="271" y="562"/>
                    </a:lnTo>
                    <a:lnTo>
                      <a:pt x="271" y="562"/>
                    </a:lnTo>
                    <a:lnTo>
                      <a:pt x="269" y="566"/>
                    </a:lnTo>
                    <a:lnTo>
                      <a:pt x="269" y="569"/>
                    </a:lnTo>
                    <a:lnTo>
                      <a:pt x="271" y="572"/>
                    </a:lnTo>
                    <a:lnTo>
                      <a:pt x="275" y="575"/>
                    </a:lnTo>
                    <a:lnTo>
                      <a:pt x="284" y="582"/>
                    </a:lnTo>
                    <a:lnTo>
                      <a:pt x="298" y="591"/>
                    </a:lnTo>
                    <a:lnTo>
                      <a:pt x="298" y="591"/>
                    </a:lnTo>
                    <a:lnTo>
                      <a:pt x="309" y="602"/>
                    </a:lnTo>
                    <a:lnTo>
                      <a:pt x="314" y="606"/>
                    </a:lnTo>
                    <a:lnTo>
                      <a:pt x="316" y="611"/>
                    </a:lnTo>
                    <a:lnTo>
                      <a:pt x="316" y="614"/>
                    </a:lnTo>
                    <a:lnTo>
                      <a:pt x="315" y="618"/>
                    </a:lnTo>
                    <a:lnTo>
                      <a:pt x="312" y="621"/>
                    </a:lnTo>
                    <a:lnTo>
                      <a:pt x="305" y="625"/>
                    </a:lnTo>
                    <a:lnTo>
                      <a:pt x="305" y="625"/>
                    </a:lnTo>
                    <a:lnTo>
                      <a:pt x="297" y="627"/>
                    </a:lnTo>
                    <a:lnTo>
                      <a:pt x="292" y="630"/>
                    </a:lnTo>
                    <a:lnTo>
                      <a:pt x="289" y="634"/>
                    </a:lnTo>
                    <a:lnTo>
                      <a:pt x="289" y="638"/>
                    </a:lnTo>
                    <a:lnTo>
                      <a:pt x="289" y="643"/>
                    </a:lnTo>
                    <a:lnTo>
                      <a:pt x="292" y="649"/>
                    </a:lnTo>
                    <a:lnTo>
                      <a:pt x="297" y="655"/>
                    </a:lnTo>
                    <a:lnTo>
                      <a:pt x="305" y="660"/>
                    </a:lnTo>
                    <a:lnTo>
                      <a:pt x="305" y="660"/>
                    </a:lnTo>
                    <a:lnTo>
                      <a:pt x="315" y="673"/>
                    </a:lnTo>
                    <a:lnTo>
                      <a:pt x="323" y="683"/>
                    </a:lnTo>
                    <a:lnTo>
                      <a:pt x="330" y="693"/>
                    </a:lnTo>
                    <a:lnTo>
                      <a:pt x="335" y="697"/>
                    </a:lnTo>
                    <a:lnTo>
                      <a:pt x="342" y="702"/>
                    </a:lnTo>
                    <a:lnTo>
                      <a:pt x="342" y="702"/>
                    </a:lnTo>
                    <a:lnTo>
                      <a:pt x="349" y="706"/>
                    </a:lnTo>
                    <a:lnTo>
                      <a:pt x="354" y="712"/>
                    </a:lnTo>
                    <a:lnTo>
                      <a:pt x="359" y="718"/>
                    </a:lnTo>
                    <a:lnTo>
                      <a:pt x="364" y="724"/>
                    </a:lnTo>
                    <a:lnTo>
                      <a:pt x="369" y="734"/>
                    </a:lnTo>
                    <a:lnTo>
                      <a:pt x="370" y="739"/>
                    </a:lnTo>
                    <a:lnTo>
                      <a:pt x="370" y="739"/>
                    </a:lnTo>
                    <a:lnTo>
                      <a:pt x="389" y="726"/>
                    </a:lnTo>
                    <a:lnTo>
                      <a:pt x="406" y="714"/>
                    </a:lnTo>
                    <a:lnTo>
                      <a:pt x="423" y="704"/>
                    </a:lnTo>
                    <a:lnTo>
                      <a:pt x="439" y="696"/>
                    </a:lnTo>
                    <a:lnTo>
                      <a:pt x="454" y="690"/>
                    </a:lnTo>
                    <a:lnTo>
                      <a:pt x="467" y="684"/>
                    </a:lnTo>
                    <a:lnTo>
                      <a:pt x="479" y="682"/>
                    </a:lnTo>
                    <a:lnTo>
                      <a:pt x="489" y="680"/>
                    </a:lnTo>
                    <a:lnTo>
                      <a:pt x="489" y="680"/>
                    </a:lnTo>
                    <a:lnTo>
                      <a:pt x="514" y="678"/>
                    </a:lnTo>
                    <a:lnTo>
                      <a:pt x="537" y="675"/>
                    </a:lnTo>
                    <a:lnTo>
                      <a:pt x="574" y="671"/>
                    </a:lnTo>
                    <a:lnTo>
                      <a:pt x="602" y="665"/>
                    </a:lnTo>
                    <a:lnTo>
                      <a:pt x="621" y="659"/>
                    </a:lnTo>
                    <a:lnTo>
                      <a:pt x="635" y="653"/>
                    </a:lnTo>
                    <a:lnTo>
                      <a:pt x="645" y="649"/>
                    </a:lnTo>
                    <a:lnTo>
                      <a:pt x="654" y="646"/>
                    </a:lnTo>
                    <a:lnTo>
                      <a:pt x="657" y="645"/>
                    </a:lnTo>
                    <a:lnTo>
                      <a:pt x="660" y="646"/>
                    </a:lnTo>
                    <a:lnTo>
                      <a:pt x="660" y="646"/>
                    </a:lnTo>
                    <a:lnTo>
                      <a:pt x="677" y="649"/>
                    </a:lnTo>
                    <a:lnTo>
                      <a:pt x="692" y="652"/>
                    </a:lnTo>
                    <a:lnTo>
                      <a:pt x="706" y="658"/>
                    </a:lnTo>
                    <a:lnTo>
                      <a:pt x="723" y="665"/>
                    </a:lnTo>
                    <a:lnTo>
                      <a:pt x="739" y="673"/>
                    </a:lnTo>
                    <a:lnTo>
                      <a:pt x="754" y="682"/>
                    </a:lnTo>
                    <a:lnTo>
                      <a:pt x="770" y="693"/>
                    </a:lnTo>
                    <a:lnTo>
                      <a:pt x="786" y="704"/>
                    </a:lnTo>
                    <a:lnTo>
                      <a:pt x="817" y="729"/>
                    </a:lnTo>
                    <a:lnTo>
                      <a:pt x="848" y="757"/>
                    </a:lnTo>
                    <a:lnTo>
                      <a:pt x="879" y="786"/>
                    </a:lnTo>
                    <a:lnTo>
                      <a:pt x="910" y="817"/>
                    </a:lnTo>
                    <a:lnTo>
                      <a:pt x="968" y="877"/>
                    </a:lnTo>
                    <a:lnTo>
                      <a:pt x="1022" y="933"/>
                    </a:lnTo>
                    <a:lnTo>
                      <a:pt x="1046" y="956"/>
                    </a:lnTo>
                    <a:lnTo>
                      <a:pt x="1069" y="977"/>
                    </a:lnTo>
                    <a:lnTo>
                      <a:pt x="1079" y="985"/>
                    </a:lnTo>
                    <a:lnTo>
                      <a:pt x="1090" y="992"/>
                    </a:lnTo>
                    <a:lnTo>
                      <a:pt x="1100" y="997"/>
                    </a:lnTo>
                    <a:lnTo>
                      <a:pt x="1109" y="1002"/>
                    </a:lnTo>
                    <a:lnTo>
                      <a:pt x="1109" y="1002"/>
                    </a:lnTo>
                    <a:lnTo>
                      <a:pt x="1120" y="1006"/>
                    </a:lnTo>
                    <a:lnTo>
                      <a:pt x="1130" y="1008"/>
                    </a:lnTo>
                    <a:lnTo>
                      <a:pt x="1140" y="1007"/>
                    </a:lnTo>
                    <a:lnTo>
                      <a:pt x="1149" y="1006"/>
                    </a:lnTo>
                    <a:lnTo>
                      <a:pt x="1159" y="1002"/>
                    </a:lnTo>
                    <a:lnTo>
                      <a:pt x="1168" y="997"/>
                    </a:lnTo>
                    <a:lnTo>
                      <a:pt x="1187" y="986"/>
                    </a:lnTo>
                    <a:lnTo>
                      <a:pt x="1206" y="974"/>
                    </a:lnTo>
                    <a:lnTo>
                      <a:pt x="1225" y="963"/>
                    </a:lnTo>
                    <a:lnTo>
                      <a:pt x="1236" y="958"/>
                    </a:lnTo>
                    <a:lnTo>
                      <a:pt x="1247" y="955"/>
                    </a:lnTo>
                    <a:lnTo>
                      <a:pt x="1259" y="953"/>
                    </a:lnTo>
                    <a:lnTo>
                      <a:pt x="1270" y="951"/>
                    </a:lnTo>
                    <a:lnTo>
                      <a:pt x="1270" y="951"/>
                    </a:lnTo>
                    <a:lnTo>
                      <a:pt x="1314" y="951"/>
                    </a:lnTo>
                    <a:lnTo>
                      <a:pt x="1351" y="953"/>
                    </a:lnTo>
                    <a:lnTo>
                      <a:pt x="1403" y="955"/>
                    </a:lnTo>
                    <a:lnTo>
                      <a:pt x="1403" y="955"/>
                    </a:lnTo>
                    <a:lnTo>
                      <a:pt x="1418" y="922"/>
                    </a:lnTo>
                    <a:lnTo>
                      <a:pt x="1426" y="870"/>
                    </a:lnTo>
                    <a:lnTo>
                      <a:pt x="1439" y="851"/>
                    </a:lnTo>
                    <a:lnTo>
                      <a:pt x="1439" y="851"/>
                    </a:lnTo>
                    <a:lnTo>
                      <a:pt x="1439" y="851"/>
                    </a:lnTo>
                    <a:lnTo>
                      <a:pt x="1439" y="851"/>
                    </a:lnTo>
                    <a:lnTo>
                      <a:pt x="1439" y="850"/>
                    </a:lnTo>
                    <a:lnTo>
                      <a:pt x="1442" y="847"/>
                    </a:lnTo>
                    <a:lnTo>
                      <a:pt x="1444" y="842"/>
                    </a:lnTo>
                    <a:lnTo>
                      <a:pt x="1444" y="841"/>
                    </a:lnTo>
                    <a:lnTo>
                      <a:pt x="1443" y="841"/>
                    </a:lnTo>
                    <a:lnTo>
                      <a:pt x="1443" y="841"/>
                    </a:lnTo>
                    <a:lnTo>
                      <a:pt x="1443" y="84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5" name="Freeform 100"/>
              <p:cNvSpPr>
                <a:spLocks noChangeAspect="1"/>
              </p:cNvSpPr>
              <p:nvPr/>
            </p:nvSpPr>
            <p:spPr bwMode="auto">
              <a:xfrm>
                <a:off x="2763700" y="2850618"/>
                <a:ext cx="1428183" cy="1857761"/>
              </a:xfrm>
              <a:custGeom>
                <a:avLst/>
                <a:gdLst/>
                <a:ahLst/>
                <a:cxnLst>
                  <a:cxn ang="0">
                    <a:pos x="1756" y="1708"/>
                  </a:cxn>
                  <a:cxn ang="0">
                    <a:pos x="1782" y="1553"/>
                  </a:cxn>
                  <a:cxn ang="0">
                    <a:pos x="1704" y="1391"/>
                  </a:cxn>
                  <a:cxn ang="0">
                    <a:pos x="1649" y="1210"/>
                  </a:cxn>
                  <a:cxn ang="0">
                    <a:pos x="1613" y="918"/>
                  </a:cxn>
                  <a:cxn ang="0">
                    <a:pos x="1655" y="827"/>
                  </a:cxn>
                  <a:cxn ang="0">
                    <a:pos x="1586" y="721"/>
                  </a:cxn>
                  <a:cxn ang="0">
                    <a:pos x="1507" y="567"/>
                  </a:cxn>
                  <a:cxn ang="0">
                    <a:pos x="1537" y="377"/>
                  </a:cxn>
                  <a:cxn ang="0">
                    <a:pos x="1578" y="272"/>
                  </a:cxn>
                  <a:cxn ang="0">
                    <a:pos x="1467" y="217"/>
                  </a:cxn>
                  <a:cxn ang="0">
                    <a:pos x="1387" y="249"/>
                  </a:cxn>
                  <a:cxn ang="0">
                    <a:pos x="1484" y="433"/>
                  </a:cxn>
                  <a:cxn ang="0">
                    <a:pos x="1339" y="322"/>
                  </a:cxn>
                  <a:cxn ang="0">
                    <a:pos x="1372" y="73"/>
                  </a:cxn>
                  <a:cxn ang="0">
                    <a:pos x="1278" y="223"/>
                  </a:cxn>
                  <a:cxn ang="0">
                    <a:pos x="1241" y="456"/>
                  </a:cxn>
                  <a:cxn ang="0">
                    <a:pos x="1224" y="680"/>
                  </a:cxn>
                  <a:cxn ang="0">
                    <a:pos x="1382" y="811"/>
                  </a:cxn>
                  <a:cxn ang="0">
                    <a:pos x="1399" y="949"/>
                  </a:cxn>
                  <a:cxn ang="0">
                    <a:pos x="1326" y="853"/>
                  </a:cxn>
                  <a:cxn ang="0">
                    <a:pos x="1214" y="712"/>
                  </a:cxn>
                  <a:cxn ang="0">
                    <a:pos x="1116" y="960"/>
                  </a:cxn>
                  <a:cxn ang="0">
                    <a:pos x="925" y="1033"/>
                  </a:cxn>
                  <a:cxn ang="0">
                    <a:pos x="836" y="935"/>
                  </a:cxn>
                  <a:cxn ang="0">
                    <a:pos x="970" y="1007"/>
                  </a:cxn>
                  <a:cxn ang="0">
                    <a:pos x="1154" y="775"/>
                  </a:cxn>
                  <a:cxn ang="0">
                    <a:pos x="1193" y="398"/>
                  </a:cxn>
                  <a:cxn ang="0">
                    <a:pos x="1207" y="215"/>
                  </a:cxn>
                  <a:cxn ang="0">
                    <a:pos x="1211" y="48"/>
                  </a:cxn>
                  <a:cxn ang="0">
                    <a:pos x="1050" y="120"/>
                  </a:cxn>
                  <a:cxn ang="0">
                    <a:pos x="896" y="288"/>
                  </a:cxn>
                  <a:cxn ang="0">
                    <a:pos x="829" y="475"/>
                  </a:cxn>
                  <a:cxn ang="0">
                    <a:pos x="904" y="637"/>
                  </a:cxn>
                  <a:cxn ang="0">
                    <a:pos x="771" y="540"/>
                  </a:cxn>
                  <a:cxn ang="0">
                    <a:pos x="722" y="612"/>
                  </a:cxn>
                  <a:cxn ang="0">
                    <a:pos x="707" y="744"/>
                  </a:cxn>
                  <a:cxn ang="0">
                    <a:pos x="369" y="946"/>
                  </a:cxn>
                  <a:cxn ang="0">
                    <a:pos x="224" y="994"/>
                  </a:cxn>
                  <a:cxn ang="0">
                    <a:pos x="88" y="1177"/>
                  </a:cxn>
                  <a:cxn ang="0">
                    <a:pos x="15" y="1408"/>
                  </a:cxn>
                  <a:cxn ang="0">
                    <a:pos x="146" y="1590"/>
                  </a:cxn>
                  <a:cxn ang="0">
                    <a:pos x="153" y="1860"/>
                  </a:cxn>
                  <a:cxn ang="0">
                    <a:pos x="239" y="2018"/>
                  </a:cxn>
                  <a:cxn ang="0">
                    <a:pos x="101" y="2245"/>
                  </a:cxn>
                  <a:cxn ang="0">
                    <a:pos x="114" y="2393"/>
                  </a:cxn>
                  <a:cxn ang="0">
                    <a:pos x="223" y="2477"/>
                  </a:cxn>
                  <a:cxn ang="0">
                    <a:pos x="305" y="2606"/>
                  </a:cxn>
                  <a:cxn ang="0">
                    <a:pos x="456" y="2660"/>
                  </a:cxn>
                  <a:cxn ang="0">
                    <a:pos x="514" y="2508"/>
                  </a:cxn>
                  <a:cxn ang="0">
                    <a:pos x="582" y="2380"/>
                  </a:cxn>
                  <a:cxn ang="0">
                    <a:pos x="524" y="2356"/>
                  </a:cxn>
                  <a:cxn ang="0">
                    <a:pos x="611" y="2199"/>
                  </a:cxn>
                  <a:cxn ang="0">
                    <a:pos x="650" y="2273"/>
                  </a:cxn>
                  <a:cxn ang="0">
                    <a:pos x="863" y="2313"/>
                  </a:cxn>
                  <a:cxn ang="0">
                    <a:pos x="991" y="2166"/>
                  </a:cxn>
                  <a:cxn ang="0">
                    <a:pos x="1124" y="1985"/>
                  </a:cxn>
                  <a:cxn ang="0">
                    <a:pos x="1350" y="2010"/>
                  </a:cxn>
                  <a:cxn ang="0">
                    <a:pos x="1536" y="2027"/>
                  </a:cxn>
                  <a:cxn ang="0">
                    <a:pos x="1655" y="2018"/>
                  </a:cxn>
                  <a:cxn ang="0">
                    <a:pos x="1739" y="1914"/>
                  </a:cxn>
                </a:cxnLst>
                <a:rect l="0" t="0" r="r" b="b"/>
                <a:pathLst>
                  <a:path w="1803" h="2669">
                    <a:moveTo>
                      <a:pt x="1677" y="1810"/>
                    </a:moveTo>
                    <a:lnTo>
                      <a:pt x="1677" y="1810"/>
                    </a:lnTo>
                    <a:lnTo>
                      <a:pt x="1685" y="1807"/>
                    </a:lnTo>
                    <a:lnTo>
                      <a:pt x="1691" y="1806"/>
                    </a:lnTo>
                    <a:lnTo>
                      <a:pt x="1697" y="1805"/>
                    </a:lnTo>
                    <a:lnTo>
                      <a:pt x="1704" y="1802"/>
                    </a:lnTo>
                    <a:lnTo>
                      <a:pt x="1704" y="1802"/>
                    </a:lnTo>
                    <a:lnTo>
                      <a:pt x="1707" y="1798"/>
                    </a:lnTo>
                    <a:lnTo>
                      <a:pt x="1710" y="1795"/>
                    </a:lnTo>
                    <a:lnTo>
                      <a:pt x="1711" y="1789"/>
                    </a:lnTo>
                    <a:lnTo>
                      <a:pt x="1712" y="1783"/>
                    </a:lnTo>
                    <a:lnTo>
                      <a:pt x="1713" y="1771"/>
                    </a:lnTo>
                    <a:lnTo>
                      <a:pt x="1715" y="1758"/>
                    </a:lnTo>
                    <a:lnTo>
                      <a:pt x="1715" y="1758"/>
                    </a:lnTo>
                    <a:lnTo>
                      <a:pt x="1716" y="1752"/>
                    </a:lnTo>
                    <a:lnTo>
                      <a:pt x="1719" y="1748"/>
                    </a:lnTo>
                    <a:lnTo>
                      <a:pt x="1726" y="1738"/>
                    </a:lnTo>
                    <a:lnTo>
                      <a:pt x="1733" y="1731"/>
                    </a:lnTo>
                    <a:lnTo>
                      <a:pt x="1741" y="1725"/>
                    </a:lnTo>
                    <a:lnTo>
                      <a:pt x="1749" y="1717"/>
                    </a:lnTo>
                    <a:lnTo>
                      <a:pt x="1756" y="1708"/>
                    </a:lnTo>
                    <a:lnTo>
                      <a:pt x="1759" y="1704"/>
                    </a:lnTo>
                    <a:lnTo>
                      <a:pt x="1760" y="1699"/>
                    </a:lnTo>
                    <a:lnTo>
                      <a:pt x="1761" y="1693"/>
                    </a:lnTo>
                    <a:lnTo>
                      <a:pt x="1762" y="1688"/>
                    </a:lnTo>
                    <a:lnTo>
                      <a:pt x="1762" y="1688"/>
                    </a:lnTo>
                    <a:lnTo>
                      <a:pt x="1761" y="1676"/>
                    </a:lnTo>
                    <a:lnTo>
                      <a:pt x="1758" y="1666"/>
                    </a:lnTo>
                    <a:lnTo>
                      <a:pt x="1754" y="1657"/>
                    </a:lnTo>
                    <a:lnTo>
                      <a:pt x="1750" y="1649"/>
                    </a:lnTo>
                    <a:lnTo>
                      <a:pt x="1741" y="1634"/>
                    </a:lnTo>
                    <a:lnTo>
                      <a:pt x="1737" y="1626"/>
                    </a:lnTo>
                    <a:lnTo>
                      <a:pt x="1736" y="1619"/>
                    </a:lnTo>
                    <a:lnTo>
                      <a:pt x="1736" y="1619"/>
                    </a:lnTo>
                    <a:lnTo>
                      <a:pt x="1737" y="1607"/>
                    </a:lnTo>
                    <a:lnTo>
                      <a:pt x="1739" y="1598"/>
                    </a:lnTo>
                    <a:lnTo>
                      <a:pt x="1743" y="1590"/>
                    </a:lnTo>
                    <a:lnTo>
                      <a:pt x="1746" y="1583"/>
                    </a:lnTo>
                    <a:lnTo>
                      <a:pt x="1752" y="1577"/>
                    </a:lnTo>
                    <a:lnTo>
                      <a:pt x="1758" y="1573"/>
                    </a:lnTo>
                    <a:lnTo>
                      <a:pt x="1769" y="1562"/>
                    </a:lnTo>
                    <a:lnTo>
                      <a:pt x="1782" y="1553"/>
                    </a:lnTo>
                    <a:lnTo>
                      <a:pt x="1788" y="1547"/>
                    </a:lnTo>
                    <a:lnTo>
                      <a:pt x="1792" y="1542"/>
                    </a:lnTo>
                    <a:lnTo>
                      <a:pt x="1797" y="1534"/>
                    </a:lnTo>
                    <a:lnTo>
                      <a:pt x="1800" y="1525"/>
                    </a:lnTo>
                    <a:lnTo>
                      <a:pt x="1803" y="1515"/>
                    </a:lnTo>
                    <a:lnTo>
                      <a:pt x="1803" y="1504"/>
                    </a:lnTo>
                    <a:lnTo>
                      <a:pt x="1803" y="1504"/>
                    </a:lnTo>
                    <a:lnTo>
                      <a:pt x="1802" y="1483"/>
                    </a:lnTo>
                    <a:lnTo>
                      <a:pt x="1799" y="1465"/>
                    </a:lnTo>
                    <a:lnTo>
                      <a:pt x="1797" y="1447"/>
                    </a:lnTo>
                    <a:lnTo>
                      <a:pt x="1795" y="1430"/>
                    </a:lnTo>
                    <a:lnTo>
                      <a:pt x="1795" y="1430"/>
                    </a:lnTo>
                    <a:lnTo>
                      <a:pt x="1784" y="1430"/>
                    </a:lnTo>
                    <a:lnTo>
                      <a:pt x="1771" y="1428"/>
                    </a:lnTo>
                    <a:lnTo>
                      <a:pt x="1756" y="1423"/>
                    </a:lnTo>
                    <a:lnTo>
                      <a:pt x="1739" y="1418"/>
                    </a:lnTo>
                    <a:lnTo>
                      <a:pt x="1726" y="1412"/>
                    </a:lnTo>
                    <a:lnTo>
                      <a:pt x="1714" y="1405"/>
                    </a:lnTo>
                    <a:lnTo>
                      <a:pt x="1710" y="1400"/>
                    </a:lnTo>
                    <a:lnTo>
                      <a:pt x="1706" y="1395"/>
                    </a:lnTo>
                    <a:lnTo>
                      <a:pt x="1704" y="1391"/>
                    </a:lnTo>
                    <a:lnTo>
                      <a:pt x="1704" y="1386"/>
                    </a:lnTo>
                    <a:lnTo>
                      <a:pt x="1704" y="1386"/>
                    </a:lnTo>
                    <a:lnTo>
                      <a:pt x="1704" y="1382"/>
                    </a:lnTo>
                    <a:lnTo>
                      <a:pt x="1705" y="1377"/>
                    </a:lnTo>
                    <a:lnTo>
                      <a:pt x="1710" y="1369"/>
                    </a:lnTo>
                    <a:lnTo>
                      <a:pt x="1714" y="1362"/>
                    </a:lnTo>
                    <a:lnTo>
                      <a:pt x="1719" y="1357"/>
                    </a:lnTo>
                    <a:lnTo>
                      <a:pt x="1719" y="1357"/>
                    </a:lnTo>
                    <a:lnTo>
                      <a:pt x="1715" y="1287"/>
                    </a:lnTo>
                    <a:lnTo>
                      <a:pt x="1715" y="1287"/>
                    </a:lnTo>
                    <a:lnTo>
                      <a:pt x="1715" y="1287"/>
                    </a:lnTo>
                    <a:lnTo>
                      <a:pt x="1692" y="1273"/>
                    </a:lnTo>
                    <a:lnTo>
                      <a:pt x="1681" y="1267"/>
                    </a:lnTo>
                    <a:lnTo>
                      <a:pt x="1670" y="1259"/>
                    </a:lnTo>
                    <a:lnTo>
                      <a:pt x="1661" y="1249"/>
                    </a:lnTo>
                    <a:lnTo>
                      <a:pt x="1658" y="1244"/>
                    </a:lnTo>
                    <a:lnTo>
                      <a:pt x="1654" y="1238"/>
                    </a:lnTo>
                    <a:lnTo>
                      <a:pt x="1652" y="1232"/>
                    </a:lnTo>
                    <a:lnTo>
                      <a:pt x="1650" y="1225"/>
                    </a:lnTo>
                    <a:lnTo>
                      <a:pt x="1649" y="1218"/>
                    </a:lnTo>
                    <a:lnTo>
                      <a:pt x="1649" y="1210"/>
                    </a:lnTo>
                    <a:lnTo>
                      <a:pt x="1649" y="1210"/>
                    </a:lnTo>
                    <a:lnTo>
                      <a:pt x="1649" y="1111"/>
                    </a:lnTo>
                    <a:lnTo>
                      <a:pt x="1649" y="1111"/>
                    </a:lnTo>
                    <a:lnTo>
                      <a:pt x="1647" y="1100"/>
                    </a:lnTo>
                    <a:lnTo>
                      <a:pt x="1645" y="1091"/>
                    </a:lnTo>
                    <a:lnTo>
                      <a:pt x="1643" y="1085"/>
                    </a:lnTo>
                    <a:lnTo>
                      <a:pt x="1638" y="1080"/>
                    </a:lnTo>
                    <a:lnTo>
                      <a:pt x="1628" y="1072"/>
                    </a:lnTo>
                    <a:lnTo>
                      <a:pt x="1622" y="1066"/>
                    </a:lnTo>
                    <a:lnTo>
                      <a:pt x="1615" y="1059"/>
                    </a:lnTo>
                    <a:lnTo>
                      <a:pt x="1615" y="1059"/>
                    </a:lnTo>
                    <a:lnTo>
                      <a:pt x="1612" y="1050"/>
                    </a:lnTo>
                    <a:lnTo>
                      <a:pt x="1608" y="1034"/>
                    </a:lnTo>
                    <a:lnTo>
                      <a:pt x="1600" y="992"/>
                    </a:lnTo>
                    <a:lnTo>
                      <a:pt x="1590" y="935"/>
                    </a:lnTo>
                    <a:lnTo>
                      <a:pt x="1590" y="935"/>
                    </a:lnTo>
                    <a:lnTo>
                      <a:pt x="1590" y="929"/>
                    </a:lnTo>
                    <a:lnTo>
                      <a:pt x="1593" y="925"/>
                    </a:lnTo>
                    <a:lnTo>
                      <a:pt x="1597" y="921"/>
                    </a:lnTo>
                    <a:lnTo>
                      <a:pt x="1603" y="920"/>
                    </a:lnTo>
                    <a:lnTo>
                      <a:pt x="1613" y="918"/>
                    </a:lnTo>
                    <a:lnTo>
                      <a:pt x="1623" y="916"/>
                    </a:lnTo>
                    <a:lnTo>
                      <a:pt x="1623" y="916"/>
                    </a:lnTo>
                    <a:lnTo>
                      <a:pt x="1628" y="911"/>
                    </a:lnTo>
                    <a:lnTo>
                      <a:pt x="1634" y="905"/>
                    </a:lnTo>
                    <a:lnTo>
                      <a:pt x="1637" y="900"/>
                    </a:lnTo>
                    <a:lnTo>
                      <a:pt x="1642" y="893"/>
                    </a:lnTo>
                    <a:lnTo>
                      <a:pt x="1644" y="885"/>
                    </a:lnTo>
                    <a:lnTo>
                      <a:pt x="1646" y="878"/>
                    </a:lnTo>
                    <a:lnTo>
                      <a:pt x="1647" y="871"/>
                    </a:lnTo>
                    <a:lnTo>
                      <a:pt x="1649" y="865"/>
                    </a:lnTo>
                    <a:lnTo>
                      <a:pt x="1649" y="865"/>
                    </a:lnTo>
                    <a:lnTo>
                      <a:pt x="1652" y="865"/>
                    </a:lnTo>
                    <a:lnTo>
                      <a:pt x="1649" y="857"/>
                    </a:lnTo>
                    <a:lnTo>
                      <a:pt x="1649" y="857"/>
                    </a:lnTo>
                    <a:lnTo>
                      <a:pt x="1649" y="857"/>
                    </a:lnTo>
                    <a:lnTo>
                      <a:pt x="1647" y="851"/>
                    </a:lnTo>
                    <a:lnTo>
                      <a:pt x="1646" y="845"/>
                    </a:lnTo>
                    <a:lnTo>
                      <a:pt x="1645" y="835"/>
                    </a:lnTo>
                    <a:lnTo>
                      <a:pt x="1645" y="835"/>
                    </a:lnTo>
                    <a:lnTo>
                      <a:pt x="1651" y="832"/>
                    </a:lnTo>
                    <a:lnTo>
                      <a:pt x="1655" y="827"/>
                    </a:lnTo>
                    <a:lnTo>
                      <a:pt x="1659" y="822"/>
                    </a:lnTo>
                    <a:lnTo>
                      <a:pt x="1661" y="818"/>
                    </a:lnTo>
                    <a:lnTo>
                      <a:pt x="1662" y="812"/>
                    </a:lnTo>
                    <a:lnTo>
                      <a:pt x="1662" y="806"/>
                    </a:lnTo>
                    <a:lnTo>
                      <a:pt x="1663" y="791"/>
                    </a:lnTo>
                    <a:lnTo>
                      <a:pt x="1663" y="791"/>
                    </a:lnTo>
                    <a:lnTo>
                      <a:pt x="1662" y="783"/>
                    </a:lnTo>
                    <a:lnTo>
                      <a:pt x="1661" y="776"/>
                    </a:lnTo>
                    <a:lnTo>
                      <a:pt x="1660" y="771"/>
                    </a:lnTo>
                    <a:lnTo>
                      <a:pt x="1658" y="765"/>
                    </a:lnTo>
                    <a:lnTo>
                      <a:pt x="1652" y="755"/>
                    </a:lnTo>
                    <a:lnTo>
                      <a:pt x="1645" y="746"/>
                    </a:lnTo>
                    <a:lnTo>
                      <a:pt x="1629" y="733"/>
                    </a:lnTo>
                    <a:lnTo>
                      <a:pt x="1622" y="726"/>
                    </a:lnTo>
                    <a:lnTo>
                      <a:pt x="1615" y="718"/>
                    </a:lnTo>
                    <a:lnTo>
                      <a:pt x="1615" y="718"/>
                    </a:lnTo>
                    <a:lnTo>
                      <a:pt x="1609" y="717"/>
                    </a:lnTo>
                    <a:lnTo>
                      <a:pt x="1605" y="719"/>
                    </a:lnTo>
                    <a:lnTo>
                      <a:pt x="1598" y="720"/>
                    </a:lnTo>
                    <a:lnTo>
                      <a:pt x="1593" y="721"/>
                    </a:lnTo>
                    <a:lnTo>
                      <a:pt x="1586" y="721"/>
                    </a:lnTo>
                    <a:lnTo>
                      <a:pt x="1586" y="721"/>
                    </a:lnTo>
                    <a:lnTo>
                      <a:pt x="1578" y="721"/>
                    </a:lnTo>
                    <a:lnTo>
                      <a:pt x="1571" y="719"/>
                    </a:lnTo>
                    <a:lnTo>
                      <a:pt x="1563" y="715"/>
                    </a:lnTo>
                    <a:lnTo>
                      <a:pt x="1554" y="711"/>
                    </a:lnTo>
                    <a:lnTo>
                      <a:pt x="1546" y="706"/>
                    </a:lnTo>
                    <a:lnTo>
                      <a:pt x="1537" y="699"/>
                    </a:lnTo>
                    <a:lnTo>
                      <a:pt x="1521" y="685"/>
                    </a:lnTo>
                    <a:lnTo>
                      <a:pt x="1506" y="671"/>
                    </a:lnTo>
                    <a:lnTo>
                      <a:pt x="1500" y="661"/>
                    </a:lnTo>
                    <a:lnTo>
                      <a:pt x="1494" y="653"/>
                    </a:lnTo>
                    <a:lnTo>
                      <a:pt x="1490" y="645"/>
                    </a:lnTo>
                    <a:lnTo>
                      <a:pt x="1486" y="637"/>
                    </a:lnTo>
                    <a:lnTo>
                      <a:pt x="1484" y="630"/>
                    </a:lnTo>
                    <a:lnTo>
                      <a:pt x="1483" y="622"/>
                    </a:lnTo>
                    <a:lnTo>
                      <a:pt x="1483" y="622"/>
                    </a:lnTo>
                    <a:lnTo>
                      <a:pt x="1484" y="607"/>
                    </a:lnTo>
                    <a:lnTo>
                      <a:pt x="1487" y="593"/>
                    </a:lnTo>
                    <a:lnTo>
                      <a:pt x="1492" y="583"/>
                    </a:lnTo>
                    <a:lnTo>
                      <a:pt x="1499" y="574"/>
                    </a:lnTo>
                    <a:lnTo>
                      <a:pt x="1507" y="567"/>
                    </a:lnTo>
                    <a:lnTo>
                      <a:pt x="1515" y="561"/>
                    </a:lnTo>
                    <a:lnTo>
                      <a:pt x="1535" y="551"/>
                    </a:lnTo>
                    <a:lnTo>
                      <a:pt x="1553" y="539"/>
                    </a:lnTo>
                    <a:lnTo>
                      <a:pt x="1562" y="534"/>
                    </a:lnTo>
                    <a:lnTo>
                      <a:pt x="1570" y="526"/>
                    </a:lnTo>
                    <a:lnTo>
                      <a:pt x="1576" y="516"/>
                    </a:lnTo>
                    <a:lnTo>
                      <a:pt x="1582" y="506"/>
                    </a:lnTo>
                    <a:lnTo>
                      <a:pt x="1585" y="492"/>
                    </a:lnTo>
                    <a:lnTo>
                      <a:pt x="1586" y="476"/>
                    </a:lnTo>
                    <a:lnTo>
                      <a:pt x="1586" y="476"/>
                    </a:lnTo>
                    <a:lnTo>
                      <a:pt x="1585" y="466"/>
                    </a:lnTo>
                    <a:lnTo>
                      <a:pt x="1584" y="455"/>
                    </a:lnTo>
                    <a:lnTo>
                      <a:pt x="1581" y="446"/>
                    </a:lnTo>
                    <a:lnTo>
                      <a:pt x="1578" y="438"/>
                    </a:lnTo>
                    <a:lnTo>
                      <a:pt x="1574" y="431"/>
                    </a:lnTo>
                    <a:lnTo>
                      <a:pt x="1570" y="423"/>
                    </a:lnTo>
                    <a:lnTo>
                      <a:pt x="1560" y="410"/>
                    </a:lnTo>
                    <a:lnTo>
                      <a:pt x="1551" y="399"/>
                    </a:lnTo>
                    <a:lnTo>
                      <a:pt x="1543" y="387"/>
                    </a:lnTo>
                    <a:lnTo>
                      <a:pt x="1539" y="383"/>
                    </a:lnTo>
                    <a:lnTo>
                      <a:pt x="1537" y="377"/>
                    </a:lnTo>
                    <a:lnTo>
                      <a:pt x="1536" y="371"/>
                    </a:lnTo>
                    <a:lnTo>
                      <a:pt x="1535" y="366"/>
                    </a:lnTo>
                    <a:lnTo>
                      <a:pt x="1535" y="366"/>
                    </a:lnTo>
                    <a:lnTo>
                      <a:pt x="1536" y="359"/>
                    </a:lnTo>
                    <a:lnTo>
                      <a:pt x="1537" y="354"/>
                    </a:lnTo>
                    <a:lnTo>
                      <a:pt x="1540" y="351"/>
                    </a:lnTo>
                    <a:lnTo>
                      <a:pt x="1544" y="347"/>
                    </a:lnTo>
                    <a:lnTo>
                      <a:pt x="1553" y="344"/>
                    </a:lnTo>
                    <a:lnTo>
                      <a:pt x="1563" y="339"/>
                    </a:lnTo>
                    <a:lnTo>
                      <a:pt x="1568" y="337"/>
                    </a:lnTo>
                    <a:lnTo>
                      <a:pt x="1573" y="335"/>
                    </a:lnTo>
                    <a:lnTo>
                      <a:pt x="1577" y="331"/>
                    </a:lnTo>
                    <a:lnTo>
                      <a:pt x="1581" y="326"/>
                    </a:lnTo>
                    <a:lnTo>
                      <a:pt x="1584" y="320"/>
                    </a:lnTo>
                    <a:lnTo>
                      <a:pt x="1586" y="313"/>
                    </a:lnTo>
                    <a:lnTo>
                      <a:pt x="1586" y="303"/>
                    </a:lnTo>
                    <a:lnTo>
                      <a:pt x="1586" y="292"/>
                    </a:lnTo>
                    <a:lnTo>
                      <a:pt x="1586" y="292"/>
                    </a:lnTo>
                    <a:lnTo>
                      <a:pt x="1584" y="284"/>
                    </a:lnTo>
                    <a:lnTo>
                      <a:pt x="1582" y="278"/>
                    </a:lnTo>
                    <a:lnTo>
                      <a:pt x="1578" y="272"/>
                    </a:lnTo>
                    <a:lnTo>
                      <a:pt x="1574" y="269"/>
                    </a:lnTo>
                    <a:lnTo>
                      <a:pt x="1568" y="265"/>
                    </a:lnTo>
                    <a:lnTo>
                      <a:pt x="1562" y="262"/>
                    </a:lnTo>
                    <a:lnTo>
                      <a:pt x="1550" y="257"/>
                    </a:lnTo>
                    <a:lnTo>
                      <a:pt x="1537" y="253"/>
                    </a:lnTo>
                    <a:lnTo>
                      <a:pt x="1531" y="251"/>
                    </a:lnTo>
                    <a:lnTo>
                      <a:pt x="1527" y="247"/>
                    </a:lnTo>
                    <a:lnTo>
                      <a:pt x="1522" y="244"/>
                    </a:lnTo>
                    <a:lnTo>
                      <a:pt x="1519" y="239"/>
                    </a:lnTo>
                    <a:lnTo>
                      <a:pt x="1516" y="233"/>
                    </a:lnTo>
                    <a:lnTo>
                      <a:pt x="1516" y="226"/>
                    </a:lnTo>
                    <a:lnTo>
                      <a:pt x="1516" y="226"/>
                    </a:lnTo>
                    <a:lnTo>
                      <a:pt x="1515" y="213"/>
                    </a:lnTo>
                    <a:lnTo>
                      <a:pt x="1516" y="207"/>
                    </a:lnTo>
                    <a:lnTo>
                      <a:pt x="1520" y="200"/>
                    </a:lnTo>
                    <a:lnTo>
                      <a:pt x="1520" y="200"/>
                    </a:lnTo>
                    <a:lnTo>
                      <a:pt x="1502" y="203"/>
                    </a:lnTo>
                    <a:lnTo>
                      <a:pt x="1485" y="207"/>
                    </a:lnTo>
                    <a:lnTo>
                      <a:pt x="1478" y="210"/>
                    </a:lnTo>
                    <a:lnTo>
                      <a:pt x="1471" y="213"/>
                    </a:lnTo>
                    <a:lnTo>
                      <a:pt x="1467" y="217"/>
                    </a:lnTo>
                    <a:lnTo>
                      <a:pt x="1464" y="223"/>
                    </a:lnTo>
                    <a:lnTo>
                      <a:pt x="1464" y="223"/>
                    </a:lnTo>
                    <a:lnTo>
                      <a:pt x="1476" y="234"/>
                    </a:lnTo>
                    <a:lnTo>
                      <a:pt x="1484" y="245"/>
                    </a:lnTo>
                    <a:lnTo>
                      <a:pt x="1490" y="254"/>
                    </a:lnTo>
                    <a:lnTo>
                      <a:pt x="1492" y="261"/>
                    </a:lnTo>
                    <a:lnTo>
                      <a:pt x="1493" y="268"/>
                    </a:lnTo>
                    <a:lnTo>
                      <a:pt x="1492" y="271"/>
                    </a:lnTo>
                    <a:lnTo>
                      <a:pt x="1490" y="274"/>
                    </a:lnTo>
                    <a:lnTo>
                      <a:pt x="1484" y="275"/>
                    </a:lnTo>
                    <a:lnTo>
                      <a:pt x="1478" y="275"/>
                    </a:lnTo>
                    <a:lnTo>
                      <a:pt x="1470" y="272"/>
                    </a:lnTo>
                    <a:lnTo>
                      <a:pt x="1461" y="269"/>
                    </a:lnTo>
                    <a:lnTo>
                      <a:pt x="1451" y="264"/>
                    </a:lnTo>
                    <a:lnTo>
                      <a:pt x="1439" y="257"/>
                    </a:lnTo>
                    <a:lnTo>
                      <a:pt x="1428" y="249"/>
                    </a:lnTo>
                    <a:lnTo>
                      <a:pt x="1415" y="240"/>
                    </a:lnTo>
                    <a:lnTo>
                      <a:pt x="1402" y="230"/>
                    </a:lnTo>
                    <a:lnTo>
                      <a:pt x="1402" y="230"/>
                    </a:lnTo>
                    <a:lnTo>
                      <a:pt x="1395" y="239"/>
                    </a:lnTo>
                    <a:lnTo>
                      <a:pt x="1387" y="249"/>
                    </a:lnTo>
                    <a:lnTo>
                      <a:pt x="1383" y="255"/>
                    </a:lnTo>
                    <a:lnTo>
                      <a:pt x="1379" y="262"/>
                    </a:lnTo>
                    <a:lnTo>
                      <a:pt x="1377" y="269"/>
                    </a:lnTo>
                    <a:lnTo>
                      <a:pt x="1376" y="276"/>
                    </a:lnTo>
                    <a:lnTo>
                      <a:pt x="1376" y="284"/>
                    </a:lnTo>
                    <a:lnTo>
                      <a:pt x="1379" y="292"/>
                    </a:lnTo>
                    <a:lnTo>
                      <a:pt x="1384" y="301"/>
                    </a:lnTo>
                    <a:lnTo>
                      <a:pt x="1391" y="310"/>
                    </a:lnTo>
                    <a:lnTo>
                      <a:pt x="1401" y="320"/>
                    </a:lnTo>
                    <a:lnTo>
                      <a:pt x="1415" y="329"/>
                    </a:lnTo>
                    <a:lnTo>
                      <a:pt x="1432" y="339"/>
                    </a:lnTo>
                    <a:lnTo>
                      <a:pt x="1454" y="351"/>
                    </a:lnTo>
                    <a:lnTo>
                      <a:pt x="1454" y="351"/>
                    </a:lnTo>
                    <a:lnTo>
                      <a:pt x="1462" y="362"/>
                    </a:lnTo>
                    <a:lnTo>
                      <a:pt x="1469" y="375"/>
                    </a:lnTo>
                    <a:lnTo>
                      <a:pt x="1477" y="390"/>
                    </a:lnTo>
                    <a:lnTo>
                      <a:pt x="1483" y="405"/>
                    </a:lnTo>
                    <a:lnTo>
                      <a:pt x="1485" y="413"/>
                    </a:lnTo>
                    <a:lnTo>
                      <a:pt x="1486" y="420"/>
                    </a:lnTo>
                    <a:lnTo>
                      <a:pt x="1486" y="427"/>
                    </a:lnTo>
                    <a:lnTo>
                      <a:pt x="1484" y="433"/>
                    </a:lnTo>
                    <a:lnTo>
                      <a:pt x="1482" y="438"/>
                    </a:lnTo>
                    <a:lnTo>
                      <a:pt x="1476" y="443"/>
                    </a:lnTo>
                    <a:lnTo>
                      <a:pt x="1476" y="443"/>
                    </a:lnTo>
                    <a:lnTo>
                      <a:pt x="1468" y="437"/>
                    </a:lnTo>
                    <a:lnTo>
                      <a:pt x="1462" y="430"/>
                    </a:lnTo>
                    <a:lnTo>
                      <a:pt x="1456" y="423"/>
                    </a:lnTo>
                    <a:lnTo>
                      <a:pt x="1452" y="414"/>
                    </a:lnTo>
                    <a:lnTo>
                      <a:pt x="1441" y="396"/>
                    </a:lnTo>
                    <a:lnTo>
                      <a:pt x="1436" y="387"/>
                    </a:lnTo>
                    <a:lnTo>
                      <a:pt x="1428" y="379"/>
                    </a:lnTo>
                    <a:lnTo>
                      <a:pt x="1428" y="379"/>
                    </a:lnTo>
                    <a:lnTo>
                      <a:pt x="1418" y="379"/>
                    </a:lnTo>
                    <a:lnTo>
                      <a:pt x="1409" y="378"/>
                    </a:lnTo>
                    <a:lnTo>
                      <a:pt x="1401" y="375"/>
                    </a:lnTo>
                    <a:lnTo>
                      <a:pt x="1392" y="372"/>
                    </a:lnTo>
                    <a:lnTo>
                      <a:pt x="1385" y="368"/>
                    </a:lnTo>
                    <a:lnTo>
                      <a:pt x="1377" y="363"/>
                    </a:lnTo>
                    <a:lnTo>
                      <a:pt x="1364" y="354"/>
                    </a:lnTo>
                    <a:lnTo>
                      <a:pt x="1354" y="343"/>
                    </a:lnTo>
                    <a:lnTo>
                      <a:pt x="1345" y="332"/>
                    </a:lnTo>
                    <a:lnTo>
                      <a:pt x="1339" y="322"/>
                    </a:lnTo>
                    <a:lnTo>
                      <a:pt x="1336" y="314"/>
                    </a:lnTo>
                    <a:lnTo>
                      <a:pt x="1336" y="314"/>
                    </a:lnTo>
                    <a:lnTo>
                      <a:pt x="1336" y="303"/>
                    </a:lnTo>
                    <a:lnTo>
                      <a:pt x="1337" y="294"/>
                    </a:lnTo>
                    <a:lnTo>
                      <a:pt x="1339" y="276"/>
                    </a:lnTo>
                    <a:lnTo>
                      <a:pt x="1344" y="260"/>
                    </a:lnTo>
                    <a:lnTo>
                      <a:pt x="1350" y="244"/>
                    </a:lnTo>
                    <a:lnTo>
                      <a:pt x="1357" y="229"/>
                    </a:lnTo>
                    <a:lnTo>
                      <a:pt x="1365" y="214"/>
                    </a:lnTo>
                    <a:lnTo>
                      <a:pt x="1372" y="198"/>
                    </a:lnTo>
                    <a:lnTo>
                      <a:pt x="1380" y="181"/>
                    </a:lnTo>
                    <a:lnTo>
                      <a:pt x="1380" y="181"/>
                    </a:lnTo>
                    <a:lnTo>
                      <a:pt x="1382" y="173"/>
                    </a:lnTo>
                    <a:lnTo>
                      <a:pt x="1384" y="152"/>
                    </a:lnTo>
                    <a:lnTo>
                      <a:pt x="1385" y="135"/>
                    </a:lnTo>
                    <a:lnTo>
                      <a:pt x="1385" y="118"/>
                    </a:lnTo>
                    <a:lnTo>
                      <a:pt x="1384" y="99"/>
                    </a:lnTo>
                    <a:lnTo>
                      <a:pt x="1380" y="79"/>
                    </a:lnTo>
                    <a:lnTo>
                      <a:pt x="1380" y="79"/>
                    </a:lnTo>
                    <a:lnTo>
                      <a:pt x="1376" y="76"/>
                    </a:lnTo>
                    <a:lnTo>
                      <a:pt x="1372" y="73"/>
                    </a:lnTo>
                    <a:lnTo>
                      <a:pt x="1369" y="73"/>
                    </a:lnTo>
                    <a:lnTo>
                      <a:pt x="1365" y="73"/>
                    </a:lnTo>
                    <a:lnTo>
                      <a:pt x="1363" y="74"/>
                    </a:lnTo>
                    <a:lnTo>
                      <a:pt x="1360" y="77"/>
                    </a:lnTo>
                    <a:lnTo>
                      <a:pt x="1356" y="84"/>
                    </a:lnTo>
                    <a:lnTo>
                      <a:pt x="1353" y="93"/>
                    </a:lnTo>
                    <a:lnTo>
                      <a:pt x="1350" y="104"/>
                    </a:lnTo>
                    <a:lnTo>
                      <a:pt x="1346" y="132"/>
                    </a:lnTo>
                    <a:lnTo>
                      <a:pt x="1342" y="162"/>
                    </a:lnTo>
                    <a:lnTo>
                      <a:pt x="1340" y="176"/>
                    </a:lnTo>
                    <a:lnTo>
                      <a:pt x="1338" y="187"/>
                    </a:lnTo>
                    <a:lnTo>
                      <a:pt x="1334" y="198"/>
                    </a:lnTo>
                    <a:lnTo>
                      <a:pt x="1330" y="206"/>
                    </a:lnTo>
                    <a:lnTo>
                      <a:pt x="1327" y="208"/>
                    </a:lnTo>
                    <a:lnTo>
                      <a:pt x="1325" y="210"/>
                    </a:lnTo>
                    <a:lnTo>
                      <a:pt x="1322" y="211"/>
                    </a:lnTo>
                    <a:lnTo>
                      <a:pt x="1318" y="211"/>
                    </a:lnTo>
                    <a:lnTo>
                      <a:pt x="1318" y="211"/>
                    </a:lnTo>
                    <a:lnTo>
                      <a:pt x="1303" y="215"/>
                    </a:lnTo>
                    <a:lnTo>
                      <a:pt x="1290" y="218"/>
                    </a:lnTo>
                    <a:lnTo>
                      <a:pt x="1278" y="223"/>
                    </a:lnTo>
                    <a:lnTo>
                      <a:pt x="1269" y="226"/>
                    </a:lnTo>
                    <a:lnTo>
                      <a:pt x="1261" y="231"/>
                    </a:lnTo>
                    <a:lnTo>
                      <a:pt x="1254" y="237"/>
                    </a:lnTo>
                    <a:lnTo>
                      <a:pt x="1248" y="241"/>
                    </a:lnTo>
                    <a:lnTo>
                      <a:pt x="1242" y="246"/>
                    </a:lnTo>
                    <a:lnTo>
                      <a:pt x="1239" y="252"/>
                    </a:lnTo>
                    <a:lnTo>
                      <a:pt x="1235" y="257"/>
                    </a:lnTo>
                    <a:lnTo>
                      <a:pt x="1232" y="269"/>
                    </a:lnTo>
                    <a:lnTo>
                      <a:pt x="1229" y="283"/>
                    </a:lnTo>
                    <a:lnTo>
                      <a:pt x="1226" y="295"/>
                    </a:lnTo>
                    <a:lnTo>
                      <a:pt x="1226" y="295"/>
                    </a:lnTo>
                    <a:lnTo>
                      <a:pt x="1224" y="308"/>
                    </a:lnTo>
                    <a:lnTo>
                      <a:pt x="1224" y="321"/>
                    </a:lnTo>
                    <a:lnTo>
                      <a:pt x="1225" y="333"/>
                    </a:lnTo>
                    <a:lnTo>
                      <a:pt x="1226" y="347"/>
                    </a:lnTo>
                    <a:lnTo>
                      <a:pt x="1232" y="375"/>
                    </a:lnTo>
                    <a:lnTo>
                      <a:pt x="1238" y="401"/>
                    </a:lnTo>
                    <a:lnTo>
                      <a:pt x="1242" y="425"/>
                    </a:lnTo>
                    <a:lnTo>
                      <a:pt x="1243" y="437"/>
                    </a:lnTo>
                    <a:lnTo>
                      <a:pt x="1242" y="447"/>
                    </a:lnTo>
                    <a:lnTo>
                      <a:pt x="1241" y="456"/>
                    </a:lnTo>
                    <a:lnTo>
                      <a:pt x="1237" y="465"/>
                    </a:lnTo>
                    <a:lnTo>
                      <a:pt x="1231" y="470"/>
                    </a:lnTo>
                    <a:lnTo>
                      <a:pt x="1223" y="476"/>
                    </a:lnTo>
                    <a:lnTo>
                      <a:pt x="1223" y="476"/>
                    </a:lnTo>
                    <a:lnTo>
                      <a:pt x="1209" y="512"/>
                    </a:lnTo>
                    <a:lnTo>
                      <a:pt x="1197" y="545"/>
                    </a:lnTo>
                    <a:lnTo>
                      <a:pt x="1192" y="561"/>
                    </a:lnTo>
                    <a:lnTo>
                      <a:pt x="1188" y="576"/>
                    </a:lnTo>
                    <a:lnTo>
                      <a:pt x="1186" y="590"/>
                    </a:lnTo>
                    <a:lnTo>
                      <a:pt x="1186" y="604"/>
                    </a:lnTo>
                    <a:lnTo>
                      <a:pt x="1186" y="604"/>
                    </a:lnTo>
                    <a:lnTo>
                      <a:pt x="1185" y="627"/>
                    </a:lnTo>
                    <a:lnTo>
                      <a:pt x="1185" y="646"/>
                    </a:lnTo>
                    <a:lnTo>
                      <a:pt x="1186" y="654"/>
                    </a:lnTo>
                    <a:lnTo>
                      <a:pt x="1187" y="661"/>
                    </a:lnTo>
                    <a:lnTo>
                      <a:pt x="1189" y="668"/>
                    </a:lnTo>
                    <a:lnTo>
                      <a:pt x="1193" y="673"/>
                    </a:lnTo>
                    <a:lnTo>
                      <a:pt x="1199" y="676"/>
                    </a:lnTo>
                    <a:lnTo>
                      <a:pt x="1206" y="679"/>
                    </a:lnTo>
                    <a:lnTo>
                      <a:pt x="1214" y="680"/>
                    </a:lnTo>
                    <a:lnTo>
                      <a:pt x="1224" y="680"/>
                    </a:lnTo>
                    <a:lnTo>
                      <a:pt x="1237" y="679"/>
                    </a:lnTo>
                    <a:lnTo>
                      <a:pt x="1253" y="676"/>
                    </a:lnTo>
                    <a:lnTo>
                      <a:pt x="1271" y="673"/>
                    </a:lnTo>
                    <a:lnTo>
                      <a:pt x="1292" y="667"/>
                    </a:lnTo>
                    <a:lnTo>
                      <a:pt x="1292" y="667"/>
                    </a:lnTo>
                    <a:lnTo>
                      <a:pt x="1301" y="669"/>
                    </a:lnTo>
                    <a:lnTo>
                      <a:pt x="1310" y="673"/>
                    </a:lnTo>
                    <a:lnTo>
                      <a:pt x="1318" y="677"/>
                    </a:lnTo>
                    <a:lnTo>
                      <a:pt x="1326" y="682"/>
                    </a:lnTo>
                    <a:lnTo>
                      <a:pt x="1333" y="688"/>
                    </a:lnTo>
                    <a:lnTo>
                      <a:pt x="1340" y="695"/>
                    </a:lnTo>
                    <a:lnTo>
                      <a:pt x="1346" y="702"/>
                    </a:lnTo>
                    <a:lnTo>
                      <a:pt x="1352" y="710"/>
                    </a:lnTo>
                    <a:lnTo>
                      <a:pt x="1356" y="719"/>
                    </a:lnTo>
                    <a:lnTo>
                      <a:pt x="1361" y="727"/>
                    </a:lnTo>
                    <a:lnTo>
                      <a:pt x="1369" y="748"/>
                    </a:lnTo>
                    <a:lnTo>
                      <a:pt x="1376" y="768"/>
                    </a:lnTo>
                    <a:lnTo>
                      <a:pt x="1380" y="791"/>
                    </a:lnTo>
                    <a:lnTo>
                      <a:pt x="1380" y="791"/>
                    </a:lnTo>
                    <a:lnTo>
                      <a:pt x="1382" y="802"/>
                    </a:lnTo>
                    <a:lnTo>
                      <a:pt x="1382" y="811"/>
                    </a:lnTo>
                    <a:lnTo>
                      <a:pt x="1380" y="819"/>
                    </a:lnTo>
                    <a:lnTo>
                      <a:pt x="1378" y="825"/>
                    </a:lnTo>
                    <a:lnTo>
                      <a:pt x="1376" y="830"/>
                    </a:lnTo>
                    <a:lnTo>
                      <a:pt x="1372" y="835"/>
                    </a:lnTo>
                    <a:lnTo>
                      <a:pt x="1363" y="842"/>
                    </a:lnTo>
                    <a:lnTo>
                      <a:pt x="1354" y="848"/>
                    </a:lnTo>
                    <a:lnTo>
                      <a:pt x="1345" y="855"/>
                    </a:lnTo>
                    <a:lnTo>
                      <a:pt x="1341" y="858"/>
                    </a:lnTo>
                    <a:lnTo>
                      <a:pt x="1337" y="864"/>
                    </a:lnTo>
                    <a:lnTo>
                      <a:pt x="1334" y="870"/>
                    </a:lnTo>
                    <a:lnTo>
                      <a:pt x="1332" y="876"/>
                    </a:lnTo>
                    <a:lnTo>
                      <a:pt x="1332" y="876"/>
                    </a:lnTo>
                    <a:lnTo>
                      <a:pt x="1333" y="885"/>
                    </a:lnTo>
                    <a:lnTo>
                      <a:pt x="1336" y="893"/>
                    </a:lnTo>
                    <a:lnTo>
                      <a:pt x="1339" y="901"/>
                    </a:lnTo>
                    <a:lnTo>
                      <a:pt x="1344" y="908"/>
                    </a:lnTo>
                    <a:lnTo>
                      <a:pt x="1349" y="914"/>
                    </a:lnTo>
                    <a:lnTo>
                      <a:pt x="1356" y="921"/>
                    </a:lnTo>
                    <a:lnTo>
                      <a:pt x="1371" y="932"/>
                    </a:lnTo>
                    <a:lnTo>
                      <a:pt x="1386" y="941"/>
                    </a:lnTo>
                    <a:lnTo>
                      <a:pt x="1399" y="949"/>
                    </a:lnTo>
                    <a:lnTo>
                      <a:pt x="1407" y="956"/>
                    </a:lnTo>
                    <a:lnTo>
                      <a:pt x="1409" y="958"/>
                    </a:lnTo>
                    <a:lnTo>
                      <a:pt x="1409" y="960"/>
                    </a:lnTo>
                    <a:lnTo>
                      <a:pt x="1409" y="960"/>
                    </a:lnTo>
                    <a:lnTo>
                      <a:pt x="1401" y="960"/>
                    </a:lnTo>
                    <a:lnTo>
                      <a:pt x="1393" y="960"/>
                    </a:lnTo>
                    <a:lnTo>
                      <a:pt x="1377" y="957"/>
                    </a:lnTo>
                    <a:lnTo>
                      <a:pt x="1361" y="952"/>
                    </a:lnTo>
                    <a:lnTo>
                      <a:pt x="1347" y="944"/>
                    </a:lnTo>
                    <a:lnTo>
                      <a:pt x="1336" y="936"/>
                    </a:lnTo>
                    <a:lnTo>
                      <a:pt x="1330" y="931"/>
                    </a:lnTo>
                    <a:lnTo>
                      <a:pt x="1326" y="925"/>
                    </a:lnTo>
                    <a:lnTo>
                      <a:pt x="1323" y="919"/>
                    </a:lnTo>
                    <a:lnTo>
                      <a:pt x="1319" y="913"/>
                    </a:lnTo>
                    <a:lnTo>
                      <a:pt x="1318" y="908"/>
                    </a:lnTo>
                    <a:lnTo>
                      <a:pt x="1318" y="902"/>
                    </a:lnTo>
                    <a:lnTo>
                      <a:pt x="1318" y="902"/>
                    </a:lnTo>
                    <a:lnTo>
                      <a:pt x="1318" y="889"/>
                    </a:lnTo>
                    <a:lnTo>
                      <a:pt x="1319" y="878"/>
                    </a:lnTo>
                    <a:lnTo>
                      <a:pt x="1323" y="866"/>
                    </a:lnTo>
                    <a:lnTo>
                      <a:pt x="1326" y="853"/>
                    </a:lnTo>
                    <a:lnTo>
                      <a:pt x="1337" y="826"/>
                    </a:lnTo>
                    <a:lnTo>
                      <a:pt x="1350" y="791"/>
                    </a:lnTo>
                    <a:lnTo>
                      <a:pt x="1350" y="791"/>
                    </a:lnTo>
                    <a:lnTo>
                      <a:pt x="1345" y="786"/>
                    </a:lnTo>
                    <a:lnTo>
                      <a:pt x="1339" y="779"/>
                    </a:lnTo>
                    <a:lnTo>
                      <a:pt x="1334" y="772"/>
                    </a:lnTo>
                    <a:lnTo>
                      <a:pt x="1330" y="764"/>
                    </a:lnTo>
                    <a:lnTo>
                      <a:pt x="1323" y="748"/>
                    </a:lnTo>
                    <a:lnTo>
                      <a:pt x="1315" y="733"/>
                    </a:lnTo>
                    <a:lnTo>
                      <a:pt x="1309" y="725"/>
                    </a:lnTo>
                    <a:lnTo>
                      <a:pt x="1304" y="719"/>
                    </a:lnTo>
                    <a:lnTo>
                      <a:pt x="1298" y="713"/>
                    </a:lnTo>
                    <a:lnTo>
                      <a:pt x="1290" y="708"/>
                    </a:lnTo>
                    <a:lnTo>
                      <a:pt x="1281" y="705"/>
                    </a:lnTo>
                    <a:lnTo>
                      <a:pt x="1271" y="703"/>
                    </a:lnTo>
                    <a:lnTo>
                      <a:pt x="1258" y="702"/>
                    </a:lnTo>
                    <a:lnTo>
                      <a:pt x="1245" y="703"/>
                    </a:lnTo>
                    <a:lnTo>
                      <a:pt x="1245" y="703"/>
                    </a:lnTo>
                    <a:lnTo>
                      <a:pt x="1233" y="705"/>
                    </a:lnTo>
                    <a:lnTo>
                      <a:pt x="1223" y="707"/>
                    </a:lnTo>
                    <a:lnTo>
                      <a:pt x="1214" y="712"/>
                    </a:lnTo>
                    <a:lnTo>
                      <a:pt x="1206" y="717"/>
                    </a:lnTo>
                    <a:lnTo>
                      <a:pt x="1199" y="722"/>
                    </a:lnTo>
                    <a:lnTo>
                      <a:pt x="1193" y="729"/>
                    </a:lnTo>
                    <a:lnTo>
                      <a:pt x="1188" y="737"/>
                    </a:lnTo>
                    <a:lnTo>
                      <a:pt x="1185" y="746"/>
                    </a:lnTo>
                    <a:lnTo>
                      <a:pt x="1182" y="758"/>
                    </a:lnTo>
                    <a:lnTo>
                      <a:pt x="1181" y="771"/>
                    </a:lnTo>
                    <a:lnTo>
                      <a:pt x="1180" y="786"/>
                    </a:lnTo>
                    <a:lnTo>
                      <a:pt x="1180" y="802"/>
                    </a:lnTo>
                    <a:lnTo>
                      <a:pt x="1184" y="840"/>
                    </a:lnTo>
                    <a:lnTo>
                      <a:pt x="1189" y="887"/>
                    </a:lnTo>
                    <a:lnTo>
                      <a:pt x="1189" y="887"/>
                    </a:lnTo>
                    <a:lnTo>
                      <a:pt x="1165" y="900"/>
                    </a:lnTo>
                    <a:lnTo>
                      <a:pt x="1149" y="909"/>
                    </a:lnTo>
                    <a:lnTo>
                      <a:pt x="1139" y="917"/>
                    </a:lnTo>
                    <a:lnTo>
                      <a:pt x="1132" y="924"/>
                    </a:lnTo>
                    <a:lnTo>
                      <a:pt x="1127" y="931"/>
                    </a:lnTo>
                    <a:lnTo>
                      <a:pt x="1125" y="939"/>
                    </a:lnTo>
                    <a:lnTo>
                      <a:pt x="1122" y="948"/>
                    </a:lnTo>
                    <a:lnTo>
                      <a:pt x="1116" y="960"/>
                    </a:lnTo>
                    <a:lnTo>
                      <a:pt x="1116" y="960"/>
                    </a:lnTo>
                    <a:lnTo>
                      <a:pt x="1105" y="977"/>
                    </a:lnTo>
                    <a:lnTo>
                      <a:pt x="1095" y="989"/>
                    </a:lnTo>
                    <a:lnTo>
                      <a:pt x="1085" y="998"/>
                    </a:lnTo>
                    <a:lnTo>
                      <a:pt x="1074" y="1005"/>
                    </a:lnTo>
                    <a:lnTo>
                      <a:pt x="1064" y="1010"/>
                    </a:lnTo>
                    <a:lnTo>
                      <a:pt x="1055" y="1013"/>
                    </a:lnTo>
                    <a:lnTo>
                      <a:pt x="1044" y="1016"/>
                    </a:lnTo>
                    <a:lnTo>
                      <a:pt x="1035" y="1018"/>
                    </a:lnTo>
                    <a:lnTo>
                      <a:pt x="1018" y="1021"/>
                    </a:lnTo>
                    <a:lnTo>
                      <a:pt x="1010" y="1024"/>
                    </a:lnTo>
                    <a:lnTo>
                      <a:pt x="1003" y="1028"/>
                    </a:lnTo>
                    <a:lnTo>
                      <a:pt x="996" y="1034"/>
                    </a:lnTo>
                    <a:lnTo>
                      <a:pt x="989" y="1042"/>
                    </a:lnTo>
                    <a:lnTo>
                      <a:pt x="985" y="1054"/>
                    </a:lnTo>
                    <a:lnTo>
                      <a:pt x="980" y="1068"/>
                    </a:lnTo>
                    <a:lnTo>
                      <a:pt x="980" y="1068"/>
                    </a:lnTo>
                    <a:lnTo>
                      <a:pt x="970" y="1057"/>
                    </a:lnTo>
                    <a:lnTo>
                      <a:pt x="958" y="1049"/>
                    </a:lnTo>
                    <a:lnTo>
                      <a:pt x="948" y="1042"/>
                    </a:lnTo>
                    <a:lnTo>
                      <a:pt x="936" y="1038"/>
                    </a:lnTo>
                    <a:lnTo>
                      <a:pt x="925" y="1033"/>
                    </a:lnTo>
                    <a:lnTo>
                      <a:pt x="914" y="1030"/>
                    </a:lnTo>
                    <a:lnTo>
                      <a:pt x="893" y="1024"/>
                    </a:lnTo>
                    <a:lnTo>
                      <a:pt x="875" y="1019"/>
                    </a:lnTo>
                    <a:lnTo>
                      <a:pt x="867" y="1016"/>
                    </a:lnTo>
                    <a:lnTo>
                      <a:pt x="860" y="1012"/>
                    </a:lnTo>
                    <a:lnTo>
                      <a:pt x="855" y="1008"/>
                    </a:lnTo>
                    <a:lnTo>
                      <a:pt x="851" y="1002"/>
                    </a:lnTo>
                    <a:lnTo>
                      <a:pt x="849" y="995"/>
                    </a:lnTo>
                    <a:lnTo>
                      <a:pt x="848" y="986"/>
                    </a:lnTo>
                    <a:lnTo>
                      <a:pt x="848" y="986"/>
                    </a:lnTo>
                    <a:lnTo>
                      <a:pt x="846" y="981"/>
                    </a:lnTo>
                    <a:lnTo>
                      <a:pt x="844" y="977"/>
                    </a:lnTo>
                    <a:lnTo>
                      <a:pt x="838" y="966"/>
                    </a:lnTo>
                    <a:lnTo>
                      <a:pt x="830" y="957"/>
                    </a:lnTo>
                    <a:lnTo>
                      <a:pt x="825" y="949"/>
                    </a:lnTo>
                    <a:lnTo>
                      <a:pt x="822" y="946"/>
                    </a:lnTo>
                    <a:lnTo>
                      <a:pt x="821" y="942"/>
                    </a:lnTo>
                    <a:lnTo>
                      <a:pt x="822" y="940"/>
                    </a:lnTo>
                    <a:lnTo>
                      <a:pt x="825" y="937"/>
                    </a:lnTo>
                    <a:lnTo>
                      <a:pt x="829" y="936"/>
                    </a:lnTo>
                    <a:lnTo>
                      <a:pt x="836" y="935"/>
                    </a:lnTo>
                    <a:lnTo>
                      <a:pt x="845" y="934"/>
                    </a:lnTo>
                    <a:lnTo>
                      <a:pt x="859" y="935"/>
                    </a:lnTo>
                    <a:lnTo>
                      <a:pt x="859" y="935"/>
                    </a:lnTo>
                    <a:lnTo>
                      <a:pt x="866" y="936"/>
                    </a:lnTo>
                    <a:lnTo>
                      <a:pt x="872" y="940"/>
                    </a:lnTo>
                    <a:lnTo>
                      <a:pt x="878" y="944"/>
                    </a:lnTo>
                    <a:lnTo>
                      <a:pt x="881" y="949"/>
                    </a:lnTo>
                    <a:lnTo>
                      <a:pt x="884" y="956"/>
                    </a:lnTo>
                    <a:lnTo>
                      <a:pt x="887" y="963"/>
                    </a:lnTo>
                    <a:lnTo>
                      <a:pt x="893" y="978"/>
                    </a:lnTo>
                    <a:lnTo>
                      <a:pt x="899" y="993"/>
                    </a:lnTo>
                    <a:lnTo>
                      <a:pt x="903" y="1000"/>
                    </a:lnTo>
                    <a:lnTo>
                      <a:pt x="909" y="1007"/>
                    </a:lnTo>
                    <a:lnTo>
                      <a:pt x="914" y="1011"/>
                    </a:lnTo>
                    <a:lnTo>
                      <a:pt x="922" y="1016"/>
                    </a:lnTo>
                    <a:lnTo>
                      <a:pt x="932" y="1018"/>
                    </a:lnTo>
                    <a:lnTo>
                      <a:pt x="943" y="1019"/>
                    </a:lnTo>
                    <a:lnTo>
                      <a:pt x="943" y="1019"/>
                    </a:lnTo>
                    <a:lnTo>
                      <a:pt x="952" y="1017"/>
                    </a:lnTo>
                    <a:lnTo>
                      <a:pt x="962" y="1012"/>
                    </a:lnTo>
                    <a:lnTo>
                      <a:pt x="970" y="1007"/>
                    </a:lnTo>
                    <a:lnTo>
                      <a:pt x="978" y="997"/>
                    </a:lnTo>
                    <a:lnTo>
                      <a:pt x="986" y="988"/>
                    </a:lnTo>
                    <a:lnTo>
                      <a:pt x="995" y="977"/>
                    </a:lnTo>
                    <a:lnTo>
                      <a:pt x="1011" y="950"/>
                    </a:lnTo>
                    <a:lnTo>
                      <a:pt x="1029" y="921"/>
                    </a:lnTo>
                    <a:lnTo>
                      <a:pt x="1039" y="908"/>
                    </a:lnTo>
                    <a:lnTo>
                      <a:pt x="1049" y="893"/>
                    </a:lnTo>
                    <a:lnTo>
                      <a:pt x="1061" y="879"/>
                    </a:lnTo>
                    <a:lnTo>
                      <a:pt x="1073" y="866"/>
                    </a:lnTo>
                    <a:lnTo>
                      <a:pt x="1086" y="853"/>
                    </a:lnTo>
                    <a:lnTo>
                      <a:pt x="1101" y="842"/>
                    </a:lnTo>
                    <a:lnTo>
                      <a:pt x="1101" y="842"/>
                    </a:lnTo>
                    <a:lnTo>
                      <a:pt x="1105" y="824"/>
                    </a:lnTo>
                    <a:lnTo>
                      <a:pt x="1110" y="810"/>
                    </a:lnTo>
                    <a:lnTo>
                      <a:pt x="1117" y="799"/>
                    </a:lnTo>
                    <a:lnTo>
                      <a:pt x="1123" y="792"/>
                    </a:lnTo>
                    <a:lnTo>
                      <a:pt x="1130" y="788"/>
                    </a:lnTo>
                    <a:lnTo>
                      <a:pt x="1136" y="786"/>
                    </a:lnTo>
                    <a:lnTo>
                      <a:pt x="1148" y="781"/>
                    </a:lnTo>
                    <a:lnTo>
                      <a:pt x="1151" y="779"/>
                    </a:lnTo>
                    <a:lnTo>
                      <a:pt x="1154" y="775"/>
                    </a:lnTo>
                    <a:lnTo>
                      <a:pt x="1155" y="769"/>
                    </a:lnTo>
                    <a:lnTo>
                      <a:pt x="1154" y="760"/>
                    </a:lnTo>
                    <a:lnTo>
                      <a:pt x="1149" y="748"/>
                    </a:lnTo>
                    <a:lnTo>
                      <a:pt x="1142" y="732"/>
                    </a:lnTo>
                    <a:lnTo>
                      <a:pt x="1119" y="682"/>
                    </a:lnTo>
                    <a:lnTo>
                      <a:pt x="1119" y="682"/>
                    </a:lnTo>
                    <a:lnTo>
                      <a:pt x="1117" y="675"/>
                    </a:lnTo>
                    <a:lnTo>
                      <a:pt x="1115" y="667"/>
                    </a:lnTo>
                    <a:lnTo>
                      <a:pt x="1111" y="652"/>
                    </a:lnTo>
                    <a:lnTo>
                      <a:pt x="1110" y="635"/>
                    </a:lnTo>
                    <a:lnTo>
                      <a:pt x="1111" y="618"/>
                    </a:lnTo>
                    <a:lnTo>
                      <a:pt x="1113" y="598"/>
                    </a:lnTo>
                    <a:lnTo>
                      <a:pt x="1118" y="578"/>
                    </a:lnTo>
                    <a:lnTo>
                      <a:pt x="1124" y="559"/>
                    </a:lnTo>
                    <a:lnTo>
                      <a:pt x="1130" y="538"/>
                    </a:lnTo>
                    <a:lnTo>
                      <a:pt x="1138" y="519"/>
                    </a:lnTo>
                    <a:lnTo>
                      <a:pt x="1146" y="499"/>
                    </a:lnTo>
                    <a:lnTo>
                      <a:pt x="1162" y="461"/>
                    </a:lnTo>
                    <a:lnTo>
                      <a:pt x="1179" y="427"/>
                    </a:lnTo>
                    <a:lnTo>
                      <a:pt x="1193" y="398"/>
                    </a:lnTo>
                    <a:lnTo>
                      <a:pt x="1193" y="398"/>
                    </a:lnTo>
                    <a:lnTo>
                      <a:pt x="1199" y="386"/>
                    </a:lnTo>
                    <a:lnTo>
                      <a:pt x="1201" y="376"/>
                    </a:lnTo>
                    <a:lnTo>
                      <a:pt x="1202" y="367"/>
                    </a:lnTo>
                    <a:lnTo>
                      <a:pt x="1202" y="359"/>
                    </a:lnTo>
                    <a:lnTo>
                      <a:pt x="1200" y="352"/>
                    </a:lnTo>
                    <a:lnTo>
                      <a:pt x="1197" y="346"/>
                    </a:lnTo>
                    <a:lnTo>
                      <a:pt x="1189" y="335"/>
                    </a:lnTo>
                    <a:lnTo>
                      <a:pt x="1182" y="322"/>
                    </a:lnTo>
                    <a:lnTo>
                      <a:pt x="1179" y="315"/>
                    </a:lnTo>
                    <a:lnTo>
                      <a:pt x="1176" y="307"/>
                    </a:lnTo>
                    <a:lnTo>
                      <a:pt x="1174" y="297"/>
                    </a:lnTo>
                    <a:lnTo>
                      <a:pt x="1174" y="286"/>
                    </a:lnTo>
                    <a:lnTo>
                      <a:pt x="1176" y="274"/>
                    </a:lnTo>
                    <a:lnTo>
                      <a:pt x="1179" y="259"/>
                    </a:lnTo>
                    <a:lnTo>
                      <a:pt x="1179" y="259"/>
                    </a:lnTo>
                    <a:lnTo>
                      <a:pt x="1182" y="246"/>
                    </a:lnTo>
                    <a:lnTo>
                      <a:pt x="1187" y="237"/>
                    </a:lnTo>
                    <a:lnTo>
                      <a:pt x="1192" y="229"/>
                    </a:lnTo>
                    <a:lnTo>
                      <a:pt x="1196" y="223"/>
                    </a:lnTo>
                    <a:lnTo>
                      <a:pt x="1202" y="218"/>
                    </a:lnTo>
                    <a:lnTo>
                      <a:pt x="1207" y="215"/>
                    </a:lnTo>
                    <a:lnTo>
                      <a:pt x="1217" y="209"/>
                    </a:lnTo>
                    <a:lnTo>
                      <a:pt x="1223" y="206"/>
                    </a:lnTo>
                    <a:lnTo>
                      <a:pt x="1227" y="201"/>
                    </a:lnTo>
                    <a:lnTo>
                      <a:pt x="1233" y="195"/>
                    </a:lnTo>
                    <a:lnTo>
                      <a:pt x="1239" y="188"/>
                    </a:lnTo>
                    <a:lnTo>
                      <a:pt x="1243" y="179"/>
                    </a:lnTo>
                    <a:lnTo>
                      <a:pt x="1249" y="167"/>
                    </a:lnTo>
                    <a:lnTo>
                      <a:pt x="1254" y="153"/>
                    </a:lnTo>
                    <a:lnTo>
                      <a:pt x="1258" y="134"/>
                    </a:lnTo>
                    <a:lnTo>
                      <a:pt x="1258" y="134"/>
                    </a:lnTo>
                    <a:lnTo>
                      <a:pt x="1262" y="115"/>
                    </a:lnTo>
                    <a:lnTo>
                      <a:pt x="1262" y="107"/>
                    </a:lnTo>
                    <a:lnTo>
                      <a:pt x="1262" y="100"/>
                    </a:lnTo>
                    <a:lnTo>
                      <a:pt x="1261" y="93"/>
                    </a:lnTo>
                    <a:lnTo>
                      <a:pt x="1260" y="86"/>
                    </a:lnTo>
                    <a:lnTo>
                      <a:pt x="1256" y="80"/>
                    </a:lnTo>
                    <a:lnTo>
                      <a:pt x="1253" y="76"/>
                    </a:lnTo>
                    <a:lnTo>
                      <a:pt x="1249" y="70"/>
                    </a:lnTo>
                    <a:lnTo>
                      <a:pt x="1243" y="65"/>
                    </a:lnTo>
                    <a:lnTo>
                      <a:pt x="1230" y="56"/>
                    </a:lnTo>
                    <a:lnTo>
                      <a:pt x="1211" y="48"/>
                    </a:lnTo>
                    <a:lnTo>
                      <a:pt x="1189" y="39"/>
                    </a:lnTo>
                    <a:lnTo>
                      <a:pt x="1189" y="39"/>
                    </a:lnTo>
                    <a:lnTo>
                      <a:pt x="1178" y="33"/>
                    </a:lnTo>
                    <a:lnTo>
                      <a:pt x="1169" y="27"/>
                    </a:lnTo>
                    <a:lnTo>
                      <a:pt x="1153" y="16"/>
                    </a:lnTo>
                    <a:lnTo>
                      <a:pt x="1140" y="7"/>
                    </a:lnTo>
                    <a:lnTo>
                      <a:pt x="1134" y="3"/>
                    </a:lnTo>
                    <a:lnTo>
                      <a:pt x="1130" y="1"/>
                    </a:lnTo>
                    <a:lnTo>
                      <a:pt x="1125" y="0"/>
                    </a:lnTo>
                    <a:lnTo>
                      <a:pt x="1120" y="0"/>
                    </a:lnTo>
                    <a:lnTo>
                      <a:pt x="1116" y="1"/>
                    </a:lnTo>
                    <a:lnTo>
                      <a:pt x="1110" y="4"/>
                    </a:lnTo>
                    <a:lnTo>
                      <a:pt x="1105" y="10"/>
                    </a:lnTo>
                    <a:lnTo>
                      <a:pt x="1100" y="17"/>
                    </a:lnTo>
                    <a:lnTo>
                      <a:pt x="1086" y="39"/>
                    </a:lnTo>
                    <a:lnTo>
                      <a:pt x="1086" y="39"/>
                    </a:lnTo>
                    <a:lnTo>
                      <a:pt x="1084" y="43"/>
                    </a:lnTo>
                    <a:lnTo>
                      <a:pt x="1080" y="53"/>
                    </a:lnTo>
                    <a:lnTo>
                      <a:pt x="1071" y="76"/>
                    </a:lnTo>
                    <a:lnTo>
                      <a:pt x="1058" y="106"/>
                    </a:lnTo>
                    <a:lnTo>
                      <a:pt x="1050" y="120"/>
                    </a:lnTo>
                    <a:lnTo>
                      <a:pt x="1041" y="137"/>
                    </a:lnTo>
                    <a:lnTo>
                      <a:pt x="1031" y="153"/>
                    </a:lnTo>
                    <a:lnTo>
                      <a:pt x="1019" y="168"/>
                    </a:lnTo>
                    <a:lnTo>
                      <a:pt x="1006" y="183"/>
                    </a:lnTo>
                    <a:lnTo>
                      <a:pt x="991" y="195"/>
                    </a:lnTo>
                    <a:lnTo>
                      <a:pt x="983" y="201"/>
                    </a:lnTo>
                    <a:lnTo>
                      <a:pt x="975" y="206"/>
                    </a:lnTo>
                    <a:lnTo>
                      <a:pt x="966" y="210"/>
                    </a:lnTo>
                    <a:lnTo>
                      <a:pt x="957" y="214"/>
                    </a:lnTo>
                    <a:lnTo>
                      <a:pt x="947" y="217"/>
                    </a:lnTo>
                    <a:lnTo>
                      <a:pt x="936" y="219"/>
                    </a:lnTo>
                    <a:lnTo>
                      <a:pt x="926" y="222"/>
                    </a:lnTo>
                    <a:lnTo>
                      <a:pt x="914" y="223"/>
                    </a:lnTo>
                    <a:lnTo>
                      <a:pt x="914" y="223"/>
                    </a:lnTo>
                    <a:lnTo>
                      <a:pt x="902" y="234"/>
                    </a:lnTo>
                    <a:lnTo>
                      <a:pt x="895" y="246"/>
                    </a:lnTo>
                    <a:lnTo>
                      <a:pt x="890" y="256"/>
                    </a:lnTo>
                    <a:lnTo>
                      <a:pt x="889" y="265"/>
                    </a:lnTo>
                    <a:lnTo>
                      <a:pt x="889" y="274"/>
                    </a:lnTo>
                    <a:lnTo>
                      <a:pt x="893" y="282"/>
                    </a:lnTo>
                    <a:lnTo>
                      <a:pt x="896" y="288"/>
                    </a:lnTo>
                    <a:lnTo>
                      <a:pt x="901" y="295"/>
                    </a:lnTo>
                    <a:lnTo>
                      <a:pt x="909" y="309"/>
                    </a:lnTo>
                    <a:lnTo>
                      <a:pt x="911" y="315"/>
                    </a:lnTo>
                    <a:lnTo>
                      <a:pt x="913" y="322"/>
                    </a:lnTo>
                    <a:lnTo>
                      <a:pt x="912" y="328"/>
                    </a:lnTo>
                    <a:lnTo>
                      <a:pt x="909" y="336"/>
                    </a:lnTo>
                    <a:lnTo>
                      <a:pt x="902" y="343"/>
                    </a:lnTo>
                    <a:lnTo>
                      <a:pt x="891" y="351"/>
                    </a:lnTo>
                    <a:lnTo>
                      <a:pt x="891" y="351"/>
                    </a:lnTo>
                    <a:lnTo>
                      <a:pt x="889" y="364"/>
                    </a:lnTo>
                    <a:lnTo>
                      <a:pt x="883" y="378"/>
                    </a:lnTo>
                    <a:lnTo>
                      <a:pt x="878" y="391"/>
                    </a:lnTo>
                    <a:lnTo>
                      <a:pt x="871" y="401"/>
                    </a:lnTo>
                    <a:lnTo>
                      <a:pt x="863" y="412"/>
                    </a:lnTo>
                    <a:lnTo>
                      <a:pt x="855" y="421"/>
                    </a:lnTo>
                    <a:lnTo>
                      <a:pt x="841" y="438"/>
                    </a:lnTo>
                    <a:lnTo>
                      <a:pt x="835" y="445"/>
                    </a:lnTo>
                    <a:lnTo>
                      <a:pt x="830" y="453"/>
                    </a:lnTo>
                    <a:lnTo>
                      <a:pt x="827" y="460"/>
                    </a:lnTo>
                    <a:lnTo>
                      <a:pt x="827" y="467"/>
                    </a:lnTo>
                    <a:lnTo>
                      <a:pt x="829" y="475"/>
                    </a:lnTo>
                    <a:lnTo>
                      <a:pt x="834" y="482"/>
                    </a:lnTo>
                    <a:lnTo>
                      <a:pt x="843" y="490"/>
                    </a:lnTo>
                    <a:lnTo>
                      <a:pt x="855" y="498"/>
                    </a:lnTo>
                    <a:lnTo>
                      <a:pt x="855" y="498"/>
                    </a:lnTo>
                    <a:lnTo>
                      <a:pt x="864" y="503"/>
                    </a:lnTo>
                    <a:lnTo>
                      <a:pt x="870" y="508"/>
                    </a:lnTo>
                    <a:lnTo>
                      <a:pt x="875" y="514"/>
                    </a:lnTo>
                    <a:lnTo>
                      <a:pt x="879" y="520"/>
                    </a:lnTo>
                    <a:lnTo>
                      <a:pt x="882" y="527"/>
                    </a:lnTo>
                    <a:lnTo>
                      <a:pt x="884" y="534"/>
                    </a:lnTo>
                    <a:lnTo>
                      <a:pt x="887" y="547"/>
                    </a:lnTo>
                    <a:lnTo>
                      <a:pt x="889" y="561"/>
                    </a:lnTo>
                    <a:lnTo>
                      <a:pt x="891" y="575"/>
                    </a:lnTo>
                    <a:lnTo>
                      <a:pt x="893" y="582"/>
                    </a:lnTo>
                    <a:lnTo>
                      <a:pt x="895" y="589"/>
                    </a:lnTo>
                    <a:lnTo>
                      <a:pt x="898" y="595"/>
                    </a:lnTo>
                    <a:lnTo>
                      <a:pt x="903" y="600"/>
                    </a:lnTo>
                    <a:lnTo>
                      <a:pt x="903" y="600"/>
                    </a:lnTo>
                    <a:lnTo>
                      <a:pt x="904" y="612"/>
                    </a:lnTo>
                    <a:lnTo>
                      <a:pt x="905" y="623"/>
                    </a:lnTo>
                    <a:lnTo>
                      <a:pt x="904" y="637"/>
                    </a:lnTo>
                    <a:lnTo>
                      <a:pt x="904" y="644"/>
                    </a:lnTo>
                    <a:lnTo>
                      <a:pt x="902" y="651"/>
                    </a:lnTo>
                    <a:lnTo>
                      <a:pt x="899" y="658"/>
                    </a:lnTo>
                    <a:lnTo>
                      <a:pt x="896" y="664"/>
                    </a:lnTo>
                    <a:lnTo>
                      <a:pt x="893" y="669"/>
                    </a:lnTo>
                    <a:lnTo>
                      <a:pt x="887" y="673"/>
                    </a:lnTo>
                    <a:lnTo>
                      <a:pt x="881" y="676"/>
                    </a:lnTo>
                    <a:lnTo>
                      <a:pt x="873" y="677"/>
                    </a:lnTo>
                    <a:lnTo>
                      <a:pt x="873" y="677"/>
                    </a:lnTo>
                    <a:lnTo>
                      <a:pt x="868" y="677"/>
                    </a:lnTo>
                    <a:lnTo>
                      <a:pt x="864" y="677"/>
                    </a:lnTo>
                    <a:lnTo>
                      <a:pt x="859" y="676"/>
                    </a:lnTo>
                    <a:lnTo>
                      <a:pt x="855" y="674"/>
                    </a:lnTo>
                    <a:lnTo>
                      <a:pt x="845" y="668"/>
                    </a:lnTo>
                    <a:lnTo>
                      <a:pt x="837" y="660"/>
                    </a:lnTo>
                    <a:lnTo>
                      <a:pt x="828" y="650"/>
                    </a:lnTo>
                    <a:lnTo>
                      <a:pt x="820" y="638"/>
                    </a:lnTo>
                    <a:lnTo>
                      <a:pt x="812" y="624"/>
                    </a:lnTo>
                    <a:lnTo>
                      <a:pt x="804" y="610"/>
                    </a:lnTo>
                    <a:lnTo>
                      <a:pt x="787" y="576"/>
                    </a:lnTo>
                    <a:lnTo>
                      <a:pt x="771" y="540"/>
                    </a:lnTo>
                    <a:lnTo>
                      <a:pt x="752" y="505"/>
                    </a:lnTo>
                    <a:lnTo>
                      <a:pt x="734" y="471"/>
                    </a:lnTo>
                    <a:lnTo>
                      <a:pt x="734" y="471"/>
                    </a:lnTo>
                    <a:lnTo>
                      <a:pt x="729" y="480"/>
                    </a:lnTo>
                    <a:lnTo>
                      <a:pt x="723" y="486"/>
                    </a:lnTo>
                    <a:lnTo>
                      <a:pt x="710" y="500"/>
                    </a:lnTo>
                    <a:lnTo>
                      <a:pt x="704" y="507"/>
                    </a:lnTo>
                    <a:lnTo>
                      <a:pt x="698" y="514"/>
                    </a:lnTo>
                    <a:lnTo>
                      <a:pt x="695" y="521"/>
                    </a:lnTo>
                    <a:lnTo>
                      <a:pt x="693" y="530"/>
                    </a:lnTo>
                    <a:lnTo>
                      <a:pt x="693" y="530"/>
                    </a:lnTo>
                    <a:lnTo>
                      <a:pt x="695" y="539"/>
                    </a:lnTo>
                    <a:lnTo>
                      <a:pt x="698" y="549"/>
                    </a:lnTo>
                    <a:lnTo>
                      <a:pt x="703" y="557"/>
                    </a:lnTo>
                    <a:lnTo>
                      <a:pt x="708" y="565"/>
                    </a:lnTo>
                    <a:lnTo>
                      <a:pt x="713" y="573"/>
                    </a:lnTo>
                    <a:lnTo>
                      <a:pt x="719" y="582"/>
                    </a:lnTo>
                    <a:lnTo>
                      <a:pt x="721" y="592"/>
                    </a:lnTo>
                    <a:lnTo>
                      <a:pt x="723" y="604"/>
                    </a:lnTo>
                    <a:lnTo>
                      <a:pt x="723" y="604"/>
                    </a:lnTo>
                    <a:lnTo>
                      <a:pt x="722" y="612"/>
                    </a:lnTo>
                    <a:lnTo>
                      <a:pt x="721" y="619"/>
                    </a:lnTo>
                    <a:lnTo>
                      <a:pt x="719" y="624"/>
                    </a:lnTo>
                    <a:lnTo>
                      <a:pt x="716" y="630"/>
                    </a:lnTo>
                    <a:lnTo>
                      <a:pt x="710" y="639"/>
                    </a:lnTo>
                    <a:lnTo>
                      <a:pt x="703" y="648"/>
                    </a:lnTo>
                    <a:lnTo>
                      <a:pt x="695" y="654"/>
                    </a:lnTo>
                    <a:lnTo>
                      <a:pt x="689" y="662"/>
                    </a:lnTo>
                    <a:lnTo>
                      <a:pt x="685" y="667"/>
                    </a:lnTo>
                    <a:lnTo>
                      <a:pt x="684" y="673"/>
                    </a:lnTo>
                    <a:lnTo>
                      <a:pt x="683" y="679"/>
                    </a:lnTo>
                    <a:lnTo>
                      <a:pt x="682" y="685"/>
                    </a:lnTo>
                    <a:lnTo>
                      <a:pt x="682" y="685"/>
                    </a:lnTo>
                    <a:lnTo>
                      <a:pt x="683" y="690"/>
                    </a:lnTo>
                    <a:lnTo>
                      <a:pt x="687" y="696"/>
                    </a:lnTo>
                    <a:lnTo>
                      <a:pt x="695" y="706"/>
                    </a:lnTo>
                    <a:lnTo>
                      <a:pt x="700" y="712"/>
                    </a:lnTo>
                    <a:lnTo>
                      <a:pt x="704" y="718"/>
                    </a:lnTo>
                    <a:lnTo>
                      <a:pt x="707" y="725"/>
                    </a:lnTo>
                    <a:lnTo>
                      <a:pt x="708" y="733"/>
                    </a:lnTo>
                    <a:lnTo>
                      <a:pt x="708" y="733"/>
                    </a:lnTo>
                    <a:lnTo>
                      <a:pt x="707" y="744"/>
                    </a:lnTo>
                    <a:lnTo>
                      <a:pt x="704" y="756"/>
                    </a:lnTo>
                    <a:lnTo>
                      <a:pt x="698" y="767"/>
                    </a:lnTo>
                    <a:lnTo>
                      <a:pt x="691" y="776"/>
                    </a:lnTo>
                    <a:lnTo>
                      <a:pt x="682" y="786"/>
                    </a:lnTo>
                    <a:lnTo>
                      <a:pt x="672" y="795"/>
                    </a:lnTo>
                    <a:lnTo>
                      <a:pt x="661" y="803"/>
                    </a:lnTo>
                    <a:lnTo>
                      <a:pt x="650" y="811"/>
                    </a:lnTo>
                    <a:lnTo>
                      <a:pt x="624" y="824"/>
                    </a:lnTo>
                    <a:lnTo>
                      <a:pt x="600" y="835"/>
                    </a:lnTo>
                    <a:lnTo>
                      <a:pt x="577" y="843"/>
                    </a:lnTo>
                    <a:lnTo>
                      <a:pt x="558" y="850"/>
                    </a:lnTo>
                    <a:lnTo>
                      <a:pt x="558" y="850"/>
                    </a:lnTo>
                    <a:lnTo>
                      <a:pt x="531" y="860"/>
                    </a:lnTo>
                    <a:lnTo>
                      <a:pt x="507" y="872"/>
                    </a:lnTo>
                    <a:lnTo>
                      <a:pt x="485" y="883"/>
                    </a:lnTo>
                    <a:lnTo>
                      <a:pt x="464" y="896"/>
                    </a:lnTo>
                    <a:lnTo>
                      <a:pt x="423" y="920"/>
                    </a:lnTo>
                    <a:lnTo>
                      <a:pt x="402" y="932"/>
                    </a:lnTo>
                    <a:lnTo>
                      <a:pt x="378" y="942"/>
                    </a:lnTo>
                    <a:lnTo>
                      <a:pt x="378" y="942"/>
                    </a:lnTo>
                    <a:lnTo>
                      <a:pt x="369" y="946"/>
                    </a:lnTo>
                    <a:lnTo>
                      <a:pt x="360" y="949"/>
                    </a:lnTo>
                    <a:lnTo>
                      <a:pt x="351" y="954"/>
                    </a:lnTo>
                    <a:lnTo>
                      <a:pt x="342" y="959"/>
                    </a:lnTo>
                    <a:lnTo>
                      <a:pt x="328" y="971"/>
                    </a:lnTo>
                    <a:lnTo>
                      <a:pt x="314" y="982"/>
                    </a:lnTo>
                    <a:lnTo>
                      <a:pt x="300" y="994"/>
                    </a:lnTo>
                    <a:lnTo>
                      <a:pt x="293" y="998"/>
                    </a:lnTo>
                    <a:lnTo>
                      <a:pt x="285" y="1003"/>
                    </a:lnTo>
                    <a:lnTo>
                      <a:pt x="277" y="1007"/>
                    </a:lnTo>
                    <a:lnTo>
                      <a:pt x="269" y="1010"/>
                    </a:lnTo>
                    <a:lnTo>
                      <a:pt x="260" y="1011"/>
                    </a:lnTo>
                    <a:lnTo>
                      <a:pt x="249" y="1012"/>
                    </a:lnTo>
                    <a:lnTo>
                      <a:pt x="249" y="1012"/>
                    </a:lnTo>
                    <a:lnTo>
                      <a:pt x="248" y="1011"/>
                    </a:lnTo>
                    <a:lnTo>
                      <a:pt x="247" y="1010"/>
                    </a:lnTo>
                    <a:lnTo>
                      <a:pt x="245" y="1004"/>
                    </a:lnTo>
                    <a:lnTo>
                      <a:pt x="242" y="998"/>
                    </a:lnTo>
                    <a:lnTo>
                      <a:pt x="242" y="994"/>
                    </a:lnTo>
                    <a:lnTo>
                      <a:pt x="242" y="994"/>
                    </a:lnTo>
                    <a:lnTo>
                      <a:pt x="224" y="994"/>
                    </a:lnTo>
                    <a:lnTo>
                      <a:pt x="224" y="994"/>
                    </a:lnTo>
                    <a:lnTo>
                      <a:pt x="214" y="995"/>
                    </a:lnTo>
                    <a:lnTo>
                      <a:pt x="204" y="996"/>
                    </a:lnTo>
                    <a:lnTo>
                      <a:pt x="196" y="1000"/>
                    </a:lnTo>
                    <a:lnTo>
                      <a:pt x="189" y="1005"/>
                    </a:lnTo>
                    <a:lnTo>
                      <a:pt x="183" y="1011"/>
                    </a:lnTo>
                    <a:lnTo>
                      <a:pt x="177" y="1017"/>
                    </a:lnTo>
                    <a:lnTo>
                      <a:pt x="171" y="1025"/>
                    </a:lnTo>
                    <a:lnTo>
                      <a:pt x="166" y="1033"/>
                    </a:lnTo>
                    <a:lnTo>
                      <a:pt x="158" y="1051"/>
                    </a:lnTo>
                    <a:lnTo>
                      <a:pt x="153" y="1071"/>
                    </a:lnTo>
                    <a:lnTo>
                      <a:pt x="147" y="1092"/>
                    </a:lnTo>
                    <a:lnTo>
                      <a:pt x="143" y="1111"/>
                    </a:lnTo>
                    <a:lnTo>
                      <a:pt x="143" y="1111"/>
                    </a:lnTo>
                    <a:lnTo>
                      <a:pt x="142" y="1115"/>
                    </a:lnTo>
                    <a:lnTo>
                      <a:pt x="141" y="1118"/>
                    </a:lnTo>
                    <a:lnTo>
                      <a:pt x="137" y="1126"/>
                    </a:lnTo>
                    <a:lnTo>
                      <a:pt x="128" y="1134"/>
                    </a:lnTo>
                    <a:lnTo>
                      <a:pt x="119" y="1145"/>
                    </a:lnTo>
                    <a:lnTo>
                      <a:pt x="101" y="1163"/>
                    </a:lnTo>
                    <a:lnTo>
                      <a:pt x="88" y="1177"/>
                    </a:lnTo>
                    <a:lnTo>
                      <a:pt x="88" y="1177"/>
                    </a:lnTo>
                    <a:lnTo>
                      <a:pt x="81" y="1186"/>
                    </a:lnTo>
                    <a:lnTo>
                      <a:pt x="76" y="1194"/>
                    </a:lnTo>
                    <a:lnTo>
                      <a:pt x="67" y="1211"/>
                    </a:lnTo>
                    <a:lnTo>
                      <a:pt x="61" y="1230"/>
                    </a:lnTo>
                    <a:lnTo>
                      <a:pt x="55" y="1248"/>
                    </a:lnTo>
                    <a:lnTo>
                      <a:pt x="46" y="1288"/>
                    </a:lnTo>
                    <a:lnTo>
                      <a:pt x="40" y="1309"/>
                    </a:lnTo>
                    <a:lnTo>
                      <a:pt x="33" y="1331"/>
                    </a:lnTo>
                    <a:lnTo>
                      <a:pt x="33" y="1331"/>
                    </a:lnTo>
                    <a:lnTo>
                      <a:pt x="30" y="1338"/>
                    </a:lnTo>
                    <a:lnTo>
                      <a:pt x="25" y="1345"/>
                    </a:lnTo>
                    <a:lnTo>
                      <a:pt x="13" y="1360"/>
                    </a:lnTo>
                    <a:lnTo>
                      <a:pt x="9" y="1367"/>
                    </a:lnTo>
                    <a:lnTo>
                      <a:pt x="4" y="1375"/>
                    </a:lnTo>
                    <a:lnTo>
                      <a:pt x="1" y="1382"/>
                    </a:lnTo>
                    <a:lnTo>
                      <a:pt x="0" y="1390"/>
                    </a:lnTo>
                    <a:lnTo>
                      <a:pt x="0" y="1390"/>
                    </a:lnTo>
                    <a:lnTo>
                      <a:pt x="1" y="1393"/>
                    </a:lnTo>
                    <a:lnTo>
                      <a:pt x="3" y="1397"/>
                    </a:lnTo>
                    <a:lnTo>
                      <a:pt x="9" y="1402"/>
                    </a:lnTo>
                    <a:lnTo>
                      <a:pt x="15" y="1408"/>
                    </a:lnTo>
                    <a:lnTo>
                      <a:pt x="17" y="1410"/>
                    </a:lnTo>
                    <a:lnTo>
                      <a:pt x="18" y="1413"/>
                    </a:lnTo>
                    <a:lnTo>
                      <a:pt x="18" y="1413"/>
                    </a:lnTo>
                    <a:lnTo>
                      <a:pt x="23" y="1425"/>
                    </a:lnTo>
                    <a:lnTo>
                      <a:pt x="28" y="1437"/>
                    </a:lnTo>
                    <a:lnTo>
                      <a:pt x="34" y="1447"/>
                    </a:lnTo>
                    <a:lnTo>
                      <a:pt x="40" y="1456"/>
                    </a:lnTo>
                    <a:lnTo>
                      <a:pt x="47" y="1465"/>
                    </a:lnTo>
                    <a:lnTo>
                      <a:pt x="55" y="1473"/>
                    </a:lnTo>
                    <a:lnTo>
                      <a:pt x="70" y="1486"/>
                    </a:lnTo>
                    <a:lnTo>
                      <a:pt x="85" y="1500"/>
                    </a:lnTo>
                    <a:lnTo>
                      <a:pt x="99" y="1516"/>
                    </a:lnTo>
                    <a:lnTo>
                      <a:pt x="105" y="1524"/>
                    </a:lnTo>
                    <a:lnTo>
                      <a:pt x="111" y="1534"/>
                    </a:lnTo>
                    <a:lnTo>
                      <a:pt x="116" y="1544"/>
                    </a:lnTo>
                    <a:lnTo>
                      <a:pt x="120" y="1555"/>
                    </a:lnTo>
                    <a:lnTo>
                      <a:pt x="120" y="1555"/>
                    </a:lnTo>
                    <a:lnTo>
                      <a:pt x="125" y="1562"/>
                    </a:lnTo>
                    <a:lnTo>
                      <a:pt x="131" y="1569"/>
                    </a:lnTo>
                    <a:lnTo>
                      <a:pt x="141" y="1582"/>
                    </a:lnTo>
                    <a:lnTo>
                      <a:pt x="146" y="1590"/>
                    </a:lnTo>
                    <a:lnTo>
                      <a:pt x="150" y="1597"/>
                    </a:lnTo>
                    <a:lnTo>
                      <a:pt x="153" y="1605"/>
                    </a:lnTo>
                    <a:lnTo>
                      <a:pt x="154" y="1614"/>
                    </a:lnTo>
                    <a:lnTo>
                      <a:pt x="154" y="1614"/>
                    </a:lnTo>
                    <a:lnTo>
                      <a:pt x="154" y="1622"/>
                    </a:lnTo>
                    <a:lnTo>
                      <a:pt x="153" y="1630"/>
                    </a:lnTo>
                    <a:lnTo>
                      <a:pt x="148" y="1644"/>
                    </a:lnTo>
                    <a:lnTo>
                      <a:pt x="145" y="1658"/>
                    </a:lnTo>
                    <a:lnTo>
                      <a:pt x="143" y="1665"/>
                    </a:lnTo>
                    <a:lnTo>
                      <a:pt x="143" y="1673"/>
                    </a:lnTo>
                    <a:lnTo>
                      <a:pt x="143" y="1673"/>
                    </a:lnTo>
                    <a:lnTo>
                      <a:pt x="143" y="1688"/>
                    </a:lnTo>
                    <a:lnTo>
                      <a:pt x="145" y="1702"/>
                    </a:lnTo>
                    <a:lnTo>
                      <a:pt x="148" y="1730"/>
                    </a:lnTo>
                    <a:lnTo>
                      <a:pt x="153" y="1758"/>
                    </a:lnTo>
                    <a:lnTo>
                      <a:pt x="154" y="1772"/>
                    </a:lnTo>
                    <a:lnTo>
                      <a:pt x="154" y="1787"/>
                    </a:lnTo>
                    <a:lnTo>
                      <a:pt x="154" y="1787"/>
                    </a:lnTo>
                    <a:lnTo>
                      <a:pt x="154" y="1853"/>
                    </a:lnTo>
                    <a:lnTo>
                      <a:pt x="154" y="1853"/>
                    </a:lnTo>
                    <a:lnTo>
                      <a:pt x="153" y="1860"/>
                    </a:lnTo>
                    <a:lnTo>
                      <a:pt x="149" y="1868"/>
                    </a:lnTo>
                    <a:lnTo>
                      <a:pt x="147" y="1879"/>
                    </a:lnTo>
                    <a:lnTo>
                      <a:pt x="146" y="1885"/>
                    </a:lnTo>
                    <a:lnTo>
                      <a:pt x="147" y="1890"/>
                    </a:lnTo>
                    <a:lnTo>
                      <a:pt x="147" y="1890"/>
                    </a:lnTo>
                    <a:lnTo>
                      <a:pt x="149" y="1896"/>
                    </a:lnTo>
                    <a:lnTo>
                      <a:pt x="153" y="1902"/>
                    </a:lnTo>
                    <a:lnTo>
                      <a:pt x="157" y="1906"/>
                    </a:lnTo>
                    <a:lnTo>
                      <a:pt x="162" y="1910"/>
                    </a:lnTo>
                    <a:lnTo>
                      <a:pt x="173" y="1917"/>
                    </a:lnTo>
                    <a:lnTo>
                      <a:pt x="185" y="1921"/>
                    </a:lnTo>
                    <a:lnTo>
                      <a:pt x="198" y="1926"/>
                    </a:lnTo>
                    <a:lnTo>
                      <a:pt x="209" y="1932"/>
                    </a:lnTo>
                    <a:lnTo>
                      <a:pt x="214" y="1936"/>
                    </a:lnTo>
                    <a:lnTo>
                      <a:pt x="217" y="1941"/>
                    </a:lnTo>
                    <a:lnTo>
                      <a:pt x="222" y="1946"/>
                    </a:lnTo>
                    <a:lnTo>
                      <a:pt x="224" y="1952"/>
                    </a:lnTo>
                    <a:lnTo>
                      <a:pt x="224" y="1952"/>
                    </a:lnTo>
                    <a:lnTo>
                      <a:pt x="227" y="1966"/>
                    </a:lnTo>
                    <a:lnTo>
                      <a:pt x="232" y="1983"/>
                    </a:lnTo>
                    <a:lnTo>
                      <a:pt x="239" y="2018"/>
                    </a:lnTo>
                    <a:lnTo>
                      <a:pt x="246" y="2059"/>
                    </a:lnTo>
                    <a:lnTo>
                      <a:pt x="246" y="2059"/>
                    </a:lnTo>
                    <a:lnTo>
                      <a:pt x="244" y="2089"/>
                    </a:lnTo>
                    <a:lnTo>
                      <a:pt x="241" y="2116"/>
                    </a:lnTo>
                    <a:lnTo>
                      <a:pt x="240" y="2128"/>
                    </a:lnTo>
                    <a:lnTo>
                      <a:pt x="237" y="2141"/>
                    </a:lnTo>
                    <a:lnTo>
                      <a:pt x="231" y="2153"/>
                    </a:lnTo>
                    <a:lnTo>
                      <a:pt x="224" y="2165"/>
                    </a:lnTo>
                    <a:lnTo>
                      <a:pt x="224" y="2165"/>
                    </a:lnTo>
                    <a:lnTo>
                      <a:pt x="139" y="2165"/>
                    </a:lnTo>
                    <a:lnTo>
                      <a:pt x="139" y="2165"/>
                    </a:lnTo>
                    <a:lnTo>
                      <a:pt x="139" y="2165"/>
                    </a:lnTo>
                    <a:lnTo>
                      <a:pt x="132" y="2171"/>
                    </a:lnTo>
                    <a:lnTo>
                      <a:pt x="126" y="2178"/>
                    </a:lnTo>
                    <a:lnTo>
                      <a:pt x="120" y="2184"/>
                    </a:lnTo>
                    <a:lnTo>
                      <a:pt x="116" y="2192"/>
                    </a:lnTo>
                    <a:lnTo>
                      <a:pt x="107" y="2208"/>
                    </a:lnTo>
                    <a:lnTo>
                      <a:pt x="95" y="2227"/>
                    </a:lnTo>
                    <a:lnTo>
                      <a:pt x="95" y="2227"/>
                    </a:lnTo>
                    <a:lnTo>
                      <a:pt x="99" y="2237"/>
                    </a:lnTo>
                    <a:lnTo>
                      <a:pt x="101" y="2245"/>
                    </a:lnTo>
                    <a:lnTo>
                      <a:pt x="103" y="2256"/>
                    </a:lnTo>
                    <a:lnTo>
                      <a:pt x="104" y="2268"/>
                    </a:lnTo>
                    <a:lnTo>
                      <a:pt x="104" y="2279"/>
                    </a:lnTo>
                    <a:lnTo>
                      <a:pt x="103" y="2285"/>
                    </a:lnTo>
                    <a:lnTo>
                      <a:pt x="101" y="2290"/>
                    </a:lnTo>
                    <a:lnTo>
                      <a:pt x="99" y="2294"/>
                    </a:lnTo>
                    <a:lnTo>
                      <a:pt x="95" y="2298"/>
                    </a:lnTo>
                    <a:lnTo>
                      <a:pt x="95" y="2298"/>
                    </a:lnTo>
                    <a:lnTo>
                      <a:pt x="89" y="2298"/>
                    </a:lnTo>
                    <a:lnTo>
                      <a:pt x="87" y="2296"/>
                    </a:lnTo>
                    <a:lnTo>
                      <a:pt x="85" y="2294"/>
                    </a:lnTo>
                    <a:lnTo>
                      <a:pt x="85" y="2294"/>
                    </a:lnTo>
                    <a:lnTo>
                      <a:pt x="85" y="2342"/>
                    </a:lnTo>
                    <a:lnTo>
                      <a:pt x="85" y="2342"/>
                    </a:lnTo>
                    <a:lnTo>
                      <a:pt x="85" y="2352"/>
                    </a:lnTo>
                    <a:lnTo>
                      <a:pt x="87" y="2359"/>
                    </a:lnTo>
                    <a:lnTo>
                      <a:pt x="89" y="2363"/>
                    </a:lnTo>
                    <a:lnTo>
                      <a:pt x="94" y="2368"/>
                    </a:lnTo>
                    <a:lnTo>
                      <a:pt x="103" y="2377"/>
                    </a:lnTo>
                    <a:lnTo>
                      <a:pt x="108" y="2384"/>
                    </a:lnTo>
                    <a:lnTo>
                      <a:pt x="114" y="2393"/>
                    </a:lnTo>
                    <a:lnTo>
                      <a:pt x="114" y="2393"/>
                    </a:lnTo>
                    <a:lnTo>
                      <a:pt x="116" y="2399"/>
                    </a:lnTo>
                    <a:lnTo>
                      <a:pt x="116" y="2405"/>
                    </a:lnTo>
                    <a:lnTo>
                      <a:pt x="115" y="2416"/>
                    </a:lnTo>
                    <a:lnTo>
                      <a:pt x="114" y="2422"/>
                    </a:lnTo>
                    <a:lnTo>
                      <a:pt x="115" y="2426"/>
                    </a:lnTo>
                    <a:lnTo>
                      <a:pt x="117" y="2430"/>
                    </a:lnTo>
                    <a:lnTo>
                      <a:pt x="120" y="2433"/>
                    </a:lnTo>
                    <a:lnTo>
                      <a:pt x="120" y="2433"/>
                    </a:lnTo>
                    <a:lnTo>
                      <a:pt x="130" y="2439"/>
                    </a:lnTo>
                    <a:lnTo>
                      <a:pt x="139" y="2443"/>
                    </a:lnTo>
                    <a:lnTo>
                      <a:pt x="148" y="2444"/>
                    </a:lnTo>
                    <a:lnTo>
                      <a:pt x="156" y="2444"/>
                    </a:lnTo>
                    <a:lnTo>
                      <a:pt x="174" y="2444"/>
                    </a:lnTo>
                    <a:lnTo>
                      <a:pt x="184" y="2445"/>
                    </a:lnTo>
                    <a:lnTo>
                      <a:pt x="194" y="2448"/>
                    </a:lnTo>
                    <a:lnTo>
                      <a:pt x="194" y="2448"/>
                    </a:lnTo>
                    <a:lnTo>
                      <a:pt x="203" y="2454"/>
                    </a:lnTo>
                    <a:lnTo>
                      <a:pt x="210" y="2460"/>
                    </a:lnTo>
                    <a:lnTo>
                      <a:pt x="217" y="2468"/>
                    </a:lnTo>
                    <a:lnTo>
                      <a:pt x="223" y="2477"/>
                    </a:lnTo>
                    <a:lnTo>
                      <a:pt x="232" y="2497"/>
                    </a:lnTo>
                    <a:lnTo>
                      <a:pt x="237" y="2506"/>
                    </a:lnTo>
                    <a:lnTo>
                      <a:pt x="242" y="2514"/>
                    </a:lnTo>
                    <a:lnTo>
                      <a:pt x="242" y="2514"/>
                    </a:lnTo>
                    <a:lnTo>
                      <a:pt x="247" y="2519"/>
                    </a:lnTo>
                    <a:lnTo>
                      <a:pt x="252" y="2523"/>
                    </a:lnTo>
                    <a:lnTo>
                      <a:pt x="264" y="2529"/>
                    </a:lnTo>
                    <a:lnTo>
                      <a:pt x="275" y="2534"/>
                    </a:lnTo>
                    <a:lnTo>
                      <a:pt x="279" y="2536"/>
                    </a:lnTo>
                    <a:lnTo>
                      <a:pt x="283" y="2540"/>
                    </a:lnTo>
                    <a:lnTo>
                      <a:pt x="283" y="2540"/>
                    </a:lnTo>
                    <a:lnTo>
                      <a:pt x="285" y="2548"/>
                    </a:lnTo>
                    <a:lnTo>
                      <a:pt x="286" y="2558"/>
                    </a:lnTo>
                    <a:lnTo>
                      <a:pt x="288" y="2580"/>
                    </a:lnTo>
                    <a:lnTo>
                      <a:pt x="290" y="2590"/>
                    </a:lnTo>
                    <a:lnTo>
                      <a:pt x="293" y="2598"/>
                    </a:lnTo>
                    <a:lnTo>
                      <a:pt x="295" y="2601"/>
                    </a:lnTo>
                    <a:lnTo>
                      <a:pt x="298" y="2604"/>
                    </a:lnTo>
                    <a:lnTo>
                      <a:pt x="301" y="2605"/>
                    </a:lnTo>
                    <a:lnTo>
                      <a:pt x="305" y="2606"/>
                    </a:lnTo>
                    <a:lnTo>
                      <a:pt x="305" y="2606"/>
                    </a:lnTo>
                    <a:lnTo>
                      <a:pt x="325" y="2606"/>
                    </a:lnTo>
                    <a:lnTo>
                      <a:pt x="333" y="2607"/>
                    </a:lnTo>
                    <a:lnTo>
                      <a:pt x="341" y="2608"/>
                    </a:lnTo>
                    <a:lnTo>
                      <a:pt x="351" y="2611"/>
                    </a:lnTo>
                    <a:lnTo>
                      <a:pt x="359" y="2614"/>
                    </a:lnTo>
                    <a:lnTo>
                      <a:pt x="368" y="2619"/>
                    </a:lnTo>
                    <a:lnTo>
                      <a:pt x="378" y="2624"/>
                    </a:lnTo>
                    <a:lnTo>
                      <a:pt x="378" y="2624"/>
                    </a:lnTo>
                    <a:lnTo>
                      <a:pt x="386" y="2630"/>
                    </a:lnTo>
                    <a:lnTo>
                      <a:pt x="393" y="2636"/>
                    </a:lnTo>
                    <a:lnTo>
                      <a:pt x="405" y="2651"/>
                    </a:lnTo>
                    <a:lnTo>
                      <a:pt x="412" y="2658"/>
                    </a:lnTo>
                    <a:lnTo>
                      <a:pt x="418" y="2664"/>
                    </a:lnTo>
                    <a:lnTo>
                      <a:pt x="428" y="2667"/>
                    </a:lnTo>
                    <a:lnTo>
                      <a:pt x="432" y="2668"/>
                    </a:lnTo>
                    <a:lnTo>
                      <a:pt x="437" y="2669"/>
                    </a:lnTo>
                    <a:lnTo>
                      <a:pt x="437" y="2669"/>
                    </a:lnTo>
                    <a:lnTo>
                      <a:pt x="443" y="2668"/>
                    </a:lnTo>
                    <a:lnTo>
                      <a:pt x="448" y="2667"/>
                    </a:lnTo>
                    <a:lnTo>
                      <a:pt x="453" y="2664"/>
                    </a:lnTo>
                    <a:lnTo>
                      <a:pt x="456" y="2660"/>
                    </a:lnTo>
                    <a:lnTo>
                      <a:pt x="460" y="2655"/>
                    </a:lnTo>
                    <a:lnTo>
                      <a:pt x="463" y="2651"/>
                    </a:lnTo>
                    <a:lnTo>
                      <a:pt x="468" y="2638"/>
                    </a:lnTo>
                    <a:lnTo>
                      <a:pt x="470" y="2624"/>
                    </a:lnTo>
                    <a:lnTo>
                      <a:pt x="473" y="2609"/>
                    </a:lnTo>
                    <a:lnTo>
                      <a:pt x="474" y="2594"/>
                    </a:lnTo>
                    <a:lnTo>
                      <a:pt x="474" y="2581"/>
                    </a:lnTo>
                    <a:lnTo>
                      <a:pt x="474" y="2581"/>
                    </a:lnTo>
                    <a:lnTo>
                      <a:pt x="475" y="2571"/>
                    </a:lnTo>
                    <a:lnTo>
                      <a:pt x="477" y="2566"/>
                    </a:lnTo>
                    <a:lnTo>
                      <a:pt x="482" y="2561"/>
                    </a:lnTo>
                    <a:lnTo>
                      <a:pt x="486" y="2559"/>
                    </a:lnTo>
                    <a:lnTo>
                      <a:pt x="497" y="2558"/>
                    </a:lnTo>
                    <a:lnTo>
                      <a:pt x="502" y="2557"/>
                    </a:lnTo>
                    <a:lnTo>
                      <a:pt x="507" y="2554"/>
                    </a:lnTo>
                    <a:lnTo>
                      <a:pt x="507" y="2554"/>
                    </a:lnTo>
                    <a:lnTo>
                      <a:pt x="509" y="2550"/>
                    </a:lnTo>
                    <a:lnTo>
                      <a:pt x="512" y="2543"/>
                    </a:lnTo>
                    <a:lnTo>
                      <a:pt x="513" y="2535"/>
                    </a:lnTo>
                    <a:lnTo>
                      <a:pt x="514" y="2525"/>
                    </a:lnTo>
                    <a:lnTo>
                      <a:pt x="514" y="2508"/>
                    </a:lnTo>
                    <a:lnTo>
                      <a:pt x="515" y="2501"/>
                    </a:lnTo>
                    <a:lnTo>
                      <a:pt x="517" y="2496"/>
                    </a:lnTo>
                    <a:lnTo>
                      <a:pt x="517" y="2496"/>
                    </a:lnTo>
                    <a:lnTo>
                      <a:pt x="522" y="2490"/>
                    </a:lnTo>
                    <a:lnTo>
                      <a:pt x="528" y="2485"/>
                    </a:lnTo>
                    <a:lnTo>
                      <a:pt x="535" y="2482"/>
                    </a:lnTo>
                    <a:lnTo>
                      <a:pt x="543" y="2478"/>
                    </a:lnTo>
                    <a:lnTo>
                      <a:pt x="559" y="2473"/>
                    </a:lnTo>
                    <a:lnTo>
                      <a:pt x="576" y="2468"/>
                    </a:lnTo>
                    <a:lnTo>
                      <a:pt x="590" y="2462"/>
                    </a:lnTo>
                    <a:lnTo>
                      <a:pt x="596" y="2460"/>
                    </a:lnTo>
                    <a:lnTo>
                      <a:pt x="600" y="2456"/>
                    </a:lnTo>
                    <a:lnTo>
                      <a:pt x="604" y="2452"/>
                    </a:lnTo>
                    <a:lnTo>
                      <a:pt x="605" y="2447"/>
                    </a:lnTo>
                    <a:lnTo>
                      <a:pt x="605" y="2440"/>
                    </a:lnTo>
                    <a:lnTo>
                      <a:pt x="601" y="2433"/>
                    </a:lnTo>
                    <a:lnTo>
                      <a:pt x="601" y="2433"/>
                    </a:lnTo>
                    <a:lnTo>
                      <a:pt x="597" y="2422"/>
                    </a:lnTo>
                    <a:lnTo>
                      <a:pt x="593" y="2410"/>
                    </a:lnTo>
                    <a:lnTo>
                      <a:pt x="585" y="2390"/>
                    </a:lnTo>
                    <a:lnTo>
                      <a:pt x="582" y="2380"/>
                    </a:lnTo>
                    <a:lnTo>
                      <a:pt x="576" y="2374"/>
                    </a:lnTo>
                    <a:lnTo>
                      <a:pt x="574" y="2371"/>
                    </a:lnTo>
                    <a:lnTo>
                      <a:pt x="569" y="2369"/>
                    </a:lnTo>
                    <a:lnTo>
                      <a:pt x="566" y="2368"/>
                    </a:lnTo>
                    <a:lnTo>
                      <a:pt x="561" y="2367"/>
                    </a:lnTo>
                    <a:lnTo>
                      <a:pt x="561" y="2367"/>
                    </a:lnTo>
                    <a:lnTo>
                      <a:pt x="557" y="2368"/>
                    </a:lnTo>
                    <a:lnTo>
                      <a:pt x="553" y="2369"/>
                    </a:lnTo>
                    <a:lnTo>
                      <a:pt x="551" y="2371"/>
                    </a:lnTo>
                    <a:lnTo>
                      <a:pt x="550" y="2375"/>
                    </a:lnTo>
                    <a:lnTo>
                      <a:pt x="546" y="2379"/>
                    </a:lnTo>
                    <a:lnTo>
                      <a:pt x="545" y="2382"/>
                    </a:lnTo>
                    <a:lnTo>
                      <a:pt x="543" y="2382"/>
                    </a:lnTo>
                    <a:lnTo>
                      <a:pt x="543" y="2382"/>
                    </a:lnTo>
                    <a:lnTo>
                      <a:pt x="538" y="2382"/>
                    </a:lnTo>
                    <a:lnTo>
                      <a:pt x="535" y="2379"/>
                    </a:lnTo>
                    <a:lnTo>
                      <a:pt x="531" y="2376"/>
                    </a:lnTo>
                    <a:lnTo>
                      <a:pt x="529" y="2372"/>
                    </a:lnTo>
                    <a:lnTo>
                      <a:pt x="525" y="2363"/>
                    </a:lnTo>
                    <a:lnTo>
                      <a:pt x="524" y="2356"/>
                    </a:lnTo>
                    <a:lnTo>
                      <a:pt x="524" y="2356"/>
                    </a:lnTo>
                    <a:lnTo>
                      <a:pt x="525" y="2352"/>
                    </a:lnTo>
                    <a:lnTo>
                      <a:pt x="527" y="2348"/>
                    </a:lnTo>
                    <a:lnTo>
                      <a:pt x="530" y="2341"/>
                    </a:lnTo>
                    <a:lnTo>
                      <a:pt x="542" y="2328"/>
                    </a:lnTo>
                    <a:lnTo>
                      <a:pt x="546" y="2321"/>
                    </a:lnTo>
                    <a:lnTo>
                      <a:pt x="548" y="2316"/>
                    </a:lnTo>
                    <a:lnTo>
                      <a:pt x="550" y="2311"/>
                    </a:lnTo>
                    <a:lnTo>
                      <a:pt x="550" y="2306"/>
                    </a:lnTo>
                    <a:lnTo>
                      <a:pt x="548" y="2299"/>
                    </a:lnTo>
                    <a:lnTo>
                      <a:pt x="546" y="2292"/>
                    </a:lnTo>
                    <a:lnTo>
                      <a:pt x="543" y="2283"/>
                    </a:lnTo>
                    <a:lnTo>
                      <a:pt x="543" y="2283"/>
                    </a:lnTo>
                    <a:lnTo>
                      <a:pt x="547" y="2272"/>
                    </a:lnTo>
                    <a:lnTo>
                      <a:pt x="554" y="2258"/>
                    </a:lnTo>
                    <a:lnTo>
                      <a:pt x="563" y="2245"/>
                    </a:lnTo>
                    <a:lnTo>
                      <a:pt x="573" y="2231"/>
                    </a:lnTo>
                    <a:lnTo>
                      <a:pt x="583" y="2218"/>
                    </a:lnTo>
                    <a:lnTo>
                      <a:pt x="594" y="2208"/>
                    </a:lnTo>
                    <a:lnTo>
                      <a:pt x="599" y="2204"/>
                    </a:lnTo>
                    <a:lnTo>
                      <a:pt x="605" y="2201"/>
                    </a:lnTo>
                    <a:lnTo>
                      <a:pt x="611" y="2199"/>
                    </a:lnTo>
                    <a:lnTo>
                      <a:pt x="616" y="2199"/>
                    </a:lnTo>
                    <a:lnTo>
                      <a:pt x="616" y="2199"/>
                    </a:lnTo>
                    <a:lnTo>
                      <a:pt x="620" y="2199"/>
                    </a:lnTo>
                    <a:lnTo>
                      <a:pt x="623" y="2201"/>
                    </a:lnTo>
                    <a:lnTo>
                      <a:pt x="626" y="2203"/>
                    </a:lnTo>
                    <a:lnTo>
                      <a:pt x="628" y="2207"/>
                    </a:lnTo>
                    <a:lnTo>
                      <a:pt x="630" y="2216"/>
                    </a:lnTo>
                    <a:lnTo>
                      <a:pt x="631" y="2224"/>
                    </a:lnTo>
                    <a:lnTo>
                      <a:pt x="631" y="2224"/>
                    </a:lnTo>
                    <a:lnTo>
                      <a:pt x="630" y="2230"/>
                    </a:lnTo>
                    <a:lnTo>
                      <a:pt x="629" y="2233"/>
                    </a:lnTo>
                    <a:lnTo>
                      <a:pt x="627" y="2237"/>
                    </a:lnTo>
                    <a:lnTo>
                      <a:pt x="623" y="2240"/>
                    </a:lnTo>
                    <a:lnTo>
                      <a:pt x="619" y="2245"/>
                    </a:lnTo>
                    <a:lnTo>
                      <a:pt x="618" y="2247"/>
                    </a:lnTo>
                    <a:lnTo>
                      <a:pt x="616" y="2249"/>
                    </a:lnTo>
                    <a:lnTo>
                      <a:pt x="616" y="2249"/>
                    </a:lnTo>
                    <a:lnTo>
                      <a:pt x="618" y="2253"/>
                    </a:lnTo>
                    <a:lnTo>
                      <a:pt x="621" y="2256"/>
                    </a:lnTo>
                    <a:lnTo>
                      <a:pt x="632" y="2264"/>
                    </a:lnTo>
                    <a:lnTo>
                      <a:pt x="650" y="2273"/>
                    </a:lnTo>
                    <a:lnTo>
                      <a:pt x="670" y="2283"/>
                    </a:lnTo>
                    <a:lnTo>
                      <a:pt x="692" y="2291"/>
                    </a:lnTo>
                    <a:lnTo>
                      <a:pt x="712" y="2299"/>
                    </a:lnTo>
                    <a:lnTo>
                      <a:pt x="729" y="2303"/>
                    </a:lnTo>
                    <a:lnTo>
                      <a:pt x="741" y="2305"/>
                    </a:lnTo>
                    <a:lnTo>
                      <a:pt x="741" y="2305"/>
                    </a:lnTo>
                    <a:lnTo>
                      <a:pt x="746" y="2305"/>
                    </a:lnTo>
                    <a:lnTo>
                      <a:pt x="751" y="2303"/>
                    </a:lnTo>
                    <a:lnTo>
                      <a:pt x="761" y="2299"/>
                    </a:lnTo>
                    <a:lnTo>
                      <a:pt x="772" y="2295"/>
                    </a:lnTo>
                    <a:lnTo>
                      <a:pt x="776" y="2294"/>
                    </a:lnTo>
                    <a:lnTo>
                      <a:pt x="782" y="2294"/>
                    </a:lnTo>
                    <a:lnTo>
                      <a:pt x="782" y="2294"/>
                    </a:lnTo>
                    <a:lnTo>
                      <a:pt x="794" y="2295"/>
                    </a:lnTo>
                    <a:lnTo>
                      <a:pt x="804" y="2298"/>
                    </a:lnTo>
                    <a:lnTo>
                      <a:pt x="814" y="2301"/>
                    </a:lnTo>
                    <a:lnTo>
                      <a:pt x="823" y="2306"/>
                    </a:lnTo>
                    <a:lnTo>
                      <a:pt x="833" y="2309"/>
                    </a:lnTo>
                    <a:lnTo>
                      <a:pt x="842" y="2313"/>
                    </a:lnTo>
                    <a:lnTo>
                      <a:pt x="851" y="2314"/>
                    </a:lnTo>
                    <a:lnTo>
                      <a:pt x="863" y="2313"/>
                    </a:lnTo>
                    <a:lnTo>
                      <a:pt x="863" y="2313"/>
                    </a:lnTo>
                    <a:lnTo>
                      <a:pt x="876" y="2307"/>
                    </a:lnTo>
                    <a:lnTo>
                      <a:pt x="888" y="2301"/>
                    </a:lnTo>
                    <a:lnTo>
                      <a:pt x="898" y="2295"/>
                    </a:lnTo>
                    <a:lnTo>
                      <a:pt x="906" y="2288"/>
                    </a:lnTo>
                    <a:lnTo>
                      <a:pt x="914" y="2280"/>
                    </a:lnTo>
                    <a:lnTo>
                      <a:pt x="920" y="2271"/>
                    </a:lnTo>
                    <a:lnTo>
                      <a:pt x="927" y="2261"/>
                    </a:lnTo>
                    <a:lnTo>
                      <a:pt x="932" y="2249"/>
                    </a:lnTo>
                    <a:lnTo>
                      <a:pt x="932" y="2249"/>
                    </a:lnTo>
                    <a:lnTo>
                      <a:pt x="954" y="2249"/>
                    </a:lnTo>
                    <a:lnTo>
                      <a:pt x="954" y="2249"/>
                    </a:lnTo>
                    <a:lnTo>
                      <a:pt x="954" y="2249"/>
                    </a:lnTo>
                    <a:lnTo>
                      <a:pt x="960" y="2239"/>
                    </a:lnTo>
                    <a:lnTo>
                      <a:pt x="965" y="2229"/>
                    </a:lnTo>
                    <a:lnTo>
                      <a:pt x="972" y="2209"/>
                    </a:lnTo>
                    <a:lnTo>
                      <a:pt x="979" y="2189"/>
                    </a:lnTo>
                    <a:lnTo>
                      <a:pt x="982" y="2181"/>
                    </a:lnTo>
                    <a:lnTo>
                      <a:pt x="987" y="2172"/>
                    </a:lnTo>
                    <a:lnTo>
                      <a:pt x="987" y="2172"/>
                    </a:lnTo>
                    <a:lnTo>
                      <a:pt x="991" y="2166"/>
                    </a:lnTo>
                    <a:lnTo>
                      <a:pt x="995" y="2161"/>
                    </a:lnTo>
                    <a:lnTo>
                      <a:pt x="1000" y="2157"/>
                    </a:lnTo>
                    <a:lnTo>
                      <a:pt x="1004" y="2154"/>
                    </a:lnTo>
                    <a:lnTo>
                      <a:pt x="1014" y="2148"/>
                    </a:lnTo>
                    <a:lnTo>
                      <a:pt x="1026" y="2143"/>
                    </a:lnTo>
                    <a:lnTo>
                      <a:pt x="1036" y="2140"/>
                    </a:lnTo>
                    <a:lnTo>
                      <a:pt x="1047" y="2135"/>
                    </a:lnTo>
                    <a:lnTo>
                      <a:pt x="1052" y="2132"/>
                    </a:lnTo>
                    <a:lnTo>
                      <a:pt x="1057" y="2127"/>
                    </a:lnTo>
                    <a:lnTo>
                      <a:pt x="1061" y="2123"/>
                    </a:lnTo>
                    <a:lnTo>
                      <a:pt x="1064" y="2117"/>
                    </a:lnTo>
                    <a:lnTo>
                      <a:pt x="1064" y="2117"/>
                    </a:lnTo>
                    <a:lnTo>
                      <a:pt x="1069" y="2110"/>
                    </a:lnTo>
                    <a:lnTo>
                      <a:pt x="1073" y="2101"/>
                    </a:lnTo>
                    <a:lnTo>
                      <a:pt x="1082" y="2078"/>
                    </a:lnTo>
                    <a:lnTo>
                      <a:pt x="1090" y="2054"/>
                    </a:lnTo>
                    <a:lnTo>
                      <a:pt x="1100" y="2028"/>
                    </a:lnTo>
                    <a:lnTo>
                      <a:pt x="1105" y="2016"/>
                    </a:lnTo>
                    <a:lnTo>
                      <a:pt x="1110" y="2005"/>
                    </a:lnTo>
                    <a:lnTo>
                      <a:pt x="1117" y="1994"/>
                    </a:lnTo>
                    <a:lnTo>
                      <a:pt x="1124" y="1985"/>
                    </a:lnTo>
                    <a:lnTo>
                      <a:pt x="1131" y="1978"/>
                    </a:lnTo>
                    <a:lnTo>
                      <a:pt x="1140" y="1972"/>
                    </a:lnTo>
                    <a:lnTo>
                      <a:pt x="1149" y="1969"/>
                    </a:lnTo>
                    <a:lnTo>
                      <a:pt x="1159" y="1966"/>
                    </a:lnTo>
                    <a:lnTo>
                      <a:pt x="1159" y="1966"/>
                    </a:lnTo>
                    <a:lnTo>
                      <a:pt x="1169" y="1967"/>
                    </a:lnTo>
                    <a:lnTo>
                      <a:pt x="1178" y="1970"/>
                    </a:lnTo>
                    <a:lnTo>
                      <a:pt x="1187" y="1972"/>
                    </a:lnTo>
                    <a:lnTo>
                      <a:pt x="1195" y="1974"/>
                    </a:lnTo>
                    <a:lnTo>
                      <a:pt x="1210" y="1981"/>
                    </a:lnTo>
                    <a:lnTo>
                      <a:pt x="1223" y="1986"/>
                    </a:lnTo>
                    <a:lnTo>
                      <a:pt x="1223" y="1986"/>
                    </a:lnTo>
                    <a:lnTo>
                      <a:pt x="1285" y="1986"/>
                    </a:lnTo>
                    <a:lnTo>
                      <a:pt x="1285" y="1986"/>
                    </a:lnTo>
                    <a:lnTo>
                      <a:pt x="1285" y="1986"/>
                    </a:lnTo>
                    <a:lnTo>
                      <a:pt x="1295" y="1993"/>
                    </a:lnTo>
                    <a:lnTo>
                      <a:pt x="1306" y="1998"/>
                    </a:lnTo>
                    <a:lnTo>
                      <a:pt x="1316" y="2003"/>
                    </a:lnTo>
                    <a:lnTo>
                      <a:pt x="1326" y="2006"/>
                    </a:lnTo>
                    <a:lnTo>
                      <a:pt x="1339" y="2009"/>
                    </a:lnTo>
                    <a:lnTo>
                      <a:pt x="1350" y="2010"/>
                    </a:lnTo>
                    <a:lnTo>
                      <a:pt x="1377" y="2011"/>
                    </a:lnTo>
                    <a:lnTo>
                      <a:pt x="1377" y="2011"/>
                    </a:lnTo>
                    <a:lnTo>
                      <a:pt x="1387" y="2011"/>
                    </a:lnTo>
                    <a:lnTo>
                      <a:pt x="1397" y="2012"/>
                    </a:lnTo>
                    <a:lnTo>
                      <a:pt x="1405" y="2015"/>
                    </a:lnTo>
                    <a:lnTo>
                      <a:pt x="1413" y="2018"/>
                    </a:lnTo>
                    <a:lnTo>
                      <a:pt x="1426" y="2025"/>
                    </a:lnTo>
                    <a:lnTo>
                      <a:pt x="1438" y="2033"/>
                    </a:lnTo>
                    <a:lnTo>
                      <a:pt x="1449" y="2041"/>
                    </a:lnTo>
                    <a:lnTo>
                      <a:pt x="1462" y="2048"/>
                    </a:lnTo>
                    <a:lnTo>
                      <a:pt x="1469" y="2051"/>
                    </a:lnTo>
                    <a:lnTo>
                      <a:pt x="1477" y="2053"/>
                    </a:lnTo>
                    <a:lnTo>
                      <a:pt x="1485" y="2055"/>
                    </a:lnTo>
                    <a:lnTo>
                      <a:pt x="1494" y="2055"/>
                    </a:lnTo>
                    <a:lnTo>
                      <a:pt x="1494" y="2055"/>
                    </a:lnTo>
                    <a:lnTo>
                      <a:pt x="1500" y="2055"/>
                    </a:lnTo>
                    <a:lnTo>
                      <a:pt x="1506" y="2053"/>
                    </a:lnTo>
                    <a:lnTo>
                      <a:pt x="1512" y="2050"/>
                    </a:lnTo>
                    <a:lnTo>
                      <a:pt x="1516" y="2047"/>
                    </a:lnTo>
                    <a:lnTo>
                      <a:pt x="1527" y="2038"/>
                    </a:lnTo>
                    <a:lnTo>
                      <a:pt x="1536" y="2027"/>
                    </a:lnTo>
                    <a:lnTo>
                      <a:pt x="1547" y="2018"/>
                    </a:lnTo>
                    <a:lnTo>
                      <a:pt x="1559" y="2009"/>
                    </a:lnTo>
                    <a:lnTo>
                      <a:pt x="1566" y="2005"/>
                    </a:lnTo>
                    <a:lnTo>
                      <a:pt x="1573" y="2003"/>
                    </a:lnTo>
                    <a:lnTo>
                      <a:pt x="1581" y="2001"/>
                    </a:lnTo>
                    <a:lnTo>
                      <a:pt x="1590" y="2001"/>
                    </a:lnTo>
                    <a:lnTo>
                      <a:pt x="1590" y="2001"/>
                    </a:lnTo>
                    <a:lnTo>
                      <a:pt x="1594" y="2001"/>
                    </a:lnTo>
                    <a:lnTo>
                      <a:pt x="1599" y="2002"/>
                    </a:lnTo>
                    <a:lnTo>
                      <a:pt x="1607" y="2005"/>
                    </a:lnTo>
                    <a:lnTo>
                      <a:pt x="1614" y="2011"/>
                    </a:lnTo>
                    <a:lnTo>
                      <a:pt x="1621" y="2017"/>
                    </a:lnTo>
                    <a:lnTo>
                      <a:pt x="1628" y="2023"/>
                    </a:lnTo>
                    <a:lnTo>
                      <a:pt x="1636" y="2028"/>
                    </a:lnTo>
                    <a:lnTo>
                      <a:pt x="1643" y="2032"/>
                    </a:lnTo>
                    <a:lnTo>
                      <a:pt x="1647" y="2033"/>
                    </a:lnTo>
                    <a:lnTo>
                      <a:pt x="1652" y="2033"/>
                    </a:lnTo>
                    <a:lnTo>
                      <a:pt x="1652" y="2033"/>
                    </a:lnTo>
                    <a:lnTo>
                      <a:pt x="1653" y="2027"/>
                    </a:lnTo>
                    <a:lnTo>
                      <a:pt x="1654" y="2023"/>
                    </a:lnTo>
                    <a:lnTo>
                      <a:pt x="1655" y="2018"/>
                    </a:lnTo>
                    <a:lnTo>
                      <a:pt x="1658" y="2013"/>
                    </a:lnTo>
                    <a:lnTo>
                      <a:pt x="1665" y="2006"/>
                    </a:lnTo>
                    <a:lnTo>
                      <a:pt x="1673" y="2001"/>
                    </a:lnTo>
                    <a:lnTo>
                      <a:pt x="1682" y="1996"/>
                    </a:lnTo>
                    <a:lnTo>
                      <a:pt x="1692" y="1992"/>
                    </a:lnTo>
                    <a:lnTo>
                      <a:pt x="1715" y="1983"/>
                    </a:lnTo>
                    <a:lnTo>
                      <a:pt x="1727" y="1979"/>
                    </a:lnTo>
                    <a:lnTo>
                      <a:pt x="1737" y="1974"/>
                    </a:lnTo>
                    <a:lnTo>
                      <a:pt x="1747" y="1969"/>
                    </a:lnTo>
                    <a:lnTo>
                      <a:pt x="1756" y="1963"/>
                    </a:lnTo>
                    <a:lnTo>
                      <a:pt x="1764" y="1955"/>
                    </a:lnTo>
                    <a:lnTo>
                      <a:pt x="1766" y="1950"/>
                    </a:lnTo>
                    <a:lnTo>
                      <a:pt x="1768" y="1944"/>
                    </a:lnTo>
                    <a:lnTo>
                      <a:pt x="1769" y="1940"/>
                    </a:lnTo>
                    <a:lnTo>
                      <a:pt x="1771" y="1933"/>
                    </a:lnTo>
                    <a:lnTo>
                      <a:pt x="1771" y="1926"/>
                    </a:lnTo>
                    <a:lnTo>
                      <a:pt x="1771" y="1919"/>
                    </a:lnTo>
                    <a:lnTo>
                      <a:pt x="1771" y="1919"/>
                    </a:lnTo>
                    <a:lnTo>
                      <a:pt x="1759" y="1919"/>
                    </a:lnTo>
                    <a:lnTo>
                      <a:pt x="1749" y="1917"/>
                    </a:lnTo>
                    <a:lnTo>
                      <a:pt x="1739" y="1914"/>
                    </a:lnTo>
                    <a:lnTo>
                      <a:pt x="1730" y="1910"/>
                    </a:lnTo>
                    <a:lnTo>
                      <a:pt x="1722" y="1905"/>
                    </a:lnTo>
                    <a:lnTo>
                      <a:pt x="1715" y="1899"/>
                    </a:lnTo>
                    <a:lnTo>
                      <a:pt x="1708" y="1893"/>
                    </a:lnTo>
                    <a:lnTo>
                      <a:pt x="1701" y="1886"/>
                    </a:lnTo>
                    <a:lnTo>
                      <a:pt x="1696" y="1878"/>
                    </a:lnTo>
                    <a:lnTo>
                      <a:pt x="1691" y="1868"/>
                    </a:lnTo>
                    <a:lnTo>
                      <a:pt x="1688" y="1859"/>
                    </a:lnTo>
                    <a:lnTo>
                      <a:pt x="1684" y="1850"/>
                    </a:lnTo>
                    <a:lnTo>
                      <a:pt x="1681" y="1838"/>
                    </a:lnTo>
                    <a:lnTo>
                      <a:pt x="1680" y="1828"/>
                    </a:lnTo>
                    <a:lnTo>
                      <a:pt x="1678" y="1817"/>
                    </a:lnTo>
                    <a:lnTo>
                      <a:pt x="1677" y="1805"/>
                    </a:lnTo>
                    <a:lnTo>
                      <a:pt x="1677" y="1805"/>
                    </a:lnTo>
                    <a:lnTo>
                      <a:pt x="1677" y="1810"/>
                    </a:lnTo>
                    <a:lnTo>
                      <a:pt x="1677" y="181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6" name="Freeform 101"/>
              <p:cNvSpPr>
                <a:spLocks noChangeAspect="1"/>
              </p:cNvSpPr>
              <p:nvPr/>
            </p:nvSpPr>
            <p:spPr bwMode="auto">
              <a:xfrm>
                <a:off x="2186721" y="3752362"/>
                <a:ext cx="562713" cy="567765"/>
              </a:xfrm>
              <a:custGeom>
                <a:avLst/>
                <a:gdLst/>
                <a:ahLst/>
                <a:cxnLst>
                  <a:cxn ang="0">
                    <a:pos x="343" y="96"/>
                  </a:cxn>
                  <a:cxn ang="0">
                    <a:pos x="313" y="65"/>
                  </a:cxn>
                  <a:cxn ang="0">
                    <a:pos x="298" y="59"/>
                  </a:cxn>
                  <a:cxn ang="0">
                    <a:pos x="277" y="49"/>
                  </a:cxn>
                  <a:cxn ang="0">
                    <a:pos x="274" y="19"/>
                  </a:cxn>
                  <a:cxn ang="0">
                    <a:pos x="256" y="3"/>
                  </a:cxn>
                  <a:cxn ang="0">
                    <a:pos x="203" y="4"/>
                  </a:cxn>
                  <a:cxn ang="0">
                    <a:pos x="168" y="0"/>
                  </a:cxn>
                  <a:cxn ang="0">
                    <a:pos x="159" y="18"/>
                  </a:cxn>
                  <a:cxn ang="0">
                    <a:pos x="165" y="64"/>
                  </a:cxn>
                  <a:cxn ang="0">
                    <a:pos x="144" y="76"/>
                  </a:cxn>
                  <a:cxn ang="0">
                    <a:pos x="152" y="86"/>
                  </a:cxn>
                  <a:cxn ang="0">
                    <a:pos x="175" y="115"/>
                  </a:cxn>
                  <a:cxn ang="0">
                    <a:pos x="218" y="143"/>
                  </a:cxn>
                  <a:cxn ang="0">
                    <a:pos x="224" y="174"/>
                  </a:cxn>
                  <a:cxn ang="0">
                    <a:pos x="201" y="205"/>
                  </a:cxn>
                  <a:cxn ang="0">
                    <a:pos x="155" y="241"/>
                  </a:cxn>
                  <a:cxn ang="0">
                    <a:pos x="148" y="338"/>
                  </a:cxn>
                  <a:cxn ang="0">
                    <a:pos x="128" y="349"/>
                  </a:cxn>
                  <a:cxn ang="0">
                    <a:pos x="98" y="398"/>
                  </a:cxn>
                  <a:cxn ang="0">
                    <a:pos x="74" y="529"/>
                  </a:cxn>
                  <a:cxn ang="0">
                    <a:pos x="56" y="595"/>
                  </a:cxn>
                  <a:cxn ang="0">
                    <a:pos x="13" y="614"/>
                  </a:cxn>
                  <a:cxn ang="0">
                    <a:pos x="0" y="636"/>
                  </a:cxn>
                  <a:cxn ang="0">
                    <a:pos x="14" y="663"/>
                  </a:cxn>
                  <a:cxn ang="0">
                    <a:pos x="43" y="679"/>
                  </a:cxn>
                  <a:cxn ang="0">
                    <a:pos x="65" y="721"/>
                  </a:cxn>
                  <a:cxn ang="0">
                    <a:pos x="107" y="730"/>
                  </a:cxn>
                  <a:cxn ang="0">
                    <a:pos x="125" y="738"/>
                  </a:cxn>
                  <a:cxn ang="0">
                    <a:pos x="141" y="755"/>
                  </a:cxn>
                  <a:cxn ang="0">
                    <a:pos x="165" y="767"/>
                  </a:cxn>
                  <a:cxn ang="0">
                    <a:pos x="167" y="792"/>
                  </a:cxn>
                  <a:cxn ang="0">
                    <a:pos x="176" y="810"/>
                  </a:cxn>
                  <a:cxn ang="0">
                    <a:pos x="198" y="813"/>
                  </a:cxn>
                  <a:cxn ang="0">
                    <a:pos x="218" y="812"/>
                  </a:cxn>
                  <a:cxn ang="0">
                    <a:pos x="233" y="762"/>
                  </a:cxn>
                  <a:cxn ang="0">
                    <a:pos x="268" y="728"/>
                  </a:cxn>
                  <a:cxn ang="0">
                    <a:pos x="295" y="729"/>
                  </a:cxn>
                  <a:cxn ang="0">
                    <a:pos x="314" y="716"/>
                  </a:cxn>
                  <a:cxn ang="0">
                    <a:pos x="343" y="671"/>
                  </a:cxn>
                  <a:cxn ang="0">
                    <a:pos x="364" y="664"/>
                  </a:cxn>
                  <a:cxn ang="0">
                    <a:pos x="397" y="671"/>
                  </a:cxn>
                  <a:cxn ang="0">
                    <a:pos x="416" y="653"/>
                  </a:cxn>
                  <a:cxn ang="0">
                    <a:pos x="427" y="618"/>
                  </a:cxn>
                  <a:cxn ang="0">
                    <a:pos x="456" y="613"/>
                  </a:cxn>
                  <a:cxn ang="0">
                    <a:pos x="504" y="588"/>
                  </a:cxn>
                  <a:cxn ang="0">
                    <a:pos x="515" y="562"/>
                  </a:cxn>
                  <a:cxn ang="0">
                    <a:pos x="502" y="537"/>
                  </a:cxn>
                  <a:cxn ang="0">
                    <a:pos x="503" y="517"/>
                  </a:cxn>
                  <a:cxn ang="0">
                    <a:pos x="520" y="492"/>
                  </a:cxn>
                  <a:cxn ang="0">
                    <a:pos x="515" y="462"/>
                  </a:cxn>
                  <a:cxn ang="0">
                    <a:pos x="500" y="418"/>
                  </a:cxn>
                  <a:cxn ang="0">
                    <a:pos x="509" y="397"/>
                  </a:cxn>
                  <a:cxn ang="0">
                    <a:pos x="568" y="375"/>
                  </a:cxn>
                  <a:cxn ang="0">
                    <a:pos x="604" y="343"/>
                  </a:cxn>
                  <a:cxn ang="0">
                    <a:pos x="655" y="251"/>
                  </a:cxn>
                  <a:cxn ang="0">
                    <a:pos x="709" y="140"/>
                  </a:cxn>
                  <a:cxn ang="0">
                    <a:pos x="659" y="144"/>
                  </a:cxn>
                  <a:cxn ang="0">
                    <a:pos x="598" y="121"/>
                  </a:cxn>
                  <a:cxn ang="0">
                    <a:pos x="520" y="86"/>
                  </a:cxn>
                  <a:cxn ang="0">
                    <a:pos x="487" y="91"/>
                  </a:cxn>
                  <a:cxn ang="0">
                    <a:pos x="463" y="99"/>
                  </a:cxn>
                  <a:cxn ang="0">
                    <a:pos x="361" y="95"/>
                  </a:cxn>
                </a:cxnLst>
                <a:rect l="0" t="0" r="r" b="b"/>
                <a:pathLst>
                  <a:path w="709" h="816">
                    <a:moveTo>
                      <a:pt x="361" y="99"/>
                    </a:moveTo>
                    <a:lnTo>
                      <a:pt x="361" y="99"/>
                    </a:lnTo>
                    <a:lnTo>
                      <a:pt x="354" y="98"/>
                    </a:lnTo>
                    <a:lnTo>
                      <a:pt x="348" y="97"/>
                    </a:lnTo>
                    <a:lnTo>
                      <a:pt x="343" y="96"/>
                    </a:lnTo>
                    <a:lnTo>
                      <a:pt x="339" y="92"/>
                    </a:lnTo>
                    <a:lnTo>
                      <a:pt x="332" y="87"/>
                    </a:lnTo>
                    <a:lnTo>
                      <a:pt x="325" y="79"/>
                    </a:lnTo>
                    <a:lnTo>
                      <a:pt x="319" y="72"/>
                    </a:lnTo>
                    <a:lnTo>
                      <a:pt x="313" y="65"/>
                    </a:lnTo>
                    <a:lnTo>
                      <a:pt x="310" y="62"/>
                    </a:lnTo>
                    <a:lnTo>
                      <a:pt x="306" y="60"/>
                    </a:lnTo>
                    <a:lnTo>
                      <a:pt x="303" y="59"/>
                    </a:lnTo>
                    <a:lnTo>
                      <a:pt x="298" y="59"/>
                    </a:lnTo>
                    <a:lnTo>
                      <a:pt x="298" y="59"/>
                    </a:lnTo>
                    <a:lnTo>
                      <a:pt x="283" y="59"/>
                    </a:lnTo>
                    <a:lnTo>
                      <a:pt x="283" y="59"/>
                    </a:lnTo>
                    <a:lnTo>
                      <a:pt x="281" y="58"/>
                    </a:lnTo>
                    <a:lnTo>
                      <a:pt x="279" y="56"/>
                    </a:lnTo>
                    <a:lnTo>
                      <a:pt x="277" y="49"/>
                    </a:lnTo>
                    <a:lnTo>
                      <a:pt x="277" y="39"/>
                    </a:lnTo>
                    <a:lnTo>
                      <a:pt x="277" y="33"/>
                    </a:lnTo>
                    <a:lnTo>
                      <a:pt x="277" y="33"/>
                    </a:lnTo>
                    <a:lnTo>
                      <a:pt x="275" y="25"/>
                    </a:lnTo>
                    <a:lnTo>
                      <a:pt x="274" y="19"/>
                    </a:lnTo>
                    <a:lnTo>
                      <a:pt x="272" y="13"/>
                    </a:lnTo>
                    <a:lnTo>
                      <a:pt x="268" y="10"/>
                    </a:lnTo>
                    <a:lnTo>
                      <a:pt x="265" y="6"/>
                    </a:lnTo>
                    <a:lnTo>
                      <a:pt x="260" y="4"/>
                    </a:lnTo>
                    <a:lnTo>
                      <a:pt x="256" y="3"/>
                    </a:lnTo>
                    <a:lnTo>
                      <a:pt x="250" y="2"/>
                    </a:lnTo>
                    <a:lnTo>
                      <a:pt x="239" y="2"/>
                    </a:lnTo>
                    <a:lnTo>
                      <a:pt x="227" y="2"/>
                    </a:lnTo>
                    <a:lnTo>
                      <a:pt x="214" y="3"/>
                    </a:lnTo>
                    <a:lnTo>
                      <a:pt x="203" y="4"/>
                    </a:lnTo>
                    <a:lnTo>
                      <a:pt x="203" y="4"/>
                    </a:lnTo>
                    <a:lnTo>
                      <a:pt x="183" y="4"/>
                    </a:lnTo>
                    <a:lnTo>
                      <a:pt x="183" y="4"/>
                    </a:lnTo>
                    <a:lnTo>
                      <a:pt x="176" y="3"/>
                    </a:lnTo>
                    <a:lnTo>
                      <a:pt x="168" y="0"/>
                    </a:lnTo>
                    <a:lnTo>
                      <a:pt x="161" y="0"/>
                    </a:lnTo>
                    <a:lnTo>
                      <a:pt x="159" y="2"/>
                    </a:lnTo>
                    <a:lnTo>
                      <a:pt x="159" y="4"/>
                    </a:lnTo>
                    <a:lnTo>
                      <a:pt x="159" y="4"/>
                    </a:lnTo>
                    <a:lnTo>
                      <a:pt x="159" y="18"/>
                    </a:lnTo>
                    <a:lnTo>
                      <a:pt x="163" y="29"/>
                    </a:lnTo>
                    <a:lnTo>
                      <a:pt x="165" y="42"/>
                    </a:lnTo>
                    <a:lnTo>
                      <a:pt x="166" y="59"/>
                    </a:lnTo>
                    <a:lnTo>
                      <a:pt x="166" y="59"/>
                    </a:lnTo>
                    <a:lnTo>
                      <a:pt x="165" y="64"/>
                    </a:lnTo>
                    <a:lnTo>
                      <a:pt x="164" y="67"/>
                    </a:lnTo>
                    <a:lnTo>
                      <a:pt x="160" y="71"/>
                    </a:lnTo>
                    <a:lnTo>
                      <a:pt x="157" y="73"/>
                    </a:lnTo>
                    <a:lnTo>
                      <a:pt x="150" y="76"/>
                    </a:lnTo>
                    <a:lnTo>
                      <a:pt x="144" y="76"/>
                    </a:lnTo>
                    <a:lnTo>
                      <a:pt x="144" y="76"/>
                    </a:lnTo>
                    <a:lnTo>
                      <a:pt x="151" y="76"/>
                    </a:lnTo>
                    <a:lnTo>
                      <a:pt x="151" y="76"/>
                    </a:lnTo>
                    <a:lnTo>
                      <a:pt x="151" y="76"/>
                    </a:lnTo>
                    <a:lnTo>
                      <a:pt x="152" y="86"/>
                    </a:lnTo>
                    <a:lnTo>
                      <a:pt x="155" y="94"/>
                    </a:lnTo>
                    <a:lnTo>
                      <a:pt x="159" y="100"/>
                    </a:lnTo>
                    <a:lnTo>
                      <a:pt x="164" y="106"/>
                    </a:lnTo>
                    <a:lnTo>
                      <a:pt x="169" y="111"/>
                    </a:lnTo>
                    <a:lnTo>
                      <a:pt x="175" y="115"/>
                    </a:lnTo>
                    <a:lnTo>
                      <a:pt x="189" y="122"/>
                    </a:lnTo>
                    <a:lnTo>
                      <a:pt x="202" y="129"/>
                    </a:lnTo>
                    <a:lnTo>
                      <a:pt x="207" y="134"/>
                    </a:lnTo>
                    <a:lnTo>
                      <a:pt x="213" y="138"/>
                    </a:lnTo>
                    <a:lnTo>
                      <a:pt x="218" y="143"/>
                    </a:lnTo>
                    <a:lnTo>
                      <a:pt x="221" y="150"/>
                    </a:lnTo>
                    <a:lnTo>
                      <a:pt x="224" y="157"/>
                    </a:lnTo>
                    <a:lnTo>
                      <a:pt x="225" y="165"/>
                    </a:lnTo>
                    <a:lnTo>
                      <a:pt x="225" y="165"/>
                    </a:lnTo>
                    <a:lnTo>
                      <a:pt x="224" y="174"/>
                    </a:lnTo>
                    <a:lnTo>
                      <a:pt x="221" y="182"/>
                    </a:lnTo>
                    <a:lnTo>
                      <a:pt x="218" y="189"/>
                    </a:lnTo>
                    <a:lnTo>
                      <a:pt x="212" y="195"/>
                    </a:lnTo>
                    <a:lnTo>
                      <a:pt x="206" y="201"/>
                    </a:lnTo>
                    <a:lnTo>
                      <a:pt x="201" y="205"/>
                    </a:lnTo>
                    <a:lnTo>
                      <a:pt x="186" y="214"/>
                    </a:lnTo>
                    <a:lnTo>
                      <a:pt x="172" y="224"/>
                    </a:lnTo>
                    <a:lnTo>
                      <a:pt x="165" y="229"/>
                    </a:lnTo>
                    <a:lnTo>
                      <a:pt x="159" y="234"/>
                    </a:lnTo>
                    <a:lnTo>
                      <a:pt x="155" y="241"/>
                    </a:lnTo>
                    <a:lnTo>
                      <a:pt x="151" y="248"/>
                    </a:lnTo>
                    <a:lnTo>
                      <a:pt x="149" y="256"/>
                    </a:lnTo>
                    <a:lnTo>
                      <a:pt x="148" y="264"/>
                    </a:lnTo>
                    <a:lnTo>
                      <a:pt x="148" y="264"/>
                    </a:lnTo>
                    <a:lnTo>
                      <a:pt x="148" y="338"/>
                    </a:lnTo>
                    <a:lnTo>
                      <a:pt x="148" y="338"/>
                    </a:lnTo>
                    <a:lnTo>
                      <a:pt x="136" y="344"/>
                    </a:lnTo>
                    <a:lnTo>
                      <a:pt x="136" y="344"/>
                    </a:lnTo>
                    <a:lnTo>
                      <a:pt x="136" y="344"/>
                    </a:lnTo>
                    <a:lnTo>
                      <a:pt x="128" y="349"/>
                    </a:lnTo>
                    <a:lnTo>
                      <a:pt x="120" y="356"/>
                    </a:lnTo>
                    <a:lnTo>
                      <a:pt x="114" y="365"/>
                    </a:lnTo>
                    <a:lnTo>
                      <a:pt x="109" y="374"/>
                    </a:lnTo>
                    <a:lnTo>
                      <a:pt x="103" y="386"/>
                    </a:lnTo>
                    <a:lnTo>
                      <a:pt x="98" y="398"/>
                    </a:lnTo>
                    <a:lnTo>
                      <a:pt x="91" y="426"/>
                    </a:lnTo>
                    <a:lnTo>
                      <a:pt x="85" y="455"/>
                    </a:lnTo>
                    <a:lnTo>
                      <a:pt x="82" y="482"/>
                    </a:lnTo>
                    <a:lnTo>
                      <a:pt x="77" y="508"/>
                    </a:lnTo>
                    <a:lnTo>
                      <a:pt x="74" y="529"/>
                    </a:lnTo>
                    <a:lnTo>
                      <a:pt x="74" y="529"/>
                    </a:lnTo>
                    <a:lnTo>
                      <a:pt x="66" y="564"/>
                    </a:lnTo>
                    <a:lnTo>
                      <a:pt x="61" y="583"/>
                    </a:lnTo>
                    <a:lnTo>
                      <a:pt x="58" y="590"/>
                    </a:lnTo>
                    <a:lnTo>
                      <a:pt x="56" y="595"/>
                    </a:lnTo>
                    <a:lnTo>
                      <a:pt x="56" y="595"/>
                    </a:lnTo>
                    <a:lnTo>
                      <a:pt x="48" y="599"/>
                    </a:lnTo>
                    <a:lnTo>
                      <a:pt x="39" y="602"/>
                    </a:lnTo>
                    <a:lnTo>
                      <a:pt x="21" y="609"/>
                    </a:lnTo>
                    <a:lnTo>
                      <a:pt x="13" y="614"/>
                    </a:lnTo>
                    <a:lnTo>
                      <a:pt x="6" y="619"/>
                    </a:lnTo>
                    <a:lnTo>
                      <a:pt x="4" y="623"/>
                    </a:lnTo>
                    <a:lnTo>
                      <a:pt x="1" y="626"/>
                    </a:lnTo>
                    <a:lnTo>
                      <a:pt x="0" y="631"/>
                    </a:lnTo>
                    <a:lnTo>
                      <a:pt x="0" y="636"/>
                    </a:lnTo>
                    <a:lnTo>
                      <a:pt x="0" y="636"/>
                    </a:lnTo>
                    <a:lnTo>
                      <a:pt x="1" y="645"/>
                    </a:lnTo>
                    <a:lnTo>
                      <a:pt x="4" y="653"/>
                    </a:lnTo>
                    <a:lnTo>
                      <a:pt x="8" y="659"/>
                    </a:lnTo>
                    <a:lnTo>
                      <a:pt x="14" y="663"/>
                    </a:lnTo>
                    <a:lnTo>
                      <a:pt x="20" y="665"/>
                    </a:lnTo>
                    <a:lnTo>
                      <a:pt x="27" y="668"/>
                    </a:lnTo>
                    <a:lnTo>
                      <a:pt x="41" y="668"/>
                    </a:lnTo>
                    <a:lnTo>
                      <a:pt x="41" y="668"/>
                    </a:lnTo>
                    <a:lnTo>
                      <a:pt x="43" y="679"/>
                    </a:lnTo>
                    <a:lnTo>
                      <a:pt x="45" y="690"/>
                    </a:lnTo>
                    <a:lnTo>
                      <a:pt x="49" y="699"/>
                    </a:lnTo>
                    <a:lnTo>
                      <a:pt x="53" y="707"/>
                    </a:lnTo>
                    <a:lnTo>
                      <a:pt x="58" y="715"/>
                    </a:lnTo>
                    <a:lnTo>
                      <a:pt x="65" y="721"/>
                    </a:lnTo>
                    <a:lnTo>
                      <a:pt x="72" y="725"/>
                    </a:lnTo>
                    <a:lnTo>
                      <a:pt x="81" y="728"/>
                    </a:lnTo>
                    <a:lnTo>
                      <a:pt x="81" y="728"/>
                    </a:lnTo>
                    <a:lnTo>
                      <a:pt x="94" y="729"/>
                    </a:lnTo>
                    <a:lnTo>
                      <a:pt x="107" y="730"/>
                    </a:lnTo>
                    <a:lnTo>
                      <a:pt x="113" y="731"/>
                    </a:lnTo>
                    <a:lnTo>
                      <a:pt x="119" y="732"/>
                    </a:lnTo>
                    <a:lnTo>
                      <a:pt x="122" y="735"/>
                    </a:lnTo>
                    <a:lnTo>
                      <a:pt x="125" y="738"/>
                    </a:lnTo>
                    <a:lnTo>
                      <a:pt x="125" y="738"/>
                    </a:lnTo>
                    <a:lnTo>
                      <a:pt x="128" y="747"/>
                    </a:lnTo>
                    <a:lnTo>
                      <a:pt x="132" y="752"/>
                    </a:lnTo>
                    <a:lnTo>
                      <a:pt x="134" y="754"/>
                    </a:lnTo>
                    <a:lnTo>
                      <a:pt x="137" y="755"/>
                    </a:lnTo>
                    <a:lnTo>
                      <a:pt x="141" y="755"/>
                    </a:lnTo>
                    <a:lnTo>
                      <a:pt x="145" y="756"/>
                    </a:lnTo>
                    <a:lnTo>
                      <a:pt x="152" y="759"/>
                    </a:lnTo>
                    <a:lnTo>
                      <a:pt x="163" y="764"/>
                    </a:lnTo>
                    <a:lnTo>
                      <a:pt x="163" y="764"/>
                    </a:lnTo>
                    <a:lnTo>
                      <a:pt x="165" y="767"/>
                    </a:lnTo>
                    <a:lnTo>
                      <a:pt x="167" y="769"/>
                    </a:lnTo>
                    <a:lnTo>
                      <a:pt x="167" y="772"/>
                    </a:lnTo>
                    <a:lnTo>
                      <a:pt x="168" y="776"/>
                    </a:lnTo>
                    <a:lnTo>
                      <a:pt x="167" y="784"/>
                    </a:lnTo>
                    <a:lnTo>
                      <a:pt x="167" y="792"/>
                    </a:lnTo>
                    <a:lnTo>
                      <a:pt x="167" y="799"/>
                    </a:lnTo>
                    <a:lnTo>
                      <a:pt x="167" y="802"/>
                    </a:lnTo>
                    <a:lnTo>
                      <a:pt x="169" y="806"/>
                    </a:lnTo>
                    <a:lnTo>
                      <a:pt x="172" y="808"/>
                    </a:lnTo>
                    <a:lnTo>
                      <a:pt x="176" y="810"/>
                    </a:lnTo>
                    <a:lnTo>
                      <a:pt x="181" y="812"/>
                    </a:lnTo>
                    <a:lnTo>
                      <a:pt x="188" y="812"/>
                    </a:lnTo>
                    <a:lnTo>
                      <a:pt x="188" y="812"/>
                    </a:lnTo>
                    <a:lnTo>
                      <a:pt x="194" y="813"/>
                    </a:lnTo>
                    <a:lnTo>
                      <a:pt x="198" y="813"/>
                    </a:lnTo>
                    <a:lnTo>
                      <a:pt x="205" y="816"/>
                    </a:lnTo>
                    <a:lnTo>
                      <a:pt x="209" y="816"/>
                    </a:lnTo>
                    <a:lnTo>
                      <a:pt x="212" y="816"/>
                    </a:lnTo>
                    <a:lnTo>
                      <a:pt x="214" y="815"/>
                    </a:lnTo>
                    <a:lnTo>
                      <a:pt x="218" y="812"/>
                    </a:lnTo>
                    <a:lnTo>
                      <a:pt x="218" y="812"/>
                    </a:lnTo>
                    <a:lnTo>
                      <a:pt x="219" y="801"/>
                    </a:lnTo>
                    <a:lnTo>
                      <a:pt x="221" y="789"/>
                    </a:lnTo>
                    <a:lnTo>
                      <a:pt x="227" y="776"/>
                    </a:lnTo>
                    <a:lnTo>
                      <a:pt x="233" y="762"/>
                    </a:lnTo>
                    <a:lnTo>
                      <a:pt x="241" y="751"/>
                    </a:lnTo>
                    <a:lnTo>
                      <a:pt x="250" y="740"/>
                    </a:lnTo>
                    <a:lnTo>
                      <a:pt x="259" y="732"/>
                    </a:lnTo>
                    <a:lnTo>
                      <a:pt x="264" y="729"/>
                    </a:lnTo>
                    <a:lnTo>
                      <a:pt x="268" y="728"/>
                    </a:lnTo>
                    <a:lnTo>
                      <a:pt x="268" y="728"/>
                    </a:lnTo>
                    <a:lnTo>
                      <a:pt x="274" y="726"/>
                    </a:lnTo>
                    <a:lnTo>
                      <a:pt x="280" y="726"/>
                    </a:lnTo>
                    <a:lnTo>
                      <a:pt x="290" y="729"/>
                    </a:lnTo>
                    <a:lnTo>
                      <a:pt x="295" y="729"/>
                    </a:lnTo>
                    <a:lnTo>
                      <a:pt x="300" y="729"/>
                    </a:lnTo>
                    <a:lnTo>
                      <a:pt x="305" y="726"/>
                    </a:lnTo>
                    <a:lnTo>
                      <a:pt x="309" y="724"/>
                    </a:lnTo>
                    <a:lnTo>
                      <a:pt x="309" y="724"/>
                    </a:lnTo>
                    <a:lnTo>
                      <a:pt x="314" y="716"/>
                    </a:lnTo>
                    <a:lnTo>
                      <a:pt x="319" y="707"/>
                    </a:lnTo>
                    <a:lnTo>
                      <a:pt x="324" y="697"/>
                    </a:lnTo>
                    <a:lnTo>
                      <a:pt x="329" y="687"/>
                    </a:lnTo>
                    <a:lnTo>
                      <a:pt x="336" y="678"/>
                    </a:lnTo>
                    <a:lnTo>
                      <a:pt x="343" y="671"/>
                    </a:lnTo>
                    <a:lnTo>
                      <a:pt x="348" y="669"/>
                    </a:lnTo>
                    <a:lnTo>
                      <a:pt x="352" y="667"/>
                    </a:lnTo>
                    <a:lnTo>
                      <a:pt x="358" y="665"/>
                    </a:lnTo>
                    <a:lnTo>
                      <a:pt x="364" y="664"/>
                    </a:lnTo>
                    <a:lnTo>
                      <a:pt x="364" y="664"/>
                    </a:lnTo>
                    <a:lnTo>
                      <a:pt x="374" y="665"/>
                    </a:lnTo>
                    <a:lnTo>
                      <a:pt x="384" y="668"/>
                    </a:lnTo>
                    <a:lnTo>
                      <a:pt x="390" y="671"/>
                    </a:lnTo>
                    <a:lnTo>
                      <a:pt x="397" y="671"/>
                    </a:lnTo>
                    <a:lnTo>
                      <a:pt x="397" y="671"/>
                    </a:lnTo>
                    <a:lnTo>
                      <a:pt x="403" y="671"/>
                    </a:lnTo>
                    <a:lnTo>
                      <a:pt x="407" y="669"/>
                    </a:lnTo>
                    <a:lnTo>
                      <a:pt x="410" y="667"/>
                    </a:lnTo>
                    <a:lnTo>
                      <a:pt x="412" y="663"/>
                    </a:lnTo>
                    <a:lnTo>
                      <a:pt x="416" y="653"/>
                    </a:lnTo>
                    <a:lnTo>
                      <a:pt x="417" y="642"/>
                    </a:lnTo>
                    <a:lnTo>
                      <a:pt x="419" y="632"/>
                    </a:lnTo>
                    <a:lnTo>
                      <a:pt x="422" y="626"/>
                    </a:lnTo>
                    <a:lnTo>
                      <a:pt x="424" y="622"/>
                    </a:lnTo>
                    <a:lnTo>
                      <a:pt x="427" y="618"/>
                    </a:lnTo>
                    <a:lnTo>
                      <a:pt x="432" y="616"/>
                    </a:lnTo>
                    <a:lnTo>
                      <a:pt x="438" y="614"/>
                    </a:lnTo>
                    <a:lnTo>
                      <a:pt x="445" y="613"/>
                    </a:lnTo>
                    <a:lnTo>
                      <a:pt x="445" y="613"/>
                    </a:lnTo>
                    <a:lnTo>
                      <a:pt x="456" y="613"/>
                    </a:lnTo>
                    <a:lnTo>
                      <a:pt x="469" y="609"/>
                    </a:lnTo>
                    <a:lnTo>
                      <a:pt x="480" y="606"/>
                    </a:lnTo>
                    <a:lnTo>
                      <a:pt x="491" y="600"/>
                    </a:lnTo>
                    <a:lnTo>
                      <a:pt x="501" y="593"/>
                    </a:lnTo>
                    <a:lnTo>
                      <a:pt x="504" y="588"/>
                    </a:lnTo>
                    <a:lnTo>
                      <a:pt x="508" y="584"/>
                    </a:lnTo>
                    <a:lnTo>
                      <a:pt x="511" y="579"/>
                    </a:lnTo>
                    <a:lnTo>
                      <a:pt x="514" y="573"/>
                    </a:lnTo>
                    <a:lnTo>
                      <a:pt x="515" y="568"/>
                    </a:lnTo>
                    <a:lnTo>
                      <a:pt x="515" y="562"/>
                    </a:lnTo>
                    <a:lnTo>
                      <a:pt x="515" y="562"/>
                    </a:lnTo>
                    <a:lnTo>
                      <a:pt x="515" y="556"/>
                    </a:lnTo>
                    <a:lnTo>
                      <a:pt x="512" y="552"/>
                    </a:lnTo>
                    <a:lnTo>
                      <a:pt x="508" y="543"/>
                    </a:lnTo>
                    <a:lnTo>
                      <a:pt x="502" y="537"/>
                    </a:lnTo>
                    <a:lnTo>
                      <a:pt x="501" y="533"/>
                    </a:lnTo>
                    <a:lnTo>
                      <a:pt x="500" y="529"/>
                    </a:lnTo>
                    <a:lnTo>
                      <a:pt x="500" y="529"/>
                    </a:lnTo>
                    <a:lnTo>
                      <a:pt x="501" y="523"/>
                    </a:lnTo>
                    <a:lnTo>
                      <a:pt x="503" y="517"/>
                    </a:lnTo>
                    <a:lnTo>
                      <a:pt x="507" y="511"/>
                    </a:lnTo>
                    <a:lnTo>
                      <a:pt x="511" y="507"/>
                    </a:lnTo>
                    <a:lnTo>
                      <a:pt x="515" y="502"/>
                    </a:lnTo>
                    <a:lnTo>
                      <a:pt x="518" y="496"/>
                    </a:lnTo>
                    <a:lnTo>
                      <a:pt x="520" y="492"/>
                    </a:lnTo>
                    <a:lnTo>
                      <a:pt x="522" y="485"/>
                    </a:lnTo>
                    <a:lnTo>
                      <a:pt x="522" y="485"/>
                    </a:lnTo>
                    <a:lnTo>
                      <a:pt x="520" y="476"/>
                    </a:lnTo>
                    <a:lnTo>
                      <a:pt x="518" y="469"/>
                    </a:lnTo>
                    <a:lnTo>
                      <a:pt x="515" y="462"/>
                    </a:lnTo>
                    <a:lnTo>
                      <a:pt x="511" y="456"/>
                    </a:lnTo>
                    <a:lnTo>
                      <a:pt x="507" y="449"/>
                    </a:lnTo>
                    <a:lnTo>
                      <a:pt x="503" y="441"/>
                    </a:lnTo>
                    <a:lnTo>
                      <a:pt x="501" y="431"/>
                    </a:lnTo>
                    <a:lnTo>
                      <a:pt x="500" y="418"/>
                    </a:lnTo>
                    <a:lnTo>
                      <a:pt x="500" y="418"/>
                    </a:lnTo>
                    <a:lnTo>
                      <a:pt x="501" y="412"/>
                    </a:lnTo>
                    <a:lnTo>
                      <a:pt x="502" y="407"/>
                    </a:lnTo>
                    <a:lnTo>
                      <a:pt x="506" y="402"/>
                    </a:lnTo>
                    <a:lnTo>
                      <a:pt x="509" y="397"/>
                    </a:lnTo>
                    <a:lnTo>
                      <a:pt x="514" y="394"/>
                    </a:lnTo>
                    <a:lnTo>
                      <a:pt x="518" y="392"/>
                    </a:lnTo>
                    <a:lnTo>
                      <a:pt x="531" y="387"/>
                    </a:lnTo>
                    <a:lnTo>
                      <a:pt x="556" y="379"/>
                    </a:lnTo>
                    <a:lnTo>
                      <a:pt x="568" y="375"/>
                    </a:lnTo>
                    <a:lnTo>
                      <a:pt x="577" y="371"/>
                    </a:lnTo>
                    <a:lnTo>
                      <a:pt x="577" y="371"/>
                    </a:lnTo>
                    <a:lnTo>
                      <a:pt x="587" y="363"/>
                    </a:lnTo>
                    <a:lnTo>
                      <a:pt x="596" y="354"/>
                    </a:lnTo>
                    <a:lnTo>
                      <a:pt x="604" y="343"/>
                    </a:lnTo>
                    <a:lnTo>
                      <a:pt x="610" y="333"/>
                    </a:lnTo>
                    <a:lnTo>
                      <a:pt x="623" y="309"/>
                    </a:lnTo>
                    <a:lnTo>
                      <a:pt x="636" y="282"/>
                    </a:lnTo>
                    <a:lnTo>
                      <a:pt x="636" y="282"/>
                    </a:lnTo>
                    <a:lnTo>
                      <a:pt x="655" y="251"/>
                    </a:lnTo>
                    <a:lnTo>
                      <a:pt x="672" y="218"/>
                    </a:lnTo>
                    <a:lnTo>
                      <a:pt x="690" y="182"/>
                    </a:lnTo>
                    <a:lnTo>
                      <a:pt x="706" y="146"/>
                    </a:lnTo>
                    <a:lnTo>
                      <a:pt x="706" y="146"/>
                    </a:lnTo>
                    <a:lnTo>
                      <a:pt x="709" y="140"/>
                    </a:lnTo>
                    <a:lnTo>
                      <a:pt x="709" y="140"/>
                    </a:lnTo>
                    <a:lnTo>
                      <a:pt x="709" y="140"/>
                    </a:lnTo>
                    <a:lnTo>
                      <a:pt x="691" y="143"/>
                    </a:lnTo>
                    <a:lnTo>
                      <a:pt x="675" y="144"/>
                    </a:lnTo>
                    <a:lnTo>
                      <a:pt x="659" y="144"/>
                    </a:lnTo>
                    <a:lnTo>
                      <a:pt x="645" y="142"/>
                    </a:lnTo>
                    <a:lnTo>
                      <a:pt x="632" y="138"/>
                    </a:lnTo>
                    <a:lnTo>
                      <a:pt x="619" y="133"/>
                    </a:lnTo>
                    <a:lnTo>
                      <a:pt x="608" y="128"/>
                    </a:lnTo>
                    <a:lnTo>
                      <a:pt x="598" y="121"/>
                    </a:lnTo>
                    <a:lnTo>
                      <a:pt x="577" y="109"/>
                    </a:lnTo>
                    <a:lnTo>
                      <a:pt x="555" y="97"/>
                    </a:lnTo>
                    <a:lnTo>
                      <a:pt x="545" y="91"/>
                    </a:lnTo>
                    <a:lnTo>
                      <a:pt x="533" y="88"/>
                    </a:lnTo>
                    <a:lnTo>
                      <a:pt x="520" y="86"/>
                    </a:lnTo>
                    <a:lnTo>
                      <a:pt x="507" y="84"/>
                    </a:lnTo>
                    <a:lnTo>
                      <a:pt x="507" y="84"/>
                    </a:lnTo>
                    <a:lnTo>
                      <a:pt x="501" y="86"/>
                    </a:lnTo>
                    <a:lnTo>
                      <a:pt x="496" y="87"/>
                    </a:lnTo>
                    <a:lnTo>
                      <a:pt x="487" y="91"/>
                    </a:lnTo>
                    <a:lnTo>
                      <a:pt x="482" y="95"/>
                    </a:lnTo>
                    <a:lnTo>
                      <a:pt x="477" y="97"/>
                    </a:lnTo>
                    <a:lnTo>
                      <a:pt x="471" y="98"/>
                    </a:lnTo>
                    <a:lnTo>
                      <a:pt x="463" y="99"/>
                    </a:lnTo>
                    <a:lnTo>
                      <a:pt x="463" y="99"/>
                    </a:lnTo>
                    <a:lnTo>
                      <a:pt x="435" y="98"/>
                    </a:lnTo>
                    <a:lnTo>
                      <a:pt x="410" y="97"/>
                    </a:lnTo>
                    <a:lnTo>
                      <a:pt x="386" y="96"/>
                    </a:lnTo>
                    <a:lnTo>
                      <a:pt x="361" y="95"/>
                    </a:lnTo>
                    <a:lnTo>
                      <a:pt x="361" y="95"/>
                    </a:lnTo>
                    <a:lnTo>
                      <a:pt x="361" y="99"/>
                    </a:lnTo>
                    <a:lnTo>
                      <a:pt x="361" y="9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7" name="Freeform 102"/>
              <p:cNvSpPr>
                <a:spLocks noChangeAspect="1"/>
              </p:cNvSpPr>
              <p:nvPr/>
            </p:nvSpPr>
            <p:spPr bwMode="auto">
              <a:xfrm>
                <a:off x="1701678" y="2832527"/>
                <a:ext cx="1643758" cy="819641"/>
              </a:xfrm>
              <a:custGeom>
                <a:avLst/>
                <a:gdLst/>
                <a:ahLst/>
                <a:cxnLst>
                  <a:cxn ang="0">
                    <a:pos x="1267" y="503"/>
                  </a:cxn>
                  <a:cxn ang="0">
                    <a:pos x="1392" y="591"/>
                  </a:cxn>
                  <a:cxn ang="0">
                    <a:pos x="1831" y="771"/>
                  </a:cxn>
                  <a:cxn ang="0">
                    <a:pos x="2060" y="649"/>
                  </a:cxn>
                  <a:cxn ang="0">
                    <a:pos x="2044" y="584"/>
                  </a:cxn>
                  <a:cxn ang="0">
                    <a:pos x="2060" y="470"/>
                  </a:cxn>
                  <a:cxn ang="0">
                    <a:pos x="1894" y="344"/>
                  </a:cxn>
                  <a:cxn ang="0">
                    <a:pos x="1846" y="406"/>
                  </a:cxn>
                  <a:cxn ang="0">
                    <a:pos x="1793" y="479"/>
                  </a:cxn>
                  <a:cxn ang="0">
                    <a:pos x="1743" y="543"/>
                  </a:cxn>
                  <a:cxn ang="0">
                    <a:pos x="1751" y="467"/>
                  </a:cxn>
                  <a:cxn ang="0">
                    <a:pos x="1652" y="436"/>
                  </a:cxn>
                  <a:cxn ang="0">
                    <a:pos x="1497" y="421"/>
                  </a:cxn>
                  <a:cxn ang="0">
                    <a:pos x="1414" y="370"/>
                  </a:cxn>
                  <a:cxn ang="0">
                    <a:pos x="1481" y="322"/>
                  </a:cxn>
                  <a:cxn ang="0">
                    <a:pos x="1415" y="303"/>
                  </a:cxn>
                  <a:cxn ang="0">
                    <a:pos x="1336" y="292"/>
                  </a:cxn>
                  <a:cxn ang="0">
                    <a:pos x="1079" y="306"/>
                  </a:cxn>
                  <a:cxn ang="0">
                    <a:pos x="961" y="334"/>
                  </a:cxn>
                  <a:cxn ang="0">
                    <a:pos x="953" y="210"/>
                  </a:cxn>
                  <a:cxn ang="0">
                    <a:pos x="1068" y="213"/>
                  </a:cxn>
                  <a:cxn ang="0">
                    <a:pos x="1059" y="75"/>
                  </a:cxn>
                  <a:cxn ang="0">
                    <a:pos x="990" y="66"/>
                  </a:cxn>
                  <a:cxn ang="0">
                    <a:pos x="869" y="179"/>
                  </a:cxn>
                  <a:cxn ang="0">
                    <a:pos x="884" y="261"/>
                  </a:cxn>
                  <a:cxn ang="0">
                    <a:pos x="786" y="352"/>
                  </a:cxn>
                  <a:cxn ang="0">
                    <a:pos x="759" y="297"/>
                  </a:cxn>
                  <a:cxn ang="0">
                    <a:pos x="713" y="223"/>
                  </a:cxn>
                  <a:cxn ang="0">
                    <a:pos x="545" y="220"/>
                  </a:cxn>
                  <a:cxn ang="0">
                    <a:pos x="484" y="349"/>
                  </a:cxn>
                  <a:cxn ang="0">
                    <a:pos x="403" y="280"/>
                  </a:cxn>
                  <a:cxn ang="0">
                    <a:pos x="356" y="160"/>
                  </a:cxn>
                  <a:cxn ang="0">
                    <a:pos x="306" y="264"/>
                  </a:cxn>
                  <a:cxn ang="0">
                    <a:pos x="265" y="332"/>
                  </a:cxn>
                  <a:cxn ang="0">
                    <a:pos x="180" y="302"/>
                  </a:cxn>
                  <a:cxn ang="0">
                    <a:pos x="109" y="391"/>
                  </a:cxn>
                  <a:cxn ang="0">
                    <a:pos x="124" y="465"/>
                  </a:cxn>
                  <a:cxn ang="0">
                    <a:pos x="67" y="572"/>
                  </a:cxn>
                  <a:cxn ang="0">
                    <a:pos x="10" y="753"/>
                  </a:cxn>
                  <a:cxn ang="0">
                    <a:pos x="66" y="822"/>
                  </a:cxn>
                  <a:cxn ang="0">
                    <a:pos x="124" y="871"/>
                  </a:cxn>
                  <a:cxn ang="0">
                    <a:pos x="219" y="913"/>
                  </a:cxn>
                  <a:cxn ang="0">
                    <a:pos x="341" y="982"/>
                  </a:cxn>
                  <a:cxn ang="0">
                    <a:pos x="405" y="1013"/>
                  </a:cxn>
                  <a:cxn ang="0">
                    <a:pos x="442" y="1035"/>
                  </a:cxn>
                  <a:cxn ang="0">
                    <a:pos x="487" y="1098"/>
                  </a:cxn>
                  <a:cxn ang="0">
                    <a:pos x="543" y="1113"/>
                  </a:cxn>
                  <a:cxn ang="0">
                    <a:pos x="565" y="1167"/>
                  </a:cxn>
                  <a:cxn ang="0">
                    <a:pos x="688" y="1126"/>
                  </a:cxn>
                  <a:cxn ang="0">
                    <a:pos x="709" y="1058"/>
                  </a:cxn>
                  <a:cxn ang="0">
                    <a:pos x="769" y="958"/>
                  </a:cxn>
                  <a:cxn ang="0">
                    <a:pos x="694" y="983"/>
                  </a:cxn>
                  <a:cxn ang="0">
                    <a:pos x="629" y="928"/>
                  </a:cxn>
                  <a:cxn ang="0">
                    <a:pos x="712" y="848"/>
                  </a:cxn>
                  <a:cxn ang="0">
                    <a:pos x="717" y="767"/>
                  </a:cxn>
                  <a:cxn ang="0">
                    <a:pos x="690" y="645"/>
                  </a:cxn>
                  <a:cxn ang="0">
                    <a:pos x="850" y="731"/>
                  </a:cxn>
                  <a:cxn ang="0">
                    <a:pos x="937" y="744"/>
                  </a:cxn>
                  <a:cxn ang="0">
                    <a:pos x="998" y="772"/>
                  </a:cxn>
                  <a:cxn ang="0">
                    <a:pos x="990" y="655"/>
                  </a:cxn>
                  <a:cxn ang="0">
                    <a:pos x="1000" y="574"/>
                  </a:cxn>
                </a:cxnLst>
                <a:rect l="0" t="0" r="r" b="b"/>
                <a:pathLst>
                  <a:path w="2075" h="1179">
                    <a:moveTo>
                      <a:pt x="1040" y="517"/>
                    </a:moveTo>
                    <a:lnTo>
                      <a:pt x="1040" y="517"/>
                    </a:lnTo>
                    <a:lnTo>
                      <a:pt x="1051" y="521"/>
                    </a:lnTo>
                    <a:lnTo>
                      <a:pt x="1062" y="524"/>
                    </a:lnTo>
                    <a:lnTo>
                      <a:pt x="1075" y="524"/>
                    </a:lnTo>
                    <a:lnTo>
                      <a:pt x="1087" y="525"/>
                    </a:lnTo>
                    <a:lnTo>
                      <a:pt x="1087" y="525"/>
                    </a:lnTo>
                    <a:lnTo>
                      <a:pt x="1137" y="524"/>
                    </a:lnTo>
                    <a:lnTo>
                      <a:pt x="1160" y="524"/>
                    </a:lnTo>
                    <a:lnTo>
                      <a:pt x="1183" y="521"/>
                    </a:lnTo>
                    <a:lnTo>
                      <a:pt x="1205" y="519"/>
                    </a:lnTo>
                    <a:lnTo>
                      <a:pt x="1226" y="516"/>
                    </a:lnTo>
                    <a:lnTo>
                      <a:pt x="1246" y="510"/>
                    </a:lnTo>
                    <a:lnTo>
                      <a:pt x="1267" y="503"/>
                    </a:lnTo>
                    <a:lnTo>
                      <a:pt x="1267" y="503"/>
                    </a:lnTo>
                    <a:lnTo>
                      <a:pt x="1276" y="501"/>
                    </a:lnTo>
                    <a:lnTo>
                      <a:pt x="1285" y="500"/>
                    </a:lnTo>
                    <a:lnTo>
                      <a:pt x="1293" y="502"/>
                    </a:lnTo>
                    <a:lnTo>
                      <a:pt x="1301" y="504"/>
                    </a:lnTo>
                    <a:lnTo>
                      <a:pt x="1310" y="509"/>
                    </a:lnTo>
                    <a:lnTo>
                      <a:pt x="1316" y="515"/>
                    </a:lnTo>
                    <a:lnTo>
                      <a:pt x="1324" y="521"/>
                    </a:lnTo>
                    <a:lnTo>
                      <a:pt x="1331" y="528"/>
                    </a:lnTo>
                    <a:lnTo>
                      <a:pt x="1360" y="562"/>
                    </a:lnTo>
                    <a:lnTo>
                      <a:pt x="1375" y="578"/>
                    </a:lnTo>
                    <a:lnTo>
                      <a:pt x="1383" y="585"/>
                    </a:lnTo>
                    <a:lnTo>
                      <a:pt x="1392" y="591"/>
                    </a:lnTo>
                    <a:lnTo>
                      <a:pt x="1392" y="591"/>
                    </a:lnTo>
                    <a:lnTo>
                      <a:pt x="1434" y="615"/>
                    </a:lnTo>
                    <a:lnTo>
                      <a:pt x="1487" y="642"/>
                    </a:lnTo>
                    <a:lnTo>
                      <a:pt x="1547" y="672"/>
                    </a:lnTo>
                    <a:lnTo>
                      <a:pt x="1608" y="702"/>
                    </a:lnTo>
                    <a:lnTo>
                      <a:pt x="1716" y="754"/>
                    </a:lnTo>
                    <a:lnTo>
                      <a:pt x="1751" y="770"/>
                    </a:lnTo>
                    <a:lnTo>
                      <a:pt x="1771" y="778"/>
                    </a:lnTo>
                    <a:lnTo>
                      <a:pt x="1771" y="778"/>
                    </a:lnTo>
                    <a:lnTo>
                      <a:pt x="1781" y="779"/>
                    </a:lnTo>
                    <a:lnTo>
                      <a:pt x="1792" y="779"/>
                    </a:lnTo>
                    <a:lnTo>
                      <a:pt x="1802" y="778"/>
                    </a:lnTo>
                    <a:lnTo>
                      <a:pt x="1812" y="777"/>
                    </a:lnTo>
                    <a:lnTo>
                      <a:pt x="1822" y="775"/>
                    </a:lnTo>
                    <a:lnTo>
                      <a:pt x="1831" y="771"/>
                    </a:lnTo>
                    <a:lnTo>
                      <a:pt x="1849" y="764"/>
                    </a:lnTo>
                    <a:lnTo>
                      <a:pt x="1865" y="755"/>
                    </a:lnTo>
                    <a:lnTo>
                      <a:pt x="1883" y="744"/>
                    </a:lnTo>
                    <a:lnTo>
                      <a:pt x="1898" y="732"/>
                    </a:lnTo>
                    <a:lnTo>
                      <a:pt x="1914" y="719"/>
                    </a:lnTo>
                    <a:lnTo>
                      <a:pt x="1946" y="694"/>
                    </a:lnTo>
                    <a:lnTo>
                      <a:pt x="1962" y="683"/>
                    </a:lnTo>
                    <a:lnTo>
                      <a:pt x="1979" y="672"/>
                    </a:lnTo>
                    <a:lnTo>
                      <a:pt x="1998" y="663"/>
                    </a:lnTo>
                    <a:lnTo>
                      <a:pt x="2017" y="656"/>
                    </a:lnTo>
                    <a:lnTo>
                      <a:pt x="2028" y="654"/>
                    </a:lnTo>
                    <a:lnTo>
                      <a:pt x="2038" y="651"/>
                    </a:lnTo>
                    <a:lnTo>
                      <a:pt x="2048" y="650"/>
                    </a:lnTo>
                    <a:lnTo>
                      <a:pt x="2060" y="649"/>
                    </a:lnTo>
                    <a:lnTo>
                      <a:pt x="2060" y="649"/>
                    </a:lnTo>
                    <a:lnTo>
                      <a:pt x="2056" y="657"/>
                    </a:lnTo>
                    <a:lnTo>
                      <a:pt x="2056" y="657"/>
                    </a:lnTo>
                    <a:lnTo>
                      <a:pt x="2056" y="657"/>
                    </a:lnTo>
                    <a:lnTo>
                      <a:pt x="2059" y="651"/>
                    </a:lnTo>
                    <a:lnTo>
                      <a:pt x="2062" y="646"/>
                    </a:lnTo>
                    <a:lnTo>
                      <a:pt x="2063" y="639"/>
                    </a:lnTo>
                    <a:lnTo>
                      <a:pt x="2064" y="631"/>
                    </a:lnTo>
                    <a:lnTo>
                      <a:pt x="2064" y="631"/>
                    </a:lnTo>
                    <a:lnTo>
                      <a:pt x="2062" y="619"/>
                    </a:lnTo>
                    <a:lnTo>
                      <a:pt x="2060" y="609"/>
                    </a:lnTo>
                    <a:lnTo>
                      <a:pt x="2054" y="600"/>
                    </a:lnTo>
                    <a:lnTo>
                      <a:pt x="2049" y="592"/>
                    </a:lnTo>
                    <a:lnTo>
                      <a:pt x="2044" y="584"/>
                    </a:lnTo>
                    <a:lnTo>
                      <a:pt x="2039" y="576"/>
                    </a:lnTo>
                    <a:lnTo>
                      <a:pt x="2036" y="566"/>
                    </a:lnTo>
                    <a:lnTo>
                      <a:pt x="2034" y="557"/>
                    </a:lnTo>
                    <a:lnTo>
                      <a:pt x="2034" y="557"/>
                    </a:lnTo>
                    <a:lnTo>
                      <a:pt x="2036" y="548"/>
                    </a:lnTo>
                    <a:lnTo>
                      <a:pt x="2039" y="541"/>
                    </a:lnTo>
                    <a:lnTo>
                      <a:pt x="2045" y="534"/>
                    </a:lnTo>
                    <a:lnTo>
                      <a:pt x="2051" y="527"/>
                    </a:lnTo>
                    <a:lnTo>
                      <a:pt x="2064" y="513"/>
                    </a:lnTo>
                    <a:lnTo>
                      <a:pt x="2070" y="507"/>
                    </a:lnTo>
                    <a:lnTo>
                      <a:pt x="2075" y="498"/>
                    </a:lnTo>
                    <a:lnTo>
                      <a:pt x="2075" y="498"/>
                    </a:lnTo>
                    <a:lnTo>
                      <a:pt x="2068" y="485"/>
                    </a:lnTo>
                    <a:lnTo>
                      <a:pt x="2060" y="470"/>
                    </a:lnTo>
                    <a:lnTo>
                      <a:pt x="2060" y="470"/>
                    </a:lnTo>
                    <a:lnTo>
                      <a:pt x="2053" y="460"/>
                    </a:lnTo>
                    <a:lnTo>
                      <a:pt x="2045" y="451"/>
                    </a:lnTo>
                    <a:lnTo>
                      <a:pt x="2036" y="443"/>
                    </a:lnTo>
                    <a:lnTo>
                      <a:pt x="2026" y="436"/>
                    </a:lnTo>
                    <a:lnTo>
                      <a:pt x="2003" y="421"/>
                    </a:lnTo>
                    <a:lnTo>
                      <a:pt x="1980" y="409"/>
                    </a:lnTo>
                    <a:lnTo>
                      <a:pt x="1956" y="395"/>
                    </a:lnTo>
                    <a:lnTo>
                      <a:pt x="1933" y="380"/>
                    </a:lnTo>
                    <a:lnTo>
                      <a:pt x="1922" y="372"/>
                    </a:lnTo>
                    <a:lnTo>
                      <a:pt x="1911" y="364"/>
                    </a:lnTo>
                    <a:lnTo>
                      <a:pt x="1902" y="355"/>
                    </a:lnTo>
                    <a:lnTo>
                      <a:pt x="1894" y="344"/>
                    </a:lnTo>
                    <a:lnTo>
                      <a:pt x="1894" y="344"/>
                    </a:lnTo>
                    <a:lnTo>
                      <a:pt x="1892" y="344"/>
                    </a:lnTo>
                    <a:lnTo>
                      <a:pt x="1883" y="344"/>
                    </a:lnTo>
                    <a:lnTo>
                      <a:pt x="1869" y="348"/>
                    </a:lnTo>
                    <a:lnTo>
                      <a:pt x="1858" y="351"/>
                    </a:lnTo>
                    <a:lnTo>
                      <a:pt x="1848" y="356"/>
                    </a:lnTo>
                    <a:lnTo>
                      <a:pt x="1848" y="356"/>
                    </a:lnTo>
                    <a:lnTo>
                      <a:pt x="1843" y="358"/>
                    </a:lnTo>
                    <a:lnTo>
                      <a:pt x="1841" y="362"/>
                    </a:lnTo>
                    <a:lnTo>
                      <a:pt x="1840" y="365"/>
                    </a:lnTo>
                    <a:lnTo>
                      <a:pt x="1839" y="368"/>
                    </a:lnTo>
                    <a:lnTo>
                      <a:pt x="1840" y="376"/>
                    </a:lnTo>
                    <a:lnTo>
                      <a:pt x="1842" y="387"/>
                    </a:lnTo>
                    <a:lnTo>
                      <a:pt x="1845" y="396"/>
                    </a:lnTo>
                    <a:lnTo>
                      <a:pt x="1846" y="406"/>
                    </a:lnTo>
                    <a:lnTo>
                      <a:pt x="1847" y="417"/>
                    </a:lnTo>
                    <a:lnTo>
                      <a:pt x="1846" y="421"/>
                    </a:lnTo>
                    <a:lnTo>
                      <a:pt x="1843" y="425"/>
                    </a:lnTo>
                    <a:lnTo>
                      <a:pt x="1843" y="425"/>
                    </a:lnTo>
                    <a:lnTo>
                      <a:pt x="1847" y="444"/>
                    </a:lnTo>
                    <a:lnTo>
                      <a:pt x="1848" y="460"/>
                    </a:lnTo>
                    <a:lnTo>
                      <a:pt x="1847" y="472"/>
                    </a:lnTo>
                    <a:lnTo>
                      <a:pt x="1845" y="480"/>
                    </a:lnTo>
                    <a:lnTo>
                      <a:pt x="1840" y="485"/>
                    </a:lnTo>
                    <a:lnTo>
                      <a:pt x="1835" y="488"/>
                    </a:lnTo>
                    <a:lnTo>
                      <a:pt x="1828" y="488"/>
                    </a:lnTo>
                    <a:lnTo>
                      <a:pt x="1823" y="487"/>
                    </a:lnTo>
                    <a:lnTo>
                      <a:pt x="1808" y="483"/>
                    </a:lnTo>
                    <a:lnTo>
                      <a:pt x="1793" y="479"/>
                    </a:lnTo>
                    <a:lnTo>
                      <a:pt x="1786" y="478"/>
                    </a:lnTo>
                    <a:lnTo>
                      <a:pt x="1780" y="478"/>
                    </a:lnTo>
                    <a:lnTo>
                      <a:pt x="1774" y="480"/>
                    </a:lnTo>
                    <a:lnTo>
                      <a:pt x="1771" y="483"/>
                    </a:lnTo>
                    <a:lnTo>
                      <a:pt x="1771" y="483"/>
                    </a:lnTo>
                    <a:lnTo>
                      <a:pt x="1772" y="494"/>
                    </a:lnTo>
                    <a:lnTo>
                      <a:pt x="1772" y="503"/>
                    </a:lnTo>
                    <a:lnTo>
                      <a:pt x="1771" y="511"/>
                    </a:lnTo>
                    <a:lnTo>
                      <a:pt x="1769" y="519"/>
                    </a:lnTo>
                    <a:lnTo>
                      <a:pt x="1764" y="527"/>
                    </a:lnTo>
                    <a:lnTo>
                      <a:pt x="1759" y="533"/>
                    </a:lnTo>
                    <a:lnTo>
                      <a:pt x="1755" y="538"/>
                    </a:lnTo>
                    <a:lnTo>
                      <a:pt x="1749" y="541"/>
                    </a:lnTo>
                    <a:lnTo>
                      <a:pt x="1743" y="543"/>
                    </a:lnTo>
                    <a:lnTo>
                      <a:pt x="1739" y="544"/>
                    </a:lnTo>
                    <a:lnTo>
                      <a:pt x="1733" y="543"/>
                    </a:lnTo>
                    <a:lnTo>
                      <a:pt x="1730" y="540"/>
                    </a:lnTo>
                    <a:lnTo>
                      <a:pt x="1726" y="534"/>
                    </a:lnTo>
                    <a:lnTo>
                      <a:pt x="1724" y="526"/>
                    </a:lnTo>
                    <a:lnTo>
                      <a:pt x="1723" y="516"/>
                    </a:lnTo>
                    <a:lnTo>
                      <a:pt x="1723" y="503"/>
                    </a:lnTo>
                    <a:lnTo>
                      <a:pt x="1723" y="503"/>
                    </a:lnTo>
                    <a:lnTo>
                      <a:pt x="1724" y="496"/>
                    </a:lnTo>
                    <a:lnTo>
                      <a:pt x="1726" y="490"/>
                    </a:lnTo>
                    <a:lnTo>
                      <a:pt x="1728" y="486"/>
                    </a:lnTo>
                    <a:lnTo>
                      <a:pt x="1733" y="481"/>
                    </a:lnTo>
                    <a:lnTo>
                      <a:pt x="1742" y="474"/>
                    </a:lnTo>
                    <a:lnTo>
                      <a:pt x="1751" y="467"/>
                    </a:lnTo>
                    <a:lnTo>
                      <a:pt x="1756" y="464"/>
                    </a:lnTo>
                    <a:lnTo>
                      <a:pt x="1759" y="459"/>
                    </a:lnTo>
                    <a:lnTo>
                      <a:pt x="1763" y="455"/>
                    </a:lnTo>
                    <a:lnTo>
                      <a:pt x="1764" y="449"/>
                    </a:lnTo>
                    <a:lnTo>
                      <a:pt x="1765" y="443"/>
                    </a:lnTo>
                    <a:lnTo>
                      <a:pt x="1764" y="436"/>
                    </a:lnTo>
                    <a:lnTo>
                      <a:pt x="1761" y="428"/>
                    </a:lnTo>
                    <a:lnTo>
                      <a:pt x="1756" y="418"/>
                    </a:lnTo>
                    <a:lnTo>
                      <a:pt x="1756" y="418"/>
                    </a:lnTo>
                    <a:lnTo>
                      <a:pt x="1718" y="427"/>
                    </a:lnTo>
                    <a:lnTo>
                      <a:pt x="1688" y="434"/>
                    </a:lnTo>
                    <a:lnTo>
                      <a:pt x="1675" y="435"/>
                    </a:lnTo>
                    <a:lnTo>
                      <a:pt x="1663" y="436"/>
                    </a:lnTo>
                    <a:lnTo>
                      <a:pt x="1652" y="436"/>
                    </a:lnTo>
                    <a:lnTo>
                      <a:pt x="1642" y="435"/>
                    </a:lnTo>
                    <a:lnTo>
                      <a:pt x="1632" y="433"/>
                    </a:lnTo>
                    <a:lnTo>
                      <a:pt x="1621" y="431"/>
                    </a:lnTo>
                    <a:lnTo>
                      <a:pt x="1612" y="426"/>
                    </a:lnTo>
                    <a:lnTo>
                      <a:pt x="1603" y="420"/>
                    </a:lnTo>
                    <a:lnTo>
                      <a:pt x="1581" y="408"/>
                    </a:lnTo>
                    <a:lnTo>
                      <a:pt x="1558" y="389"/>
                    </a:lnTo>
                    <a:lnTo>
                      <a:pt x="1558" y="389"/>
                    </a:lnTo>
                    <a:lnTo>
                      <a:pt x="1532" y="408"/>
                    </a:lnTo>
                    <a:lnTo>
                      <a:pt x="1521" y="413"/>
                    </a:lnTo>
                    <a:lnTo>
                      <a:pt x="1513" y="418"/>
                    </a:lnTo>
                    <a:lnTo>
                      <a:pt x="1506" y="420"/>
                    </a:lnTo>
                    <a:lnTo>
                      <a:pt x="1501" y="421"/>
                    </a:lnTo>
                    <a:lnTo>
                      <a:pt x="1497" y="421"/>
                    </a:lnTo>
                    <a:lnTo>
                      <a:pt x="1492" y="420"/>
                    </a:lnTo>
                    <a:lnTo>
                      <a:pt x="1490" y="418"/>
                    </a:lnTo>
                    <a:lnTo>
                      <a:pt x="1488" y="416"/>
                    </a:lnTo>
                    <a:lnTo>
                      <a:pt x="1484" y="410"/>
                    </a:lnTo>
                    <a:lnTo>
                      <a:pt x="1480" y="404"/>
                    </a:lnTo>
                    <a:lnTo>
                      <a:pt x="1476" y="402"/>
                    </a:lnTo>
                    <a:lnTo>
                      <a:pt x="1473" y="399"/>
                    </a:lnTo>
                    <a:lnTo>
                      <a:pt x="1473" y="399"/>
                    </a:lnTo>
                    <a:lnTo>
                      <a:pt x="1452" y="393"/>
                    </a:lnTo>
                    <a:lnTo>
                      <a:pt x="1435" y="386"/>
                    </a:lnTo>
                    <a:lnTo>
                      <a:pt x="1423" y="379"/>
                    </a:lnTo>
                    <a:lnTo>
                      <a:pt x="1419" y="376"/>
                    </a:lnTo>
                    <a:lnTo>
                      <a:pt x="1415" y="373"/>
                    </a:lnTo>
                    <a:lnTo>
                      <a:pt x="1414" y="370"/>
                    </a:lnTo>
                    <a:lnTo>
                      <a:pt x="1414" y="367"/>
                    </a:lnTo>
                    <a:lnTo>
                      <a:pt x="1417" y="364"/>
                    </a:lnTo>
                    <a:lnTo>
                      <a:pt x="1420" y="362"/>
                    </a:lnTo>
                    <a:lnTo>
                      <a:pt x="1426" y="359"/>
                    </a:lnTo>
                    <a:lnTo>
                      <a:pt x="1433" y="357"/>
                    </a:lnTo>
                    <a:lnTo>
                      <a:pt x="1455" y="352"/>
                    </a:lnTo>
                    <a:lnTo>
                      <a:pt x="1455" y="352"/>
                    </a:lnTo>
                    <a:lnTo>
                      <a:pt x="1455" y="349"/>
                    </a:lnTo>
                    <a:lnTo>
                      <a:pt x="1456" y="345"/>
                    </a:lnTo>
                    <a:lnTo>
                      <a:pt x="1457" y="342"/>
                    </a:lnTo>
                    <a:lnTo>
                      <a:pt x="1458" y="339"/>
                    </a:lnTo>
                    <a:lnTo>
                      <a:pt x="1465" y="333"/>
                    </a:lnTo>
                    <a:lnTo>
                      <a:pt x="1472" y="327"/>
                    </a:lnTo>
                    <a:lnTo>
                      <a:pt x="1481" y="322"/>
                    </a:lnTo>
                    <a:lnTo>
                      <a:pt x="1490" y="318"/>
                    </a:lnTo>
                    <a:lnTo>
                      <a:pt x="1509" y="310"/>
                    </a:lnTo>
                    <a:lnTo>
                      <a:pt x="1521" y="303"/>
                    </a:lnTo>
                    <a:lnTo>
                      <a:pt x="1525" y="301"/>
                    </a:lnTo>
                    <a:lnTo>
                      <a:pt x="1525" y="299"/>
                    </a:lnTo>
                    <a:lnTo>
                      <a:pt x="1525" y="298"/>
                    </a:lnTo>
                    <a:lnTo>
                      <a:pt x="1521" y="296"/>
                    </a:lnTo>
                    <a:lnTo>
                      <a:pt x="1512" y="294"/>
                    </a:lnTo>
                    <a:lnTo>
                      <a:pt x="1499" y="291"/>
                    </a:lnTo>
                    <a:lnTo>
                      <a:pt x="1480" y="289"/>
                    </a:lnTo>
                    <a:lnTo>
                      <a:pt x="1480" y="289"/>
                    </a:lnTo>
                    <a:lnTo>
                      <a:pt x="1421" y="289"/>
                    </a:lnTo>
                    <a:lnTo>
                      <a:pt x="1421" y="289"/>
                    </a:lnTo>
                    <a:lnTo>
                      <a:pt x="1415" y="303"/>
                    </a:lnTo>
                    <a:lnTo>
                      <a:pt x="1408" y="315"/>
                    </a:lnTo>
                    <a:lnTo>
                      <a:pt x="1400" y="325"/>
                    </a:lnTo>
                    <a:lnTo>
                      <a:pt x="1397" y="328"/>
                    </a:lnTo>
                    <a:lnTo>
                      <a:pt x="1392" y="330"/>
                    </a:lnTo>
                    <a:lnTo>
                      <a:pt x="1389" y="332"/>
                    </a:lnTo>
                    <a:lnTo>
                      <a:pt x="1384" y="332"/>
                    </a:lnTo>
                    <a:lnTo>
                      <a:pt x="1381" y="329"/>
                    </a:lnTo>
                    <a:lnTo>
                      <a:pt x="1376" y="326"/>
                    </a:lnTo>
                    <a:lnTo>
                      <a:pt x="1372" y="320"/>
                    </a:lnTo>
                    <a:lnTo>
                      <a:pt x="1367" y="312"/>
                    </a:lnTo>
                    <a:lnTo>
                      <a:pt x="1364" y="302"/>
                    </a:lnTo>
                    <a:lnTo>
                      <a:pt x="1359" y="289"/>
                    </a:lnTo>
                    <a:lnTo>
                      <a:pt x="1359" y="289"/>
                    </a:lnTo>
                    <a:lnTo>
                      <a:pt x="1336" y="292"/>
                    </a:lnTo>
                    <a:lnTo>
                      <a:pt x="1305" y="295"/>
                    </a:lnTo>
                    <a:lnTo>
                      <a:pt x="1273" y="296"/>
                    </a:lnTo>
                    <a:lnTo>
                      <a:pt x="1245" y="297"/>
                    </a:lnTo>
                    <a:lnTo>
                      <a:pt x="1245" y="297"/>
                    </a:lnTo>
                    <a:lnTo>
                      <a:pt x="1227" y="296"/>
                    </a:lnTo>
                    <a:lnTo>
                      <a:pt x="1209" y="295"/>
                    </a:lnTo>
                    <a:lnTo>
                      <a:pt x="1178" y="291"/>
                    </a:lnTo>
                    <a:lnTo>
                      <a:pt x="1152" y="288"/>
                    </a:lnTo>
                    <a:lnTo>
                      <a:pt x="1139" y="288"/>
                    </a:lnTo>
                    <a:lnTo>
                      <a:pt x="1128" y="288"/>
                    </a:lnTo>
                    <a:lnTo>
                      <a:pt x="1116" y="290"/>
                    </a:lnTo>
                    <a:lnTo>
                      <a:pt x="1105" y="294"/>
                    </a:lnTo>
                    <a:lnTo>
                      <a:pt x="1092" y="298"/>
                    </a:lnTo>
                    <a:lnTo>
                      <a:pt x="1079" y="306"/>
                    </a:lnTo>
                    <a:lnTo>
                      <a:pt x="1067" y="317"/>
                    </a:lnTo>
                    <a:lnTo>
                      <a:pt x="1053" y="330"/>
                    </a:lnTo>
                    <a:lnTo>
                      <a:pt x="1037" y="347"/>
                    </a:lnTo>
                    <a:lnTo>
                      <a:pt x="1021" y="367"/>
                    </a:lnTo>
                    <a:lnTo>
                      <a:pt x="1021" y="367"/>
                    </a:lnTo>
                    <a:lnTo>
                      <a:pt x="1017" y="371"/>
                    </a:lnTo>
                    <a:lnTo>
                      <a:pt x="1014" y="373"/>
                    </a:lnTo>
                    <a:lnTo>
                      <a:pt x="1010" y="374"/>
                    </a:lnTo>
                    <a:lnTo>
                      <a:pt x="1006" y="374"/>
                    </a:lnTo>
                    <a:lnTo>
                      <a:pt x="1002" y="372"/>
                    </a:lnTo>
                    <a:lnTo>
                      <a:pt x="998" y="370"/>
                    </a:lnTo>
                    <a:lnTo>
                      <a:pt x="988" y="363"/>
                    </a:lnTo>
                    <a:lnTo>
                      <a:pt x="970" y="344"/>
                    </a:lnTo>
                    <a:lnTo>
                      <a:pt x="961" y="334"/>
                    </a:lnTo>
                    <a:lnTo>
                      <a:pt x="952" y="326"/>
                    </a:lnTo>
                    <a:lnTo>
                      <a:pt x="952" y="326"/>
                    </a:lnTo>
                    <a:lnTo>
                      <a:pt x="953" y="318"/>
                    </a:lnTo>
                    <a:lnTo>
                      <a:pt x="954" y="309"/>
                    </a:lnTo>
                    <a:lnTo>
                      <a:pt x="954" y="290"/>
                    </a:lnTo>
                    <a:lnTo>
                      <a:pt x="952" y="272"/>
                    </a:lnTo>
                    <a:lnTo>
                      <a:pt x="948" y="256"/>
                    </a:lnTo>
                    <a:lnTo>
                      <a:pt x="945" y="241"/>
                    </a:lnTo>
                    <a:lnTo>
                      <a:pt x="940" y="230"/>
                    </a:lnTo>
                    <a:lnTo>
                      <a:pt x="937" y="220"/>
                    </a:lnTo>
                    <a:lnTo>
                      <a:pt x="937" y="220"/>
                    </a:lnTo>
                    <a:lnTo>
                      <a:pt x="941" y="218"/>
                    </a:lnTo>
                    <a:lnTo>
                      <a:pt x="946" y="215"/>
                    </a:lnTo>
                    <a:lnTo>
                      <a:pt x="953" y="210"/>
                    </a:lnTo>
                    <a:lnTo>
                      <a:pt x="960" y="204"/>
                    </a:lnTo>
                    <a:lnTo>
                      <a:pt x="963" y="200"/>
                    </a:lnTo>
                    <a:lnTo>
                      <a:pt x="968" y="198"/>
                    </a:lnTo>
                    <a:lnTo>
                      <a:pt x="972" y="196"/>
                    </a:lnTo>
                    <a:lnTo>
                      <a:pt x="978" y="195"/>
                    </a:lnTo>
                    <a:lnTo>
                      <a:pt x="986" y="195"/>
                    </a:lnTo>
                    <a:lnTo>
                      <a:pt x="995" y="195"/>
                    </a:lnTo>
                    <a:lnTo>
                      <a:pt x="1006" y="197"/>
                    </a:lnTo>
                    <a:lnTo>
                      <a:pt x="1018" y="200"/>
                    </a:lnTo>
                    <a:lnTo>
                      <a:pt x="1033" y="205"/>
                    </a:lnTo>
                    <a:lnTo>
                      <a:pt x="1051" y="212"/>
                    </a:lnTo>
                    <a:lnTo>
                      <a:pt x="1051" y="212"/>
                    </a:lnTo>
                    <a:lnTo>
                      <a:pt x="1060" y="214"/>
                    </a:lnTo>
                    <a:lnTo>
                      <a:pt x="1068" y="213"/>
                    </a:lnTo>
                    <a:lnTo>
                      <a:pt x="1075" y="211"/>
                    </a:lnTo>
                    <a:lnTo>
                      <a:pt x="1079" y="205"/>
                    </a:lnTo>
                    <a:lnTo>
                      <a:pt x="1084" y="199"/>
                    </a:lnTo>
                    <a:lnTo>
                      <a:pt x="1086" y="190"/>
                    </a:lnTo>
                    <a:lnTo>
                      <a:pt x="1089" y="181"/>
                    </a:lnTo>
                    <a:lnTo>
                      <a:pt x="1090" y="170"/>
                    </a:lnTo>
                    <a:lnTo>
                      <a:pt x="1090" y="159"/>
                    </a:lnTo>
                    <a:lnTo>
                      <a:pt x="1089" y="147"/>
                    </a:lnTo>
                    <a:lnTo>
                      <a:pt x="1086" y="124"/>
                    </a:lnTo>
                    <a:lnTo>
                      <a:pt x="1082" y="104"/>
                    </a:lnTo>
                    <a:lnTo>
                      <a:pt x="1076" y="88"/>
                    </a:lnTo>
                    <a:lnTo>
                      <a:pt x="1076" y="88"/>
                    </a:lnTo>
                    <a:lnTo>
                      <a:pt x="1067" y="82"/>
                    </a:lnTo>
                    <a:lnTo>
                      <a:pt x="1059" y="75"/>
                    </a:lnTo>
                    <a:lnTo>
                      <a:pt x="1043" y="59"/>
                    </a:lnTo>
                    <a:lnTo>
                      <a:pt x="1028" y="42"/>
                    </a:lnTo>
                    <a:lnTo>
                      <a:pt x="1014" y="26"/>
                    </a:lnTo>
                    <a:lnTo>
                      <a:pt x="1003" y="12"/>
                    </a:lnTo>
                    <a:lnTo>
                      <a:pt x="995" y="2"/>
                    </a:lnTo>
                    <a:lnTo>
                      <a:pt x="992" y="0"/>
                    </a:lnTo>
                    <a:lnTo>
                      <a:pt x="990" y="0"/>
                    </a:lnTo>
                    <a:lnTo>
                      <a:pt x="988" y="2"/>
                    </a:lnTo>
                    <a:lnTo>
                      <a:pt x="987" y="6"/>
                    </a:lnTo>
                    <a:lnTo>
                      <a:pt x="987" y="6"/>
                    </a:lnTo>
                    <a:lnTo>
                      <a:pt x="988" y="28"/>
                    </a:lnTo>
                    <a:lnTo>
                      <a:pt x="990" y="45"/>
                    </a:lnTo>
                    <a:lnTo>
                      <a:pt x="990" y="59"/>
                    </a:lnTo>
                    <a:lnTo>
                      <a:pt x="990" y="66"/>
                    </a:lnTo>
                    <a:lnTo>
                      <a:pt x="987" y="73"/>
                    </a:lnTo>
                    <a:lnTo>
                      <a:pt x="985" y="80"/>
                    </a:lnTo>
                    <a:lnTo>
                      <a:pt x="980" y="86"/>
                    </a:lnTo>
                    <a:lnTo>
                      <a:pt x="974" y="95"/>
                    </a:lnTo>
                    <a:lnTo>
                      <a:pt x="965" y="101"/>
                    </a:lnTo>
                    <a:lnTo>
                      <a:pt x="955" y="111"/>
                    </a:lnTo>
                    <a:lnTo>
                      <a:pt x="942" y="120"/>
                    </a:lnTo>
                    <a:lnTo>
                      <a:pt x="908" y="142"/>
                    </a:lnTo>
                    <a:lnTo>
                      <a:pt x="908" y="142"/>
                    </a:lnTo>
                    <a:lnTo>
                      <a:pt x="891" y="154"/>
                    </a:lnTo>
                    <a:lnTo>
                      <a:pt x="878" y="165"/>
                    </a:lnTo>
                    <a:lnTo>
                      <a:pt x="875" y="169"/>
                    </a:lnTo>
                    <a:lnTo>
                      <a:pt x="871" y="174"/>
                    </a:lnTo>
                    <a:lnTo>
                      <a:pt x="869" y="179"/>
                    </a:lnTo>
                    <a:lnTo>
                      <a:pt x="868" y="183"/>
                    </a:lnTo>
                    <a:lnTo>
                      <a:pt x="868" y="188"/>
                    </a:lnTo>
                    <a:lnTo>
                      <a:pt x="868" y="191"/>
                    </a:lnTo>
                    <a:lnTo>
                      <a:pt x="870" y="199"/>
                    </a:lnTo>
                    <a:lnTo>
                      <a:pt x="873" y="206"/>
                    </a:lnTo>
                    <a:lnTo>
                      <a:pt x="878" y="214"/>
                    </a:lnTo>
                    <a:lnTo>
                      <a:pt x="883" y="221"/>
                    </a:lnTo>
                    <a:lnTo>
                      <a:pt x="887" y="228"/>
                    </a:lnTo>
                    <a:lnTo>
                      <a:pt x="890" y="236"/>
                    </a:lnTo>
                    <a:lnTo>
                      <a:pt x="891" y="243"/>
                    </a:lnTo>
                    <a:lnTo>
                      <a:pt x="891" y="248"/>
                    </a:lnTo>
                    <a:lnTo>
                      <a:pt x="890" y="252"/>
                    </a:lnTo>
                    <a:lnTo>
                      <a:pt x="887" y="257"/>
                    </a:lnTo>
                    <a:lnTo>
                      <a:pt x="884" y="261"/>
                    </a:lnTo>
                    <a:lnTo>
                      <a:pt x="875" y="271"/>
                    </a:lnTo>
                    <a:lnTo>
                      <a:pt x="860" y="282"/>
                    </a:lnTo>
                    <a:lnTo>
                      <a:pt x="860" y="282"/>
                    </a:lnTo>
                    <a:lnTo>
                      <a:pt x="860" y="283"/>
                    </a:lnTo>
                    <a:lnTo>
                      <a:pt x="857" y="283"/>
                    </a:lnTo>
                    <a:lnTo>
                      <a:pt x="850" y="282"/>
                    </a:lnTo>
                    <a:lnTo>
                      <a:pt x="846" y="283"/>
                    </a:lnTo>
                    <a:lnTo>
                      <a:pt x="839" y="286"/>
                    </a:lnTo>
                    <a:lnTo>
                      <a:pt x="832" y="290"/>
                    </a:lnTo>
                    <a:lnTo>
                      <a:pt x="823" y="297"/>
                    </a:lnTo>
                    <a:lnTo>
                      <a:pt x="823" y="297"/>
                    </a:lnTo>
                    <a:lnTo>
                      <a:pt x="808" y="319"/>
                    </a:lnTo>
                    <a:lnTo>
                      <a:pt x="797" y="334"/>
                    </a:lnTo>
                    <a:lnTo>
                      <a:pt x="786" y="352"/>
                    </a:lnTo>
                    <a:lnTo>
                      <a:pt x="786" y="352"/>
                    </a:lnTo>
                    <a:lnTo>
                      <a:pt x="787" y="342"/>
                    </a:lnTo>
                    <a:lnTo>
                      <a:pt x="785" y="334"/>
                    </a:lnTo>
                    <a:lnTo>
                      <a:pt x="781" y="327"/>
                    </a:lnTo>
                    <a:lnTo>
                      <a:pt x="777" y="322"/>
                    </a:lnTo>
                    <a:lnTo>
                      <a:pt x="770" y="318"/>
                    </a:lnTo>
                    <a:lnTo>
                      <a:pt x="764" y="315"/>
                    </a:lnTo>
                    <a:lnTo>
                      <a:pt x="753" y="311"/>
                    </a:lnTo>
                    <a:lnTo>
                      <a:pt x="748" y="310"/>
                    </a:lnTo>
                    <a:lnTo>
                      <a:pt x="745" y="307"/>
                    </a:lnTo>
                    <a:lnTo>
                      <a:pt x="743" y="306"/>
                    </a:lnTo>
                    <a:lnTo>
                      <a:pt x="746" y="304"/>
                    </a:lnTo>
                    <a:lnTo>
                      <a:pt x="750" y="301"/>
                    </a:lnTo>
                    <a:lnTo>
                      <a:pt x="759" y="297"/>
                    </a:lnTo>
                    <a:lnTo>
                      <a:pt x="789" y="286"/>
                    </a:lnTo>
                    <a:lnTo>
                      <a:pt x="789" y="286"/>
                    </a:lnTo>
                    <a:lnTo>
                      <a:pt x="784" y="273"/>
                    </a:lnTo>
                    <a:lnTo>
                      <a:pt x="777" y="260"/>
                    </a:lnTo>
                    <a:lnTo>
                      <a:pt x="770" y="249"/>
                    </a:lnTo>
                    <a:lnTo>
                      <a:pt x="762" y="237"/>
                    </a:lnTo>
                    <a:lnTo>
                      <a:pt x="753" y="228"/>
                    </a:lnTo>
                    <a:lnTo>
                      <a:pt x="745" y="221"/>
                    </a:lnTo>
                    <a:lnTo>
                      <a:pt x="740" y="218"/>
                    </a:lnTo>
                    <a:lnTo>
                      <a:pt x="735" y="217"/>
                    </a:lnTo>
                    <a:lnTo>
                      <a:pt x="732" y="215"/>
                    </a:lnTo>
                    <a:lnTo>
                      <a:pt x="727" y="215"/>
                    </a:lnTo>
                    <a:lnTo>
                      <a:pt x="727" y="215"/>
                    </a:lnTo>
                    <a:lnTo>
                      <a:pt x="713" y="223"/>
                    </a:lnTo>
                    <a:lnTo>
                      <a:pt x="701" y="230"/>
                    </a:lnTo>
                    <a:lnTo>
                      <a:pt x="688" y="234"/>
                    </a:lnTo>
                    <a:lnTo>
                      <a:pt x="675" y="237"/>
                    </a:lnTo>
                    <a:lnTo>
                      <a:pt x="663" y="238"/>
                    </a:lnTo>
                    <a:lnTo>
                      <a:pt x="651" y="238"/>
                    </a:lnTo>
                    <a:lnTo>
                      <a:pt x="640" y="237"/>
                    </a:lnTo>
                    <a:lnTo>
                      <a:pt x="628" y="236"/>
                    </a:lnTo>
                    <a:lnTo>
                      <a:pt x="608" y="231"/>
                    </a:lnTo>
                    <a:lnTo>
                      <a:pt x="588" y="226"/>
                    </a:lnTo>
                    <a:lnTo>
                      <a:pt x="571" y="222"/>
                    </a:lnTo>
                    <a:lnTo>
                      <a:pt x="563" y="220"/>
                    </a:lnTo>
                    <a:lnTo>
                      <a:pt x="555" y="220"/>
                    </a:lnTo>
                    <a:lnTo>
                      <a:pt x="555" y="220"/>
                    </a:lnTo>
                    <a:lnTo>
                      <a:pt x="545" y="220"/>
                    </a:lnTo>
                    <a:lnTo>
                      <a:pt x="537" y="221"/>
                    </a:lnTo>
                    <a:lnTo>
                      <a:pt x="530" y="223"/>
                    </a:lnTo>
                    <a:lnTo>
                      <a:pt x="524" y="226"/>
                    </a:lnTo>
                    <a:lnTo>
                      <a:pt x="518" y="228"/>
                    </a:lnTo>
                    <a:lnTo>
                      <a:pt x="513" y="231"/>
                    </a:lnTo>
                    <a:lnTo>
                      <a:pt x="509" y="235"/>
                    </a:lnTo>
                    <a:lnTo>
                      <a:pt x="505" y="240"/>
                    </a:lnTo>
                    <a:lnTo>
                      <a:pt x="499" y="250"/>
                    </a:lnTo>
                    <a:lnTo>
                      <a:pt x="495" y="261"/>
                    </a:lnTo>
                    <a:lnTo>
                      <a:pt x="493" y="273"/>
                    </a:lnTo>
                    <a:lnTo>
                      <a:pt x="490" y="286"/>
                    </a:lnTo>
                    <a:lnTo>
                      <a:pt x="488" y="312"/>
                    </a:lnTo>
                    <a:lnTo>
                      <a:pt x="487" y="337"/>
                    </a:lnTo>
                    <a:lnTo>
                      <a:pt x="484" y="349"/>
                    </a:lnTo>
                    <a:lnTo>
                      <a:pt x="481" y="359"/>
                    </a:lnTo>
                    <a:lnTo>
                      <a:pt x="476" y="367"/>
                    </a:lnTo>
                    <a:lnTo>
                      <a:pt x="473" y="371"/>
                    </a:lnTo>
                    <a:lnTo>
                      <a:pt x="470" y="374"/>
                    </a:lnTo>
                    <a:lnTo>
                      <a:pt x="470" y="374"/>
                    </a:lnTo>
                    <a:lnTo>
                      <a:pt x="461" y="367"/>
                    </a:lnTo>
                    <a:lnTo>
                      <a:pt x="453" y="360"/>
                    </a:lnTo>
                    <a:lnTo>
                      <a:pt x="445" y="351"/>
                    </a:lnTo>
                    <a:lnTo>
                      <a:pt x="437" y="342"/>
                    </a:lnTo>
                    <a:lnTo>
                      <a:pt x="429" y="330"/>
                    </a:lnTo>
                    <a:lnTo>
                      <a:pt x="422" y="319"/>
                    </a:lnTo>
                    <a:lnTo>
                      <a:pt x="415" y="306"/>
                    </a:lnTo>
                    <a:lnTo>
                      <a:pt x="409" y="294"/>
                    </a:lnTo>
                    <a:lnTo>
                      <a:pt x="403" y="280"/>
                    </a:lnTo>
                    <a:lnTo>
                      <a:pt x="397" y="266"/>
                    </a:lnTo>
                    <a:lnTo>
                      <a:pt x="394" y="252"/>
                    </a:lnTo>
                    <a:lnTo>
                      <a:pt x="390" y="238"/>
                    </a:lnTo>
                    <a:lnTo>
                      <a:pt x="387" y="223"/>
                    </a:lnTo>
                    <a:lnTo>
                      <a:pt x="386" y="210"/>
                    </a:lnTo>
                    <a:lnTo>
                      <a:pt x="386" y="196"/>
                    </a:lnTo>
                    <a:lnTo>
                      <a:pt x="386" y="183"/>
                    </a:lnTo>
                    <a:lnTo>
                      <a:pt x="386" y="183"/>
                    </a:lnTo>
                    <a:lnTo>
                      <a:pt x="386" y="179"/>
                    </a:lnTo>
                    <a:lnTo>
                      <a:pt x="382" y="175"/>
                    </a:lnTo>
                    <a:lnTo>
                      <a:pt x="377" y="170"/>
                    </a:lnTo>
                    <a:lnTo>
                      <a:pt x="372" y="166"/>
                    </a:lnTo>
                    <a:lnTo>
                      <a:pt x="365" y="162"/>
                    </a:lnTo>
                    <a:lnTo>
                      <a:pt x="356" y="160"/>
                    </a:lnTo>
                    <a:lnTo>
                      <a:pt x="346" y="158"/>
                    </a:lnTo>
                    <a:lnTo>
                      <a:pt x="337" y="158"/>
                    </a:lnTo>
                    <a:lnTo>
                      <a:pt x="328" y="159"/>
                    </a:lnTo>
                    <a:lnTo>
                      <a:pt x="318" y="162"/>
                    </a:lnTo>
                    <a:lnTo>
                      <a:pt x="310" y="168"/>
                    </a:lnTo>
                    <a:lnTo>
                      <a:pt x="302" y="177"/>
                    </a:lnTo>
                    <a:lnTo>
                      <a:pt x="297" y="182"/>
                    </a:lnTo>
                    <a:lnTo>
                      <a:pt x="295" y="189"/>
                    </a:lnTo>
                    <a:lnTo>
                      <a:pt x="289" y="204"/>
                    </a:lnTo>
                    <a:lnTo>
                      <a:pt x="284" y="222"/>
                    </a:lnTo>
                    <a:lnTo>
                      <a:pt x="283" y="245"/>
                    </a:lnTo>
                    <a:lnTo>
                      <a:pt x="283" y="245"/>
                    </a:lnTo>
                    <a:lnTo>
                      <a:pt x="296" y="254"/>
                    </a:lnTo>
                    <a:lnTo>
                      <a:pt x="306" y="264"/>
                    </a:lnTo>
                    <a:lnTo>
                      <a:pt x="313" y="272"/>
                    </a:lnTo>
                    <a:lnTo>
                      <a:pt x="319" y="280"/>
                    </a:lnTo>
                    <a:lnTo>
                      <a:pt x="321" y="288"/>
                    </a:lnTo>
                    <a:lnTo>
                      <a:pt x="322" y="295"/>
                    </a:lnTo>
                    <a:lnTo>
                      <a:pt x="321" y="302"/>
                    </a:lnTo>
                    <a:lnTo>
                      <a:pt x="320" y="307"/>
                    </a:lnTo>
                    <a:lnTo>
                      <a:pt x="316" y="313"/>
                    </a:lnTo>
                    <a:lnTo>
                      <a:pt x="312" y="318"/>
                    </a:lnTo>
                    <a:lnTo>
                      <a:pt x="307" y="321"/>
                    </a:lnTo>
                    <a:lnTo>
                      <a:pt x="302" y="326"/>
                    </a:lnTo>
                    <a:lnTo>
                      <a:pt x="290" y="330"/>
                    </a:lnTo>
                    <a:lnTo>
                      <a:pt x="278" y="334"/>
                    </a:lnTo>
                    <a:lnTo>
                      <a:pt x="278" y="334"/>
                    </a:lnTo>
                    <a:lnTo>
                      <a:pt x="265" y="332"/>
                    </a:lnTo>
                    <a:lnTo>
                      <a:pt x="253" y="328"/>
                    </a:lnTo>
                    <a:lnTo>
                      <a:pt x="243" y="324"/>
                    </a:lnTo>
                    <a:lnTo>
                      <a:pt x="234" y="318"/>
                    </a:lnTo>
                    <a:lnTo>
                      <a:pt x="227" y="311"/>
                    </a:lnTo>
                    <a:lnTo>
                      <a:pt x="222" y="304"/>
                    </a:lnTo>
                    <a:lnTo>
                      <a:pt x="219" y="295"/>
                    </a:lnTo>
                    <a:lnTo>
                      <a:pt x="216" y="286"/>
                    </a:lnTo>
                    <a:lnTo>
                      <a:pt x="216" y="286"/>
                    </a:lnTo>
                    <a:lnTo>
                      <a:pt x="201" y="298"/>
                    </a:lnTo>
                    <a:lnTo>
                      <a:pt x="193" y="302"/>
                    </a:lnTo>
                    <a:lnTo>
                      <a:pt x="189" y="304"/>
                    </a:lnTo>
                    <a:lnTo>
                      <a:pt x="184" y="304"/>
                    </a:lnTo>
                    <a:lnTo>
                      <a:pt x="184" y="304"/>
                    </a:lnTo>
                    <a:lnTo>
                      <a:pt x="180" y="302"/>
                    </a:lnTo>
                    <a:lnTo>
                      <a:pt x="175" y="296"/>
                    </a:lnTo>
                    <a:lnTo>
                      <a:pt x="166" y="286"/>
                    </a:lnTo>
                    <a:lnTo>
                      <a:pt x="166" y="286"/>
                    </a:lnTo>
                    <a:lnTo>
                      <a:pt x="146" y="286"/>
                    </a:lnTo>
                    <a:lnTo>
                      <a:pt x="146" y="286"/>
                    </a:lnTo>
                    <a:lnTo>
                      <a:pt x="146" y="286"/>
                    </a:lnTo>
                    <a:lnTo>
                      <a:pt x="146" y="298"/>
                    </a:lnTo>
                    <a:lnTo>
                      <a:pt x="145" y="310"/>
                    </a:lnTo>
                    <a:lnTo>
                      <a:pt x="143" y="320"/>
                    </a:lnTo>
                    <a:lnTo>
                      <a:pt x="139" y="329"/>
                    </a:lnTo>
                    <a:lnTo>
                      <a:pt x="132" y="345"/>
                    </a:lnTo>
                    <a:lnTo>
                      <a:pt x="124" y="360"/>
                    </a:lnTo>
                    <a:lnTo>
                      <a:pt x="116" y="375"/>
                    </a:lnTo>
                    <a:lnTo>
                      <a:pt x="109" y="391"/>
                    </a:lnTo>
                    <a:lnTo>
                      <a:pt x="106" y="401"/>
                    </a:lnTo>
                    <a:lnTo>
                      <a:pt x="105" y="410"/>
                    </a:lnTo>
                    <a:lnTo>
                      <a:pt x="102" y="421"/>
                    </a:lnTo>
                    <a:lnTo>
                      <a:pt x="102" y="433"/>
                    </a:lnTo>
                    <a:lnTo>
                      <a:pt x="102" y="433"/>
                    </a:lnTo>
                    <a:lnTo>
                      <a:pt x="104" y="440"/>
                    </a:lnTo>
                    <a:lnTo>
                      <a:pt x="106" y="444"/>
                    </a:lnTo>
                    <a:lnTo>
                      <a:pt x="109" y="448"/>
                    </a:lnTo>
                    <a:lnTo>
                      <a:pt x="114" y="450"/>
                    </a:lnTo>
                    <a:lnTo>
                      <a:pt x="117" y="452"/>
                    </a:lnTo>
                    <a:lnTo>
                      <a:pt x="121" y="456"/>
                    </a:lnTo>
                    <a:lnTo>
                      <a:pt x="124" y="459"/>
                    </a:lnTo>
                    <a:lnTo>
                      <a:pt x="124" y="465"/>
                    </a:lnTo>
                    <a:lnTo>
                      <a:pt x="124" y="465"/>
                    </a:lnTo>
                    <a:lnTo>
                      <a:pt x="123" y="474"/>
                    </a:lnTo>
                    <a:lnTo>
                      <a:pt x="121" y="480"/>
                    </a:lnTo>
                    <a:lnTo>
                      <a:pt x="116" y="483"/>
                    </a:lnTo>
                    <a:lnTo>
                      <a:pt x="112" y="487"/>
                    </a:lnTo>
                    <a:lnTo>
                      <a:pt x="106" y="490"/>
                    </a:lnTo>
                    <a:lnTo>
                      <a:pt x="101" y="494"/>
                    </a:lnTo>
                    <a:lnTo>
                      <a:pt x="98" y="500"/>
                    </a:lnTo>
                    <a:lnTo>
                      <a:pt x="96" y="507"/>
                    </a:lnTo>
                    <a:lnTo>
                      <a:pt x="96" y="507"/>
                    </a:lnTo>
                    <a:lnTo>
                      <a:pt x="92" y="521"/>
                    </a:lnTo>
                    <a:lnTo>
                      <a:pt x="87" y="535"/>
                    </a:lnTo>
                    <a:lnTo>
                      <a:pt x="81" y="549"/>
                    </a:lnTo>
                    <a:lnTo>
                      <a:pt x="75" y="561"/>
                    </a:lnTo>
                    <a:lnTo>
                      <a:pt x="67" y="572"/>
                    </a:lnTo>
                    <a:lnTo>
                      <a:pt x="59" y="584"/>
                    </a:lnTo>
                    <a:lnTo>
                      <a:pt x="43" y="605"/>
                    </a:lnTo>
                    <a:lnTo>
                      <a:pt x="26" y="628"/>
                    </a:lnTo>
                    <a:lnTo>
                      <a:pt x="20" y="641"/>
                    </a:lnTo>
                    <a:lnTo>
                      <a:pt x="13" y="654"/>
                    </a:lnTo>
                    <a:lnTo>
                      <a:pt x="8" y="669"/>
                    </a:lnTo>
                    <a:lnTo>
                      <a:pt x="3" y="684"/>
                    </a:lnTo>
                    <a:lnTo>
                      <a:pt x="1" y="701"/>
                    </a:lnTo>
                    <a:lnTo>
                      <a:pt x="0" y="719"/>
                    </a:lnTo>
                    <a:lnTo>
                      <a:pt x="0" y="719"/>
                    </a:lnTo>
                    <a:lnTo>
                      <a:pt x="1" y="730"/>
                    </a:lnTo>
                    <a:lnTo>
                      <a:pt x="2" y="739"/>
                    </a:lnTo>
                    <a:lnTo>
                      <a:pt x="6" y="747"/>
                    </a:lnTo>
                    <a:lnTo>
                      <a:pt x="10" y="753"/>
                    </a:lnTo>
                    <a:lnTo>
                      <a:pt x="15" y="757"/>
                    </a:lnTo>
                    <a:lnTo>
                      <a:pt x="20" y="762"/>
                    </a:lnTo>
                    <a:lnTo>
                      <a:pt x="31" y="769"/>
                    </a:lnTo>
                    <a:lnTo>
                      <a:pt x="43" y="776"/>
                    </a:lnTo>
                    <a:lnTo>
                      <a:pt x="48" y="779"/>
                    </a:lnTo>
                    <a:lnTo>
                      <a:pt x="53" y="784"/>
                    </a:lnTo>
                    <a:lnTo>
                      <a:pt x="56" y="788"/>
                    </a:lnTo>
                    <a:lnTo>
                      <a:pt x="60" y="794"/>
                    </a:lnTo>
                    <a:lnTo>
                      <a:pt x="62" y="802"/>
                    </a:lnTo>
                    <a:lnTo>
                      <a:pt x="62" y="810"/>
                    </a:lnTo>
                    <a:lnTo>
                      <a:pt x="62" y="810"/>
                    </a:lnTo>
                    <a:lnTo>
                      <a:pt x="63" y="815"/>
                    </a:lnTo>
                    <a:lnTo>
                      <a:pt x="63" y="818"/>
                    </a:lnTo>
                    <a:lnTo>
                      <a:pt x="66" y="822"/>
                    </a:lnTo>
                    <a:lnTo>
                      <a:pt x="67" y="824"/>
                    </a:lnTo>
                    <a:lnTo>
                      <a:pt x="73" y="826"/>
                    </a:lnTo>
                    <a:lnTo>
                      <a:pt x="79" y="828"/>
                    </a:lnTo>
                    <a:lnTo>
                      <a:pt x="93" y="828"/>
                    </a:lnTo>
                    <a:lnTo>
                      <a:pt x="100" y="828"/>
                    </a:lnTo>
                    <a:lnTo>
                      <a:pt x="107" y="830"/>
                    </a:lnTo>
                    <a:lnTo>
                      <a:pt x="107" y="830"/>
                    </a:lnTo>
                    <a:lnTo>
                      <a:pt x="109" y="831"/>
                    </a:lnTo>
                    <a:lnTo>
                      <a:pt x="112" y="833"/>
                    </a:lnTo>
                    <a:lnTo>
                      <a:pt x="116" y="840"/>
                    </a:lnTo>
                    <a:lnTo>
                      <a:pt x="117" y="848"/>
                    </a:lnTo>
                    <a:lnTo>
                      <a:pt x="120" y="856"/>
                    </a:lnTo>
                    <a:lnTo>
                      <a:pt x="122" y="864"/>
                    </a:lnTo>
                    <a:lnTo>
                      <a:pt x="124" y="871"/>
                    </a:lnTo>
                    <a:lnTo>
                      <a:pt x="127" y="874"/>
                    </a:lnTo>
                    <a:lnTo>
                      <a:pt x="129" y="876"/>
                    </a:lnTo>
                    <a:lnTo>
                      <a:pt x="132" y="877"/>
                    </a:lnTo>
                    <a:lnTo>
                      <a:pt x="136" y="877"/>
                    </a:lnTo>
                    <a:lnTo>
                      <a:pt x="136" y="877"/>
                    </a:lnTo>
                    <a:lnTo>
                      <a:pt x="166" y="877"/>
                    </a:lnTo>
                    <a:lnTo>
                      <a:pt x="166" y="877"/>
                    </a:lnTo>
                    <a:lnTo>
                      <a:pt x="170" y="878"/>
                    </a:lnTo>
                    <a:lnTo>
                      <a:pt x="175" y="879"/>
                    </a:lnTo>
                    <a:lnTo>
                      <a:pt x="183" y="884"/>
                    </a:lnTo>
                    <a:lnTo>
                      <a:pt x="191" y="891"/>
                    </a:lnTo>
                    <a:lnTo>
                      <a:pt x="199" y="898"/>
                    </a:lnTo>
                    <a:lnTo>
                      <a:pt x="208" y="906"/>
                    </a:lnTo>
                    <a:lnTo>
                      <a:pt x="219" y="913"/>
                    </a:lnTo>
                    <a:lnTo>
                      <a:pt x="229" y="918"/>
                    </a:lnTo>
                    <a:lnTo>
                      <a:pt x="236" y="921"/>
                    </a:lnTo>
                    <a:lnTo>
                      <a:pt x="243" y="922"/>
                    </a:lnTo>
                    <a:lnTo>
                      <a:pt x="243" y="922"/>
                    </a:lnTo>
                    <a:lnTo>
                      <a:pt x="243" y="936"/>
                    </a:lnTo>
                    <a:lnTo>
                      <a:pt x="245" y="946"/>
                    </a:lnTo>
                    <a:lnTo>
                      <a:pt x="249" y="954"/>
                    </a:lnTo>
                    <a:lnTo>
                      <a:pt x="253" y="962"/>
                    </a:lnTo>
                    <a:lnTo>
                      <a:pt x="253" y="962"/>
                    </a:lnTo>
                    <a:lnTo>
                      <a:pt x="315" y="962"/>
                    </a:lnTo>
                    <a:lnTo>
                      <a:pt x="315" y="962"/>
                    </a:lnTo>
                    <a:lnTo>
                      <a:pt x="315" y="962"/>
                    </a:lnTo>
                    <a:lnTo>
                      <a:pt x="330" y="973"/>
                    </a:lnTo>
                    <a:lnTo>
                      <a:pt x="341" y="982"/>
                    </a:lnTo>
                    <a:lnTo>
                      <a:pt x="360" y="1001"/>
                    </a:lnTo>
                    <a:lnTo>
                      <a:pt x="360" y="1001"/>
                    </a:lnTo>
                    <a:lnTo>
                      <a:pt x="362" y="1012"/>
                    </a:lnTo>
                    <a:lnTo>
                      <a:pt x="365" y="1021"/>
                    </a:lnTo>
                    <a:lnTo>
                      <a:pt x="367" y="1023"/>
                    </a:lnTo>
                    <a:lnTo>
                      <a:pt x="369" y="1025"/>
                    </a:lnTo>
                    <a:lnTo>
                      <a:pt x="373" y="1028"/>
                    </a:lnTo>
                    <a:lnTo>
                      <a:pt x="379" y="1028"/>
                    </a:lnTo>
                    <a:lnTo>
                      <a:pt x="379" y="1028"/>
                    </a:lnTo>
                    <a:lnTo>
                      <a:pt x="387" y="1027"/>
                    </a:lnTo>
                    <a:lnTo>
                      <a:pt x="392" y="1024"/>
                    </a:lnTo>
                    <a:lnTo>
                      <a:pt x="398" y="1021"/>
                    </a:lnTo>
                    <a:lnTo>
                      <a:pt x="402" y="1017"/>
                    </a:lnTo>
                    <a:lnTo>
                      <a:pt x="405" y="1013"/>
                    </a:lnTo>
                    <a:lnTo>
                      <a:pt x="409" y="1009"/>
                    </a:lnTo>
                    <a:lnTo>
                      <a:pt x="413" y="1007"/>
                    </a:lnTo>
                    <a:lnTo>
                      <a:pt x="419" y="1006"/>
                    </a:lnTo>
                    <a:lnTo>
                      <a:pt x="419" y="1006"/>
                    </a:lnTo>
                    <a:lnTo>
                      <a:pt x="425" y="1007"/>
                    </a:lnTo>
                    <a:lnTo>
                      <a:pt x="433" y="1011"/>
                    </a:lnTo>
                    <a:lnTo>
                      <a:pt x="438" y="1014"/>
                    </a:lnTo>
                    <a:lnTo>
                      <a:pt x="440" y="1015"/>
                    </a:lnTo>
                    <a:lnTo>
                      <a:pt x="441" y="1016"/>
                    </a:lnTo>
                    <a:lnTo>
                      <a:pt x="441" y="1016"/>
                    </a:lnTo>
                    <a:lnTo>
                      <a:pt x="443" y="1022"/>
                    </a:lnTo>
                    <a:lnTo>
                      <a:pt x="443" y="1027"/>
                    </a:lnTo>
                    <a:lnTo>
                      <a:pt x="443" y="1031"/>
                    </a:lnTo>
                    <a:lnTo>
                      <a:pt x="442" y="1035"/>
                    </a:lnTo>
                    <a:lnTo>
                      <a:pt x="438" y="1044"/>
                    </a:lnTo>
                    <a:lnTo>
                      <a:pt x="437" y="1048"/>
                    </a:lnTo>
                    <a:lnTo>
                      <a:pt x="437" y="1053"/>
                    </a:lnTo>
                    <a:lnTo>
                      <a:pt x="437" y="1053"/>
                    </a:lnTo>
                    <a:lnTo>
                      <a:pt x="438" y="1058"/>
                    </a:lnTo>
                    <a:lnTo>
                      <a:pt x="440" y="1062"/>
                    </a:lnTo>
                    <a:lnTo>
                      <a:pt x="442" y="1066"/>
                    </a:lnTo>
                    <a:lnTo>
                      <a:pt x="445" y="1069"/>
                    </a:lnTo>
                    <a:lnTo>
                      <a:pt x="452" y="1074"/>
                    </a:lnTo>
                    <a:lnTo>
                      <a:pt x="460" y="1080"/>
                    </a:lnTo>
                    <a:lnTo>
                      <a:pt x="468" y="1083"/>
                    </a:lnTo>
                    <a:lnTo>
                      <a:pt x="476" y="1089"/>
                    </a:lnTo>
                    <a:lnTo>
                      <a:pt x="483" y="1095"/>
                    </a:lnTo>
                    <a:lnTo>
                      <a:pt x="487" y="1098"/>
                    </a:lnTo>
                    <a:lnTo>
                      <a:pt x="489" y="1101"/>
                    </a:lnTo>
                    <a:lnTo>
                      <a:pt x="489" y="1101"/>
                    </a:lnTo>
                    <a:lnTo>
                      <a:pt x="490" y="1105"/>
                    </a:lnTo>
                    <a:lnTo>
                      <a:pt x="493" y="1107"/>
                    </a:lnTo>
                    <a:lnTo>
                      <a:pt x="496" y="1109"/>
                    </a:lnTo>
                    <a:lnTo>
                      <a:pt x="498" y="1109"/>
                    </a:lnTo>
                    <a:lnTo>
                      <a:pt x="506" y="1109"/>
                    </a:lnTo>
                    <a:lnTo>
                      <a:pt x="514" y="1108"/>
                    </a:lnTo>
                    <a:lnTo>
                      <a:pt x="524" y="1107"/>
                    </a:lnTo>
                    <a:lnTo>
                      <a:pt x="532" y="1106"/>
                    </a:lnTo>
                    <a:lnTo>
                      <a:pt x="535" y="1106"/>
                    </a:lnTo>
                    <a:lnTo>
                      <a:pt x="539" y="1107"/>
                    </a:lnTo>
                    <a:lnTo>
                      <a:pt x="541" y="1109"/>
                    </a:lnTo>
                    <a:lnTo>
                      <a:pt x="543" y="1113"/>
                    </a:lnTo>
                    <a:lnTo>
                      <a:pt x="543" y="1113"/>
                    </a:lnTo>
                    <a:lnTo>
                      <a:pt x="549" y="1121"/>
                    </a:lnTo>
                    <a:lnTo>
                      <a:pt x="551" y="1130"/>
                    </a:lnTo>
                    <a:lnTo>
                      <a:pt x="554" y="1139"/>
                    </a:lnTo>
                    <a:lnTo>
                      <a:pt x="554" y="1147"/>
                    </a:lnTo>
                    <a:lnTo>
                      <a:pt x="554" y="1165"/>
                    </a:lnTo>
                    <a:lnTo>
                      <a:pt x="555" y="1172"/>
                    </a:lnTo>
                    <a:lnTo>
                      <a:pt x="558" y="1179"/>
                    </a:lnTo>
                    <a:lnTo>
                      <a:pt x="558" y="1179"/>
                    </a:lnTo>
                    <a:lnTo>
                      <a:pt x="558" y="1175"/>
                    </a:lnTo>
                    <a:lnTo>
                      <a:pt x="558" y="1175"/>
                    </a:lnTo>
                    <a:lnTo>
                      <a:pt x="558" y="1175"/>
                    </a:lnTo>
                    <a:lnTo>
                      <a:pt x="562" y="1170"/>
                    </a:lnTo>
                    <a:lnTo>
                      <a:pt x="565" y="1167"/>
                    </a:lnTo>
                    <a:lnTo>
                      <a:pt x="570" y="1164"/>
                    </a:lnTo>
                    <a:lnTo>
                      <a:pt x="574" y="1161"/>
                    </a:lnTo>
                    <a:lnTo>
                      <a:pt x="586" y="1158"/>
                    </a:lnTo>
                    <a:lnTo>
                      <a:pt x="598" y="1157"/>
                    </a:lnTo>
                    <a:lnTo>
                      <a:pt x="598" y="1157"/>
                    </a:lnTo>
                    <a:lnTo>
                      <a:pt x="617" y="1156"/>
                    </a:lnTo>
                    <a:lnTo>
                      <a:pt x="638" y="1151"/>
                    </a:lnTo>
                    <a:lnTo>
                      <a:pt x="657" y="1145"/>
                    </a:lnTo>
                    <a:lnTo>
                      <a:pt x="675" y="1138"/>
                    </a:lnTo>
                    <a:lnTo>
                      <a:pt x="675" y="1138"/>
                    </a:lnTo>
                    <a:lnTo>
                      <a:pt x="681" y="1136"/>
                    </a:lnTo>
                    <a:lnTo>
                      <a:pt x="685" y="1132"/>
                    </a:lnTo>
                    <a:lnTo>
                      <a:pt x="687" y="1130"/>
                    </a:lnTo>
                    <a:lnTo>
                      <a:pt x="688" y="1126"/>
                    </a:lnTo>
                    <a:lnTo>
                      <a:pt x="688" y="1122"/>
                    </a:lnTo>
                    <a:lnTo>
                      <a:pt x="687" y="1118"/>
                    </a:lnTo>
                    <a:lnTo>
                      <a:pt x="684" y="1108"/>
                    </a:lnTo>
                    <a:lnTo>
                      <a:pt x="675" y="1091"/>
                    </a:lnTo>
                    <a:lnTo>
                      <a:pt x="674" y="1084"/>
                    </a:lnTo>
                    <a:lnTo>
                      <a:pt x="674" y="1082"/>
                    </a:lnTo>
                    <a:lnTo>
                      <a:pt x="675" y="1080"/>
                    </a:lnTo>
                    <a:lnTo>
                      <a:pt x="675" y="1080"/>
                    </a:lnTo>
                    <a:lnTo>
                      <a:pt x="679" y="1077"/>
                    </a:lnTo>
                    <a:lnTo>
                      <a:pt x="684" y="1074"/>
                    </a:lnTo>
                    <a:lnTo>
                      <a:pt x="693" y="1069"/>
                    </a:lnTo>
                    <a:lnTo>
                      <a:pt x="702" y="1065"/>
                    </a:lnTo>
                    <a:lnTo>
                      <a:pt x="705" y="1061"/>
                    </a:lnTo>
                    <a:lnTo>
                      <a:pt x="709" y="1058"/>
                    </a:lnTo>
                    <a:lnTo>
                      <a:pt x="709" y="1058"/>
                    </a:lnTo>
                    <a:lnTo>
                      <a:pt x="716" y="1050"/>
                    </a:lnTo>
                    <a:lnTo>
                      <a:pt x="727" y="1040"/>
                    </a:lnTo>
                    <a:lnTo>
                      <a:pt x="753" y="1019"/>
                    </a:lnTo>
                    <a:lnTo>
                      <a:pt x="765" y="1008"/>
                    </a:lnTo>
                    <a:lnTo>
                      <a:pt x="777" y="999"/>
                    </a:lnTo>
                    <a:lnTo>
                      <a:pt x="784" y="990"/>
                    </a:lnTo>
                    <a:lnTo>
                      <a:pt x="786" y="986"/>
                    </a:lnTo>
                    <a:lnTo>
                      <a:pt x="786" y="984"/>
                    </a:lnTo>
                    <a:lnTo>
                      <a:pt x="786" y="984"/>
                    </a:lnTo>
                    <a:lnTo>
                      <a:pt x="785" y="977"/>
                    </a:lnTo>
                    <a:lnTo>
                      <a:pt x="781" y="971"/>
                    </a:lnTo>
                    <a:lnTo>
                      <a:pt x="776" y="964"/>
                    </a:lnTo>
                    <a:lnTo>
                      <a:pt x="769" y="958"/>
                    </a:lnTo>
                    <a:lnTo>
                      <a:pt x="761" y="952"/>
                    </a:lnTo>
                    <a:lnTo>
                      <a:pt x="753" y="947"/>
                    </a:lnTo>
                    <a:lnTo>
                      <a:pt x="743" y="944"/>
                    </a:lnTo>
                    <a:lnTo>
                      <a:pt x="734" y="943"/>
                    </a:lnTo>
                    <a:lnTo>
                      <a:pt x="734" y="943"/>
                    </a:lnTo>
                    <a:lnTo>
                      <a:pt x="731" y="944"/>
                    </a:lnTo>
                    <a:lnTo>
                      <a:pt x="727" y="945"/>
                    </a:lnTo>
                    <a:lnTo>
                      <a:pt x="722" y="950"/>
                    </a:lnTo>
                    <a:lnTo>
                      <a:pt x="716" y="956"/>
                    </a:lnTo>
                    <a:lnTo>
                      <a:pt x="711" y="963"/>
                    </a:lnTo>
                    <a:lnTo>
                      <a:pt x="707" y="970"/>
                    </a:lnTo>
                    <a:lnTo>
                      <a:pt x="702" y="977"/>
                    </a:lnTo>
                    <a:lnTo>
                      <a:pt x="696" y="982"/>
                    </a:lnTo>
                    <a:lnTo>
                      <a:pt x="694" y="983"/>
                    </a:lnTo>
                    <a:lnTo>
                      <a:pt x="690" y="984"/>
                    </a:lnTo>
                    <a:lnTo>
                      <a:pt x="690" y="984"/>
                    </a:lnTo>
                    <a:lnTo>
                      <a:pt x="681" y="983"/>
                    </a:lnTo>
                    <a:lnTo>
                      <a:pt x="671" y="981"/>
                    </a:lnTo>
                    <a:lnTo>
                      <a:pt x="661" y="977"/>
                    </a:lnTo>
                    <a:lnTo>
                      <a:pt x="649" y="973"/>
                    </a:lnTo>
                    <a:lnTo>
                      <a:pt x="640" y="968"/>
                    </a:lnTo>
                    <a:lnTo>
                      <a:pt x="632" y="962"/>
                    </a:lnTo>
                    <a:lnTo>
                      <a:pt x="626" y="956"/>
                    </a:lnTo>
                    <a:lnTo>
                      <a:pt x="625" y="953"/>
                    </a:lnTo>
                    <a:lnTo>
                      <a:pt x="625" y="951"/>
                    </a:lnTo>
                    <a:lnTo>
                      <a:pt x="625" y="951"/>
                    </a:lnTo>
                    <a:lnTo>
                      <a:pt x="626" y="940"/>
                    </a:lnTo>
                    <a:lnTo>
                      <a:pt x="629" y="928"/>
                    </a:lnTo>
                    <a:lnTo>
                      <a:pt x="635" y="916"/>
                    </a:lnTo>
                    <a:lnTo>
                      <a:pt x="641" y="903"/>
                    </a:lnTo>
                    <a:lnTo>
                      <a:pt x="648" y="892"/>
                    </a:lnTo>
                    <a:lnTo>
                      <a:pt x="656" y="882"/>
                    </a:lnTo>
                    <a:lnTo>
                      <a:pt x="663" y="875"/>
                    </a:lnTo>
                    <a:lnTo>
                      <a:pt x="669" y="869"/>
                    </a:lnTo>
                    <a:lnTo>
                      <a:pt x="669" y="869"/>
                    </a:lnTo>
                    <a:lnTo>
                      <a:pt x="679" y="867"/>
                    </a:lnTo>
                    <a:lnTo>
                      <a:pt x="694" y="864"/>
                    </a:lnTo>
                    <a:lnTo>
                      <a:pt x="701" y="862"/>
                    </a:lnTo>
                    <a:lnTo>
                      <a:pt x="707" y="859"/>
                    </a:lnTo>
                    <a:lnTo>
                      <a:pt x="711" y="854"/>
                    </a:lnTo>
                    <a:lnTo>
                      <a:pt x="712" y="851"/>
                    </a:lnTo>
                    <a:lnTo>
                      <a:pt x="712" y="848"/>
                    </a:lnTo>
                    <a:lnTo>
                      <a:pt x="712" y="848"/>
                    </a:lnTo>
                    <a:lnTo>
                      <a:pt x="712" y="844"/>
                    </a:lnTo>
                    <a:lnTo>
                      <a:pt x="711" y="840"/>
                    </a:lnTo>
                    <a:lnTo>
                      <a:pt x="708" y="834"/>
                    </a:lnTo>
                    <a:lnTo>
                      <a:pt x="703" y="828"/>
                    </a:lnTo>
                    <a:lnTo>
                      <a:pt x="702" y="823"/>
                    </a:lnTo>
                    <a:lnTo>
                      <a:pt x="702" y="818"/>
                    </a:lnTo>
                    <a:lnTo>
                      <a:pt x="702" y="818"/>
                    </a:lnTo>
                    <a:lnTo>
                      <a:pt x="702" y="808"/>
                    </a:lnTo>
                    <a:lnTo>
                      <a:pt x="704" y="799"/>
                    </a:lnTo>
                    <a:lnTo>
                      <a:pt x="708" y="791"/>
                    </a:lnTo>
                    <a:lnTo>
                      <a:pt x="711" y="783"/>
                    </a:lnTo>
                    <a:lnTo>
                      <a:pt x="713" y="775"/>
                    </a:lnTo>
                    <a:lnTo>
                      <a:pt x="717" y="767"/>
                    </a:lnTo>
                    <a:lnTo>
                      <a:pt x="719" y="756"/>
                    </a:lnTo>
                    <a:lnTo>
                      <a:pt x="719" y="745"/>
                    </a:lnTo>
                    <a:lnTo>
                      <a:pt x="719" y="745"/>
                    </a:lnTo>
                    <a:lnTo>
                      <a:pt x="719" y="731"/>
                    </a:lnTo>
                    <a:lnTo>
                      <a:pt x="716" y="718"/>
                    </a:lnTo>
                    <a:lnTo>
                      <a:pt x="711" y="707"/>
                    </a:lnTo>
                    <a:lnTo>
                      <a:pt x="707" y="698"/>
                    </a:lnTo>
                    <a:lnTo>
                      <a:pt x="698" y="679"/>
                    </a:lnTo>
                    <a:lnTo>
                      <a:pt x="695" y="670"/>
                    </a:lnTo>
                    <a:lnTo>
                      <a:pt x="694" y="661"/>
                    </a:lnTo>
                    <a:lnTo>
                      <a:pt x="694" y="661"/>
                    </a:lnTo>
                    <a:lnTo>
                      <a:pt x="693" y="653"/>
                    </a:lnTo>
                    <a:lnTo>
                      <a:pt x="692" y="648"/>
                    </a:lnTo>
                    <a:lnTo>
                      <a:pt x="690" y="645"/>
                    </a:lnTo>
                    <a:lnTo>
                      <a:pt x="694" y="639"/>
                    </a:lnTo>
                    <a:lnTo>
                      <a:pt x="694" y="639"/>
                    </a:lnTo>
                    <a:lnTo>
                      <a:pt x="728" y="651"/>
                    </a:lnTo>
                    <a:lnTo>
                      <a:pt x="759" y="664"/>
                    </a:lnTo>
                    <a:lnTo>
                      <a:pt x="776" y="671"/>
                    </a:lnTo>
                    <a:lnTo>
                      <a:pt x="791" y="678"/>
                    </a:lnTo>
                    <a:lnTo>
                      <a:pt x="807" y="687"/>
                    </a:lnTo>
                    <a:lnTo>
                      <a:pt x="823" y="698"/>
                    </a:lnTo>
                    <a:lnTo>
                      <a:pt x="823" y="698"/>
                    </a:lnTo>
                    <a:lnTo>
                      <a:pt x="829" y="704"/>
                    </a:lnTo>
                    <a:lnTo>
                      <a:pt x="833" y="710"/>
                    </a:lnTo>
                    <a:lnTo>
                      <a:pt x="840" y="723"/>
                    </a:lnTo>
                    <a:lnTo>
                      <a:pt x="843" y="727"/>
                    </a:lnTo>
                    <a:lnTo>
                      <a:pt x="850" y="731"/>
                    </a:lnTo>
                    <a:lnTo>
                      <a:pt x="858" y="733"/>
                    </a:lnTo>
                    <a:lnTo>
                      <a:pt x="870" y="733"/>
                    </a:lnTo>
                    <a:lnTo>
                      <a:pt x="870" y="733"/>
                    </a:lnTo>
                    <a:lnTo>
                      <a:pt x="908" y="733"/>
                    </a:lnTo>
                    <a:lnTo>
                      <a:pt x="908" y="733"/>
                    </a:lnTo>
                    <a:lnTo>
                      <a:pt x="909" y="740"/>
                    </a:lnTo>
                    <a:lnTo>
                      <a:pt x="911" y="746"/>
                    </a:lnTo>
                    <a:lnTo>
                      <a:pt x="916" y="750"/>
                    </a:lnTo>
                    <a:lnTo>
                      <a:pt x="919" y="752"/>
                    </a:lnTo>
                    <a:lnTo>
                      <a:pt x="922" y="753"/>
                    </a:lnTo>
                    <a:lnTo>
                      <a:pt x="922" y="753"/>
                    </a:lnTo>
                    <a:lnTo>
                      <a:pt x="927" y="752"/>
                    </a:lnTo>
                    <a:lnTo>
                      <a:pt x="932" y="748"/>
                    </a:lnTo>
                    <a:lnTo>
                      <a:pt x="937" y="744"/>
                    </a:lnTo>
                    <a:lnTo>
                      <a:pt x="940" y="738"/>
                    </a:lnTo>
                    <a:lnTo>
                      <a:pt x="940" y="738"/>
                    </a:lnTo>
                    <a:lnTo>
                      <a:pt x="945" y="744"/>
                    </a:lnTo>
                    <a:lnTo>
                      <a:pt x="949" y="750"/>
                    </a:lnTo>
                    <a:lnTo>
                      <a:pt x="956" y="763"/>
                    </a:lnTo>
                    <a:lnTo>
                      <a:pt x="961" y="769"/>
                    </a:lnTo>
                    <a:lnTo>
                      <a:pt x="967" y="773"/>
                    </a:lnTo>
                    <a:lnTo>
                      <a:pt x="975" y="777"/>
                    </a:lnTo>
                    <a:lnTo>
                      <a:pt x="984" y="778"/>
                    </a:lnTo>
                    <a:lnTo>
                      <a:pt x="984" y="778"/>
                    </a:lnTo>
                    <a:lnTo>
                      <a:pt x="988" y="778"/>
                    </a:lnTo>
                    <a:lnTo>
                      <a:pt x="992" y="777"/>
                    </a:lnTo>
                    <a:lnTo>
                      <a:pt x="995" y="775"/>
                    </a:lnTo>
                    <a:lnTo>
                      <a:pt x="998" y="772"/>
                    </a:lnTo>
                    <a:lnTo>
                      <a:pt x="1000" y="769"/>
                    </a:lnTo>
                    <a:lnTo>
                      <a:pt x="1001" y="764"/>
                    </a:lnTo>
                    <a:lnTo>
                      <a:pt x="1002" y="759"/>
                    </a:lnTo>
                    <a:lnTo>
                      <a:pt x="1002" y="753"/>
                    </a:lnTo>
                    <a:lnTo>
                      <a:pt x="1002" y="753"/>
                    </a:lnTo>
                    <a:lnTo>
                      <a:pt x="1003" y="732"/>
                    </a:lnTo>
                    <a:lnTo>
                      <a:pt x="1003" y="711"/>
                    </a:lnTo>
                    <a:lnTo>
                      <a:pt x="1002" y="700"/>
                    </a:lnTo>
                    <a:lnTo>
                      <a:pt x="1001" y="688"/>
                    </a:lnTo>
                    <a:lnTo>
                      <a:pt x="999" y="677"/>
                    </a:lnTo>
                    <a:lnTo>
                      <a:pt x="995" y="664"/>
                    </a:lnTo>
                    <a:lnTo>
                      <a:pt x="995" y="664"/>
                    </a:lnTo>
                    <a:lnTo>
                      <a:pt x="993" y="658"/>
                    </a:lnTo>
                    <a:lnTo>
                      <a:pt x="990" y="655"/>
                    </a:lnTo>
                    <a:lnTo>
                      <a:pt x="985" y="654"/>
                    </a:lnTo>
                    <a:lnTo>
                      <a:pt x="982" y="651"/>
                    </a:lnTo>
                    <a:lnTo>
                      <a:pt x="977" y="649"/>
                    </a:lnTo>
                    <a:lnTo>
                      <a:pt x="974" y="646"/>
                    </a:lnTo>
                    <a:lnTo>
                      <a:pt x="970" y="640"/>
                    </a:lnTo>
                    <a:lnTo>
                      <a:pt x="970" y="631"/>
                    </a:lnTo>
                    <a:lnTo>
                      <a:pt x="970" y="631"/>
                    </a:lnTo>
                    <a:lnTo>
                      <a:pt x="970" y="623"/>
                    </a:lnTo>
                    <a:lnTo>
                      <a:pt x="972" y="615"/>
                    </a:lnTo>
                    <a:lnTo>
                      <a:pt x="975" y="607"/>
                    </a:lnTo>
                    <a:lnTo>
                      <a:pt x="978" y="600"/>
                    </a:lnTo>
                    <a:lnTo>
                      <a:pt x="983" y="593"/>
                    </a:lnTo>
                    <a:lnTo>
                      <a:pt x="988" y="587"/>
                    </a:lnTo>
                    <a:lnTo>
                      <a:pt x="1000" y="574"/>
                    </a:lnTo>
                    <a:lnTo>
                      <a:pt x="1011" y="562"/>
                    </a:lnTo>
                    <a:lnTo>
                      <a:pt x="1024" y="549"/>
                    </a:lnTo>
                    <a:lnTo>
                      <a:pt x="1035" y="534"/>
                    </a:lnTo>
                    <a:lnTo>
                      <a:pt x="1039" y="526"/>
                    </a:lnTo>
                    <a:lnTo>
                      <a:pt x="1044" y="517"/>
                    </a:lnTo>
                    <a:lnTo>
                      <a:pt x="1044" y="517"/>
                    </a:lnTo>
                    <a:lnTo>
                      <a:pt x="1040" y="517"/>
                    </a:lnTo>
                    <a:lnTo>
                      <a:pt x="1040" y="51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8" name="Freeform 103"/>
              <p:cNvSpPr>
                <a:spLocks noChangeAspect="1"/>
              </p:cNvSpPr>
              <p:nvPr/>
            </p:nvSpPr>
            <p:spPr bwMode="auto">
              <a:xfrm>
                <a:off x="7455621" y="1900168"/>
                <a:ext cx="1147618" cy="1473684"/>
              </a:xfrm>
              <a:custGeom>
                <a:avLst/>
                <a:gdLst/>
                <a:ahLst/>
                <a:cxnLst>
                  <a:cxn ang="0">
                    <a:pos x="995" y="1897"/>
                  </a:cxn>
                  <a:cxn ang="0">
                    <a:pos x="1446" y="2078"/>
                  </a:cxn>
                  <a:cxn ang="0">
                    <a:pos x="1389" y="1862"/>
                  </a:cxn>
                  <a:cxn ang="0">
                    <a:pos x="1309" y="1810"/>
                  </a:cxn>
                  <a:cxn ang="0">
                    <a:pos x="1305" y="1710"/>
                  </a:cxn>
                  <a:cxn ang="0">
                    <a:pos x="1354" y="1673"/>
                  </a:cxn>
                  <a:cxn ang="0">
                    <a:pos x="1252" y="1614"/>
                  </a:cxn>
                  <a:cxn ang="0">
                    <a:pos x="1206" y="1514"/>
                  </a:cxn>
                  <a:cxn ang="0">
                    <a:pos x="1242" y="1438"/>
                  </a:cxn>
                  <a:cxn ang="0">
                    <a:pos x="1227" y="1369"/>
                  </a:cxn>
                  <a:cxn ang="0">
                    <a:pos x="1100" y="1300"/>
                  </a:cxn>
                  <a:cxn ang="0">
                    <a:pos x="1072" y="1210"/>
                  </a:cxn>
                  <a:cxn ang="0">
                    <a:pos x="1122" y="1204"/>
                  </a:cxn>
                  <a:cxn ang="0">
                    <a:pos x="1057" y="1147"/>
                  </a:cxn>
                  <a:cxn ang="0">
                    <a:pos x="938" y="1114"/>
                  </a:cxn>
                  <a:cxn ang="0">
                    <a:pos x="919" y="1055"/>
                  </a:cxn>
                  <a:cxn ang="0">
                    <a:pos x="870" y="1063"/>
                  </a:cxn>
                  <a:cxn ang="0">
                    <a:pos x="872" y="1130"/>
                  </a:cxn>
                  <a:cxn ang="0">
                    <a:pos x="819" y="1114"/>
                  </a:cxn>
                  <a:cxn ang="0">
                    <a:pos x="651" y="868"/>
                  </a:cxn>
                  <a:cxn ang="0">
                    <a:pos x="644" y="810"/>
                  </a:cxn>
                  <a:cxn ang="0">
                    <a:pos x="695" y="763"/>
                  </a:cxn>
                  <a:cxn ang="0">
                    <a:pos x="677" y="642"/>
                  </a:cxn>
                  <a:cxn ang="0">
                    <a:pos x="743" y="702"/>
                  </a:cxn>
                  <a:cxn ang="0">
                    <a:pos x="723" y="631"/>
                  </a:cxn>
                  <a:cxn ang="0">
                    <a:pos x="704" y="511"/>
                  </a:cxn>
                  <a:cxn ang="0">
                    <a:pos x="770" y="433"/>
                  </a:cxn>
                  <a:cxn ang="0">
                    <a:pos x="861" y="415"/>
                  </a:cxn>
                  <a:cxn ang="0">
                    <a:pos x="731" y="78"/>
                  </a:cxn>
                  <a:cxn ang="0">
                    <a:pos x="651" y="18"/>
                  </a:cxn>
                  <a:cxn ang="0">
                    <a:pos x="606" y="60"/>
                  </a:cxn>
                  <a:cxn ang="0">
                    <a:pos x="574" y="181"/>
                  </a:cxn>
                  <a:cxn ang="0">
                    <a:pos x="535" y="262"/>
                  </a:cxn>
                  <a:cxn ang="0">
                    <a:pos x="405" y="308"/>
                  </a:cxn>
                  <a:cxn ang="0">
                    <a:pos x="352" y="259"/>
                  </a:cxn>
                  <a:cxn ang="0">
                    <a:pos x="308" y="209"/>
                  </a:cxn>
                  <a:cxn ang="0">
                    <a:pos x="192" y="273"/>
                  </a:cxn>
                  <a:cxn ang="0">
                    <a:pos x="77" y="383"/>
                  </a:cxn>
                  <a:cxn ang="0">
                    <a:pos x="48" y="437"/>
                  </a:cxn>
                  <a:cxn ang="0">
                    <a:pos x="1" y="496"/>
                  </a:cxn>
                  <a:cxn ang="0">
                    <a:pos x="26" y="530"/>
                  </a:cxn>
                  <a:cxn ang="0">
                    <a:pos x="63" y="584"/>
                  </a:cxn>
                  <a:cxn ang="0">
                    <a:pos x="118" y="606"/>
                  </a:cxn>
                  <a:cxn ang="0">
                    <a:pos x="201" y="704"/>
                  </a:cxn>
                  <a:cxn ang="0">
                    <a:pos x="282" y="726"/>
                  </a:cxn>
                  <a:cxn ang="0">
                    <a:pos x="309" y="787"/>
                  </a:cxn>
                  <a:cxn ang="0">
                    <a:pos x="341" y="787"/>
                  </a:cxn>
                  <a:cxn ang="0">
                    <a:pos x="381" y="789"/>
                  </a:cxn>
                  <a:cxn ang="0">
                    <a:pos x="330" y="703"/>
                  </a:cxn>
                  <a:cxn ang="0">
                    <a:pos x="309" y="599"/>
                  </a:cxn>
                  <a:cxn ang="0">
                    <a:pos x="366" y="566"/>
                  </a:cxn>
                  <a:cxn ang="0">
                    <a:pos x="367" y="672"/>
                  </a:cxn>
                  <a:cxn ang="0">
                    <a:pos x="495" y="774"/>
                  </a:cxn>
                  <a:cxn ang="0">
                    <a:pos x="521" y="935"/>
                  </a:cxn>
                  <a:cxn ang="0">
                    <a:pos x="584" y="1143"/>
                  </a:cxn>
                  <a:cxn ang="0">
                    <a:pos x="644" y="1426"/>
                  </a:cxn>
                  <a:cxn ang="0">
                    <a:pos x="677" y="1525"/>
                  </a:cxn>
                  <a:cxn ang="0">
                    <a:pos x="725" y="1649"/>
                  </a:cxn>
                </a:cxnLst>
                <a:rect l="0" t="0" r="r" b="b"/>
                <a:pathLst>
                  <a:path w="1447" h="2116">
                    <a:moveTo>
                      <a:pt x="802" y="1748"/>
                    </a:moveTo>
                    <a:lnTo>
                      <a:pt x="802" y="1748"/>
                    </a:lnTo>
                    <a:lnTo>
                      <a:pt x="822" y="1767"/>
                    </a:lnTo>
                    <a:lnTo>
                      <a:pt x="843" y="1788"/>
                    </a:lnTo>
                    <a:lnTo>
                      <a:pt x="873" y="1815"/>
                    </a:lnTo>
                    <a:lnTo>
                      <a:pt x="909" y="1842"/>
                    </a:lnTo>
                    <a:lnTo>
                      <a:pt x="930" y="1857"/>
                    </a:lnTo>
                    <a:lnTo>
                      <a:pt x="950" y="1871"/>
                    </a:lnTo>
                    <a:lnTo>
                      <a:pt x="972" y="1885"/>
                    </a:lnTo>
                    <a:lnTo>
                      <a:pt x="995" y="1897"/>
                    </a:lnTo>
                    <a:lnTo>
                      <a:pt x="1019" y="1910"/>
                    </a:lnTo>
                    <a:lnTo>
                      <a:pt x="1044" y="1922"/>
                    </a:lnTo>
                    <a:lnTo>
                      <a:pt x="1044" y="1922"/>
                    </a:lnTo>
                    <a:lnTo>
                      <a:pt x="1086" y="1940"/>
                    </a:lnTo>
                    <a:lnTo>
                      <a:pt x="1136" y="1963"/>
                    </a:lnTo>
                    <a:lnTo>
                      <a:pt x="1244" y="2016"/>
                    </a:lnTo>
                    <a:lnTo>
                      <a:pt x="1353" y="2070"/>
                    </a:lnTo>
                    <a:lnTo>
                      <a:pt x="1447" y="2116"/>
                    </a:lnTo>
                    <a:lnTo>
                      <a:pt x="1447" y="2116"/>
                    </a:lnTo>
                    <a:lnTo>
                      <a:pt x="1446" y="2078"/>
                    </a:lnTo>
                    <a:lnTo>
                      <a:pt x="1443" y="2044"/>
                    </a:lnTo>
                    <a:lnTo>
                      <a:pt x="1438" y="2011"/>
                    </a:lnTo>
                    <a:lnTo>
                      <a:pt x="1433" y="1981"/>
                    </a:lnTo>
                    <a:lnTo>
                      <a:pt x="1426" y="1954"/>
                    </a:lnTo>
                    <a:lnTo>
                      <a:pt x="1416" y="1927"/>
                    </a:lnTo>
                    <a:lnTo>
                      <a:pt x="1407" y="1903"/>
                    </a:lnTo>
                    <a:lnTo>
                      <a:pt x="1397" y="1880"/>
                    </a:lnTo>
                    <a:lnTo>
                      <a:pt x="1397" y="1880"/>
                    </a:lnTo>
                    <a:lnTo>
                      <a:pt x="1392" y="1870"/>
                    </a:lnTo>
                    <a:lnTo>
                      <a:pt x="1389" y="1862"/>
                    </a:lnTo>
                    <a:lnTo>
                      <a:pt x="1384" y="1855"/>
                    </a:lnTo>
                    <a:lnTo>
                      <a:pt x="1380" y="1849"/>
                    </a:lnTo>
                    <a:lnTo>
                      <a:pt x="1375" y="1846"/>
                    </a:lnTo>
                    <a:lnTo>
                      <a:pt x="1369" y="1842"/>
                    </a:lnTo>
                    <a:lnTo>
                      <a:pt x="1359" y="1838"/>
                    </a:lnTo>
                    <a:lnTo>
                      <a:pt x="1346" y="1833"/>
                    </a:lnTo>
                    <a:lnTo>
                      <a:pt x="1334" y="1827"/>
                    </a:lnTo>
                    <a:lnTo>
                      <a:pt x="1326" y="1823"/>
                    </a:lnTo>
                    <a:lnTo>
                      <a:pt x="1319" y="1817"/>
                    </a:lnTo>
                    <a:lnTo>
                      <a:pt x="1309" y="1810"/>
                    </a:lnTo>
                    <a:lnTo>
                      <a:pt x="1301" y="1800"/>
                    </a:lnTo>
                    <a:lnTo>
                      <a:pt x="1301" y="1800"/>
                    </a:lnTo>
                    <a:lnTo>
                      <a:pt x="1298" y="1795"/>
                    </a:lnTo>
                    <a:lnTo>
                      <a:pt x="1296" y="1789"/>
                    </a:lnTo>
                    <a:lnTo>
                      <a:pt x="1294" y="1782"/>
                    </a:lnTo>
                    <a:lnTo>
                      <a:pt x="1293" y="1775"/>
                    </a:lnTo>
                    <a:lnTo>
                      <a:pt x="1293" y="1758"/>
                    </a:lnTo>
                    <a:lnTo>
                      <a:pt x="1296" y="1741"/>
                    </a:lnTo>
                    <a:lnTo>
                      <a:pt x="1299" y="1725"/>
                    </a:lnTo>
                    <a:lnTo>
                      <a:pt x="1305" y="1710"/>
                    </a:lnTo>
                    <a:lnTo>
                      <a:pt x="1308" y="1704"/>
                    </a:lnTo>
                    <a:lnTo>
                      <a:pt x="1312" y="1700"/>
                    </a:lnTo>
                    <a:lnTo>
                      <a:pt x="1316" y="1696"/>
                    </a:lnTo>
                    <a:lnTo>
                      <a:pt x="1320" y="1694"/>
                    </a:lnTo>
                    <a:lnTo>
                      <a:pt x="1320" y="1694"/>
                    </a:lnTo>
                    <a:lnTo>
                      <a:pt x="1337" y="1687"/>
                    </a:lnTo>
                    <a:lnTo>
                      <a:pt x="1349" y="1680"/>
                    </a:lnTo>
                    <a:lnTo>
                      <a:pt x="1352" y="1678"/>
                    </a:lnTo>
                    <a:lnTo>
                      <a:pt x="1354" y="1675"/>
                    </a:lnTo>
                    <a:lnTo>
                      <a:pt x="1354" y="1673"/>
                    </a:lnTo>
                    <a:lnTo>
                      <a:pt x="1354" y="1671"/>
                    </a:lnTo>
                    <a:lnTo>
                      <a:pt x="1353" y="1670"/>
                    </a:lnTo>
                    <a:lnTo>
                      <a:pt x="1351" y="1667"/>
                    </a:lnTo>
                    <a:lnTo>
                      <a:pt x="1343" y="1664"/>
                    </a:lnTo>
                    <a:lnTo>
                      <a:pt x="1320" y="1655"/>
                    </a:lnTo>
                    <a:lnTo>
                      <a:pt x="1306" y="1649"/>
                    </a:lnTo>
                    <a:lnTo>
                      <a:pt x="1291" y="1641"/>
                    </a:lnTo>
                    <a:lnTo>
                      <a:pt x="1275" y="1632"/>
                    </a:lnTo>
                    <a:lnTo>
                      <a:pt x="1259" y="1621"/>
                    </a:lnTo>
                    <a:lnTo>
                      <a:pt x="1252" y="1614"/>
                    </a:lnTo>
                    <a:lnTo>
                      <a:pt x="1245" y="1607"/>
                    </a:lnTo>
                    <a:lnTo>
                      <a:pt x="1238" y="1599"/>
                    </a:lnTo>
                    <a:lnTo>
                      <a:pt x="1231" y="1590"/>
                    </a:lnTo>
                    <a:lnTo>
                      <a:pt x="1225" y="1581"/>
                    </a:lnTo>
                    <a:lnTo>
                      <a:pt x="1221" y="1571"/>
                    </a:lnTo>
                    <a:lnTo>
                      <a:pt x="1216" y="1559"/>
                    </a:lnTo>
                    <a:lnTo>
                      <a:pt x="1213" y="1546"/>
                    </a:lnTo>
                    <a:lnTo>
                      <a:pt x="1213" y="1546"/>
                    </a:lnTo>
                    <a:lnTo>
                      <a:pt x="1209" y="1528"/>
                    </a:lnTo>
                    <a:lnTo>
                      <a:pt x="1206" y="1514"/>
                    </a:lnTo>
                    <a:lnTo>
                      <a:pt x="1202" y="1504"/>
                    </a:lnTo>
                    <a:lnTo>
                      <a:pt x="1201" y="1495"/>
                    </a:lnTo>
                    <a:lnTo>
                      <a:pt x="1201" y="1488"/>
                    </a:lnTo>
                    <a:lnTo>
                      <a:pt x="1204" y="1481"/>
                    </a:lnTo>
                    <a:lnTo>
                      <a:pt x="1209" y="1474"/>
                    </a:lnTo>
                    <a:lnTo>
                      <a:pt x="1217" y="1466"/>
                    </a:lnTo>
                    <a:lnTo>
                      <a:pt x="1217" y="1466"/>
                    </a:lnTo>
                    <a:lnTo>
                      <a:pt x="1227" y="1456"/>
                    </a:lnTo>
                    <a:lnTo>
                      <a:pt x="1236" y="1446"/>
                    </a:lnTo>
                    <a:lnTo>
                      <a:pt x="1242" y="1438"/>
                    </a:lnTo>
                    <a:lnTo>
                      <a:pt x="1247" y="1430"/>
                    </a:lnTo>
                    <a:lnTo>
                      <a:pt x="1251" y="1422"/>
                    </a:lnTo>
                    <a:lnTo>
                      <a:pt x="1252" y="1415"/>
                    </a:lnTo>
                    <a:lnTo>
                      <a:pt x="1253" y="1408"/>
                    </a:lnTo>
                    <a:lnTo>
                      <a:pt x="1252" y="1401"/>
                    </a:lnTo>
                    <a:lnTo>
                      <a:pt x="1250" y="1396"/>
                    </a:lnTo>
                    <a:lnTo>
                      <a:pt x="1247" y="1390"/>
                    </a:lnTo>
                    <a:lnTo>
                      <a:pt x="1243" y="1384"/>
                    </a:lnTo>
                    <a:lnTo>
                      <a:pt x="1238" y="1378"/>
                    </a:lnTo>
                    <a:lnTo>
                      <a:pt x="1227" y="1369"/>
                    </a:lnTo>
                    <a:lnTo>
                      <a:pt x="1212" y="1361"/>
                    </a:lnTo>
                    <a:lnTo>
                      <a:pt x="1195" y="1353"/>
                    </a:lnTo>
                    <a:lnTo>
                      <a:pt x="1179" y="1345"/>
                    </a:lnTo>
                    <a:lnTo>
                      <a:pt x="1145" y="1331"/>
                    </a:lnTo>
                    <a:lnTo>
                      <a:pt x="1130" y="1324"/>
                    </a:lnTo>
                    <a:lnTo>
                      <a:pt x="1117" y="1316"/>
                    </a:lnTo>
                    <a:lnTo>
                      <a:pt x="1107" y="1308"/>
                    </a:lnTo>
                    <a:lnTo>
                      <a:pt x="1102" y="1305"/>
                    </a:lnTo>
                    <a:lnTo>
                      <a:pt x="1100" y="1300"/>
                    </a:lnTo>
                    <a:lnTo>
                      <a:pt x="1100" y="1300"/>
                    </a:lnTo>
                    <a:lnTo>
                      <a:pt x="1079" y="1263"/>
                    </a:lnTo>
                    <a:lnTo>
                      <a:pt x="1064" y="1236"/>
                    </a:lnTo>
                    <a:lnTo>
                      <a:pt x="1056" y="1217"/>
                    </a:lnTo>
                    <a:lnTo>
                      <a:pt x="1053" y="1207"/>
                    </a:lnTo>
                    <a:lnTo>
                      <a:pt x="1053" y="1204"/>
                    </a:lnTo>
                    <a:lnTo>
                      <a:pt x="1053" y="1202"/>
                    </a:lnTo>
                    <a:lnTo>
                      <a:pt x="1055" y="1201"/>
                    </a:lnTo>
                    <a:lnTo>
                      <a:pt x="1057" y="1202"/>
                    </a:lnTo>
                    <a:lnTo>
                      <a:pt x="1064" y="1206"/>
                    </a:lnTo>
                    <a:lnTo>
                      <a:pt x="1072" y="1210"/>
                    </a:lnTo>
                    <a:lnTo>
                      <a:pt x="1083" y="1217"/>
                    </a:lnTo>
                    <a:lnTo>
                      <a:pt x="1092" y="1222"/>
                    </a:lnTo>
                    <a:lnTo>
                      <a:pt x="1102" y="1227"/>
                    </a:lnTo>
                    <a:lnTo>
                      <a:pt x="1107" y="1227"/>
                    </a:lnTo>
                    <a:lnTo>
                      <a:pt x="1110" y="1227"/>
                    </a:lnTo>
                    <a:lnTo>
                      <a:pt x="1114" y="1225"/>
                    </a:lnTo>
                    <a:lnTo>
                      <a:pt x="1117" y="1222"/>
                    </a:lnTo>
                    <a:lnTo>
                      <a:pt x="1120" y="1217"/>
                    </a:lnTo>
                    <a:lnTo>
                      <a:pt x="1121" y="1212"/>
                    </a:lnTo>
                    <a:lnTo>
                      <a:pt x="1122" y="1204"/>
                    </a:lnTo>
                    <a:lnTo>
                      <a:pt x="1122" y="1194"/>
                    </a:lnTo>
                    <a:lnTo>
                      <a:pt x="1121" y="1183"/>
                    </a:lnTo>
                    <a:lnTo>
                      <a:pt x="1117" y="1168"/>
                    </a:lnTo>
                    <a:lnTo>
                      <a:pt x="1117" y="1168"/>
                    </a:lnTo>
                    <a:lnTo>
                      <a:pt x="1110" y="1163"/>
                    </a:lnTo>
                    <a:lnTo>
                      <a:pt x="1102" y="1158"/>
                    </a:lnTo>
                    <a:lnTo>
                      <a:pt x="1093" y="1154"/>
                    </a:lnTo>
                    <a:lnTo>
                      <a:pt x="1083" y="1151"/>
                    </a:lnTo>
                    <a:lnTo>
                      <a:pt x="1071" y="1148"/>
                    </a:lnTo>
                    <a:lnTo>
                      <a:pt x="1057" y="1147"/>
                    </a:lnTo>
                    <a:lnTo>
                      <a:pt x="1042" y="1148"/>
                    </a:lnTo>
                    <a:lnTo>
                      <a:pt x="1026" y="1149"/>
                    </a:lnTo>
                    <a:lnTo>
                      <a:pt x="1026" y="1149"/>
                    </a:lnTo>
                    <a:lnTo>
                      <a:pt x="996" y="1145"/>
                    </a:lnTo>
                    <a:lnTo>
                      <a:pt x="984" y="1141"/>
                    </a:lnTo>
                    <a:lnTo>
                      <a:pt x="972" y="1138"/>
                    </a:lnTo>
                    <a:lnTo>
                      <a:pt x="962" y="1135"/>
                    </a:lnTo>
                    <a:lnTo>
                      <a:pt x="953" y="1129"/>
                    </a:lnTo>
                    <a:lnTo>
                      <a:pt x="945" y="1122"/>
                    </a:lnTo>
                    <a:lnTo>
                      <a:pt x="938" y="1114"/>
                    </a:lnTo>
                    <a:lnTo>
                      <a:pt x="938" y="1114"/>
                    </a:lnTo>
                    <a:lnTo>
                      <a:pt x="941" y="1117"/>
                    </a:lnTo>
                    <a:lnTo>
                      <a:pt x="938" y="1114"/>
                    </a:lnTo>
                    <a:lnTo>
                      <a:pt x="938" y="1114"/>
                    </a:lnTo>
                    <a:lnTo>
                      <a:pt x="938" y="1114"/>
                    </a:lnTo>
                    <a:lnTo>
                      <a:pt x="932" y="1103"/>
                    </a:lnTo>
                    <a:lnTo>
                      <a:pt x="927" y="1091"/>
                    </a:lnTo>
                    <a:lnTo>
                      <a:pt x="923" y="1075"/>
                    </a:lnTo>
                    <a:lnTo>
                      <a:pt x="919" y="1055"/>
                    </a:lnTo>
                    <a:lnTo>
                      <a:pt x="919" y="1055"/>
                    </a:lnTo>
                    <a:lnTo>
                      <a:pt x="915" y="1049"/>
                    </a:lnTo>
                    <a:lnTo>
                      <a:pt x="910" y="1046"/>
                    </a:lnTo>
                    <a:lnTo>
                      <a:pt x="903" y="1042"/>
                    </a:lnTo>
                    <a:lnTo>
                      <a:pt x="899" y="1042"/>
                    </a:lnTo>
                    <a:lnTo>
                      <a:pt x="895" y="1042"/>
                    </a:lnTo>
                    <a:lnTo>
                      <a:pt x="891" y="1044"/>
                    </a:lnTo>
                    <a:lnTo>
                      <a:pt x="885" y="1047"/>
                    </a:lnTo>
                    <a:lnTo>
                      <a:pt x="880" y="1051"/>
                    </a:lnTo>
                    <a:lnTo>
                      <a:pt x="876" y="1056"/>
                    </a:lnTo>
                    <a:lnTo>
                      <a:pt x="870" y="1063"/>
                    </a:lnTo>
                    <a:lnTo>
                      <a:pt x="864" y="1072"/>
                    </a:lnTo>
                    <a:lnTo>
                      <a:pt x="864" y="1072"/>
                    </a:lnTo>
                    <a:lnTo>
                      <a:pt x="862" y="1077"/>
                    </a:lnTo>
                    <a:lnTo>
                      <a:pt x="862" y="1082"/>
                    </a:lnTo>
                    <a:lnTo>
                      <a:pt x="862" y="1086"/>
                    </a:lnTo>
                    <a:lnTo>
                      <a:pt x="863" y="1092"/>
                    </a:lnTo>
                    <a:lnTo>
                      <a:pt x="866" y="1103"/>
                    </a:lnTo>
                    <a:lnTo>
                      <a:pt x="871" y="1115"/>
                    </a:lnTo>
                    <a:lnTo>
                      <a:pt x="873" y="1126"/>
                    </a:lnTo>
                    <a:lnTo>
                      <a:pt x="872" y="1130"/>
                    </a:lnTo>
                    <a:lnTo>
                      <a:pt x="871" y="1135"/>
                    </a:lnTo>
                    <a:lnTo>
                      <a:pt x="869" y="1137"/>
                    </a:lnTo>
                    <a:lnTo>
                      <a:pt x="864" y="1139"/>
                    </a:lnTo>
                    <a:lnTo>
                      <a:pt x="858" y="1139"/>
                    </a:lnTo>
                    <a:lnTo>
                      <a:pt x="849" y="1139"/>
                    </a:lnTo>
                    <a:lnTo>
                      <a:pt x="849" y="1139"/>
                    </a:lnTo>
                    <a:lnTo>
                      <a:pt x="845" y="1137"/>
                    </a:lnTo>
                    <a:lnTo>
                      <a:pt x="840" y="1133"/>
                    </a:lnTo>
                    <a:lnTo>
                      <a:pt x="830" y="1125"/>
                    </a:lnTo>
                    <a:lnTo>
                      <a:pt x="819" y="1114"/>
                    </a:lnTo>
                    <a:lnTo>
                      <a:pt x="808" y="1100"/>
                    </a:lnTo>
                    <a:lnTo>
                      <a:pt x="796" y="1083"/>
                    </a:lnTo>
                    <a:lnTo>
                      <a:pt x="784" y="1064"/>
                    </a:lnTo>
                    <a:lnTo>
                      <a:pt x="757" y="1024"/>
                    </a:lnTo>
                    <a:lnTo>
                      <a:pt x="731" y="980"/>
                    </a:lnTo>
                    <a:lnTo>
                      <a:pt x="703" y="937"/>
                    </a:lnTo>
                    <a:lnTo>
                      <a:pt x="690" y="917"/>
                    </a:lnTo>
                    <a:lnTo>
                      <a:pt x="677" y="899"/>
                    </a:lnTo>
                    <a:lnTo>
                      <a:pt x="664" y="881"/>
                    </a:lnTo>
                    <a:lnTo>
                      <a:pt x="651" y="868"/>
                    </a:lnTo>
                    <a:lnTo>
                      <a:pt x="651" y="868"/>
                    </a:lnTo>
                    <a:lnTo>
                      <a:pt x="644" y="860"/>
                    </a:lnTo>
                    <a:lnTo>
                      <a:pt x="640" y="851"/>
                    </a:lnTo>
                    <a:lnTo>
                      <a:pt x="636" y="845"/>
                    </a:lnTo>
                    <a:lnTo>
                      <a:pt x="634" y="838"/>
                    </a:lnTo>
                    <a:lnTo>
                      <a:pt x="634" y="831"/>
                    </a:lnTo>
                    <a:lnTo>
                      <a:pt x="635" y="825"/>
                    </a:lnTo>
                    <a:lnTo>
                      <a:pt x="637" y="819"/>
                    </a:lnTo>
                    <a:lnTo>
                      <a:pt x="640" y="815"/>
                    </a:lnTo>
                    <a:lnTo>
                      <a:pt x="644" y="810"/>
                    </a:lnTo>
                    <a:lnTo>
                      <a:pt x="650" y="805"/>
                    </a:lnTo>
                    <a:lnTo>
                      <a:pt x="656" y="802"/>
                    </a:lnTo>
                    <a:lnTo>
                      <a:pt x="663" y="799"/>
                    </a:lnTo>
                    <a:lnTo>
                      <a:pt x="678" y="794"/>
                    </a:lnTo>
                    <a:lnTo>
                      <a:pt x="696" y="790"/>
                    </a:lnTo>
                    <a:lnTo>
                      <a:pt x="696" y="790"/>
                    </a:lnTo>
                    <a:lnTo>
                      <a:pt x="697" y="782"/>
                    </a:lnTo>
                    <a:lnTo>
                      <a:pt x="698" y="775"/>
                    </a:lnTo>
                    <a:lnTo>
                      <a:pt x="697" y="769"/>
                    </a:lnTo>
                    <a:lnTo>
                      <a:pt x="695" y="763"/>
                    </a:lnTo>
                    <a:lnTo>
                      <a:pt x="690" y="756"/>
                    </a:lnTo>
                    <a:lnTo>
                      <a:pt x="685" y="750"/>
                    </a:lnTo>
                    <a:lnTo>
                      <a:pt x="666" y="735"/>
                    </a:lnTo>
                    <a:lnTo>
                      <a:pt x="666" y="735"/>
                    </a:lnTo>
                    <a:lnTo>
                      <a:pt x="666" y="650"/>
                    </a:lnTo>
                    <a:lnTo>
                      <a:pt x="666" y="650"/>
                    </a:lnTo>
                    <a:lnTo>
                      <a:pt x="666" y="650"/>
                    </a:lnTo>
                    <a:lnTo>
                      <a:pt x="670" y="645"/>
                    </a:lnTo>
                    <a:lnTo>
                      <a:pt x="673" y="643"/>
                    </a:lnTo>
                    <a:lnTo>
                      <a:pt x="677" y="642"/>
                    </a:lnTo>
                    <a:lnTo>
                      <a:pt x="681" y="644"/>
                    </a:lnTo>
                    <a:lnTo>
                      <a:pt x="686" y="648"/>
                    </a:lnTo>
                    <a:lnTo>
                      <a:pt x="691" y="652"/>
                    </a:lnTo>
                    <a:lnTo>
                      <a:pt x="702" y="664"/>
                    </a:lnTo>
                    <a:lnTo>
                      <a:pt x="713" y="677"/>
                    </a:lnTo>
                    <a:lnTo>
                      <a:pt x="724" y="689"/>
                    </a:lnTo>
                    <a:lnTo>
                      <a:pt x="729" y="694"/>
                    </a:lnTo>
                    <a:lnTo>
                      <a:pt x="734" y="698"/>
                    </a:lnTo>
                    <a:lnTo>
                      <a:pt x="739" y="701"/>
                    </a:lnTo>
                    <a:lnTo>
                      <a:pt x="743" y="702"/>
                    </a:lnTo>
                    <a:lnTo>
                      <a:pt x="743" y="702"/>
                    </a:lnTo>
                    <a:lnTo>
                      <a:pt x="750" y="700"/>
                    </a:lnTo>
                    <a:lnTo>
                      <a:pt x="752" y="697"/>
                    </a:lnTo>
                    <a:lnTo>
                      <a:pt x="754" y="695"/>
                    </a:lnTo>
                    <a:lnTo>
                      <a:pt x="755" y="689"/>
                    </a:lnTo>
                    <a:lnTo>
                      <a:pt x="755" y="683"/>
                    </a:lnTo>
                    <a:lnTo>
                      <a:pt x="751" y="675"/>
                    </a:lnTo>
                    <a:lnTo>
                      <a:pt x="748" y="668"/>
                    </a:lnTo>
                    <a:lnTo>
                      <a:pt x="736" y="650"/>
                    </a:lnTo>
                    <a:lnTo>
                      <a:pt x="723" y="631"/>
                    </a:lnTo>
                    <a:lnTo>
                      <a:pt x="709" y="612"/>
                    </a:lnTo>
                    <a:lnTo>
                      <a:pt x="704" y="602"/>
                    </a:lnTo>
                    <a:lnTo>
                      <a:pt x="700" y="593"/>
                    </a:lnTo>
                    <a:lnTo>
                      <a:pt x="696" y="584"/>
                    </a:lnTo>
                    <a:lnTo>
                      <a:pt x="696" y="576"/>
                    </a:lnTo>
                    <a:lnTo>
                      <a:pt x="696" y="576"/>
                    </a:lnTo>
                    <a:lnTo>
                      <a:pt x="696" y="558"/>
                    </a:lnTo>
                    <a:lnTo>
                      <a:pt x="698" y="541"/>
                    </a:lnTo>
                    <a:lnTo>
                      <a:pt x="701" y="525"/>
                    </a:lnTo>
                    <a:lnTo>
                      <a:pt x="704" y="511"/>
                    </a:lnTo>
                    <a:lnTo>
                      <a:pt x="709" y="498"/>
                    </a:lnTo>
                    <a:lnTo>
                      <a:pt x="713" y="486"/>
                    </a:lnTo>
                    <a:lnTo>
                      <a:pt x="719" y="475"/>
                    </a:lnTo>
                    <a:lnTo>
                      <a:pt x="725" y="467"/>
                    </a:lnTo>
                    <a:lnTo>
                      <a:pt x="732" y="459"/>
                    </a:lnTo>
                    <a:lnTo>
                      <a:pt x="739" y="451"/>
                    </a:lnTo>
                    <a:lnTo>
                      <a:pt x="747" y="445"/>
                    </a:lnTo>
                    <a:lnTo>
                      <a:pt x="754" y="441"/>
                    </a:lnTo>
                    <a:lnTo>
                      <a:pt x="762" y="436"/>
                    </a:lnTo>
                    <a:lnTo>
                      <a:pt x="770" y="433"/>
                    </a:lnTo>
                    <a:lnTo>
                      <a:pt x="786" y="427"/>
                    </a:lnTo>
                    <a:lnTo>
                      <a:pt x="802" y="423"/>
                    </a:lnTo>
                    <a:lnTo>
                      <a:pt x="817" y="422"/>
                    </a:lnTo>
                    <a:lnTo>
                      <a:pt x="843" y="421"/>
                    </a:lnTo>
                    <a:lnTo>
                      <a:pt x="853" y="421"/>
                    </a:lnTo>
                    <a:lnTo>
                      <a:pt x="859" y="421"/>
                    </a:lnTo>
                    <a:lnTo>
                      <a:pt x="861" y="420"/>
                    </a:lnTo>
                    <a:lnTo>
                      <a:pt x="862" y="419"/>
                    </a:lnTo>
                    <a:lnTo>
                      <a:pt x="862" y="416"/>
                    </a:lnTo>
                    <a:lnTo>
                      <a:pt x="861" y="415"/>
                    </a:lnTo>
                    <a:lnTo>
                      <a:pt x="861" y="415"/>
                    </a:lnTo>
                    <a:lnTo>
                      <a:pt x="853" y="404"/>
                    </a:lnTo>
                    <a:lnTo>
                      <a:pt x="845" y="391"/>
                    </a:lnTo>
                    <a:lnTo>
                      <a:pt x="836" y="376"/>
                    </a:lnTo>
                    <a:lnTo>
                      <a:pt x="827" y="359"/>
                    </a:lnTo>
                    <a:lnTo>
                      <a:pt x="810" y="319"/>
                    </a:lnTo>
                    <a:lnTo>
                      <a:pt x="790" y="270"/>
                    </a:lnTo>
                    <a:lnTo>
                      <a:pt x="771" y="214"/>
                    </a:lnTo>
                    <a:lnTo>
                      <a:pt x="751" y="151"/>
                    </a:lnTo>
                    <a:lnTo>
                      <a:pt x="731" y="78"/>
                    </a:lnTo>
                    <a:lnTo>
                      <a:pt x="710" y="0"/>
                    </a:lnTo>
                    <a:lnTo>
                      <a:pt x="710" y="0"/>
                    </a:lnTo>
                    <a:lnTo>
                      <a:pt x="701" y="0"/>
                    </a:lnTo>
                    <a:lnTo>
                      <a:pt x="693" y="2"/>
                    </a:lnTo>
                    <a:lnTo>
                      <a:pt x="686" y="6"/>
                    </a:lnTo>
                    <a:lnTo>
                      <a:pt x="679" y="9"/>
                    </a:lnTo>
                    <a:lnTo>
                      <a:pt x="666" y="16"/>
                    </a:lnTo>
                    <a:lnTo>
                      <a:pt x="659" y="18"/>
                    </a:lnTo>
                    <a:lnTo>
                      <a:pt x="651" y="18"/>
                    </a:lnTo>
                    <a:lnTo>
                      <a:pt x="651" y="18"/>
                    </a:lnTo>
                    <a:lnTo>
                      <a:pt x="647" y="18"/>
                    </a:lnTo>
                    <a:lnTo>
                      <a:pt x="642" y="17"/>
                    </a:lnTo>
                    <a:lnTo>
                      <a:pt x="635" y="14"/>
                    </a:lnTo>
                    <a:lnTo>
                      <a:pt x="622" y="3"/>
                    </a:lnTo>
                    <a:lnTo>
                      <a:pt x="622" y="3"/>
                    </a:lnTo>
                    <a:lnTo>
                      <a:pt x="616" y="13"/>
                    </a:lnTo>
                    <a:lnTo>
                      <a:pt x="612" y="21"/>
                    </a:lnTo>
                    <a:lnTo>
                      <a:pt x="610" y="30"/>
                    </a:lnTo>
                    <a:lnTo>
                      <a:pt x="609" y="39"/>
                    </a:lnTo>
                    <a:lnTo>
                      <a:pt x="606" y="60"/>
                    </a:lnTo>
                    <a:lnTo>
                      <a:pt x="605" y="70"/>
                    </a:lnTo>
                    <a:lnTo>
                      <a:pt x="603" y="80"/>
                    </a:lnTo>
                    <a:lnTo>
                      <a:pt x="603" y="80"/>
                    </a:lnTo>
                    <a:lnTo>
                      <a:pt x="598" y="93"/>
                    </a:lnTo>
                    <a:lnTo>
                      <a:pt x="594" y="105"/>
                    </a:lnTo>
                    <a:lnTo>
                      <a:pt x="584" y="128"/>
                    </a:lnTo>
                    <a:lnTo>
                      <a:pt x="580" y="139"/>
                    </a:lnTo>
                    <a:lnTo>
                      <a:pt x="576" y="152"/>
                    </a:lnTo>
                    <a:lnTo>
                      <a:pt x="574" y="166"/>
                    </a:lnTo>
                    <a:lnTo>
                      <a:pt x="574" y="181"/>
                    </a:lnTo>
                    <a:lnTo>
                      <a:pt x="574" y="181"/>
                    </a:lnTo>
                    <a:lnTo>
                      <a:pt x="574" y="216"/>
                    </a:lnTo>
                    <a:lnTo>
                      <a:pt x="574" y="216"/>
                    </a:lnTo>
                    <a:lnTo>
                      <a:pt x="573" y="228"/>
                    </a:lnTo>
                    <a:lnTo>
                      <a:pt x="569" y="238"/>
                    </a:lnTo>
                    <a:lnTo>
                      <a:pt x="565" y="245"/>
                    </a:lnTo>
                    <a:lnTo>
                      <a:pt x="559" y="252"/>
                    </a:lnTo>
                    <a:lnTo>
                      <a:pt x="552" y="257"/>
                    </a:lnTo>
                    <a:lnTo>
                      <a:pt x="544" y="260"/>
                    </a:lnTo>
                    <a:lnTo>
                      <a:pt x="535" y="262"/>
                    </a:lnTo>
                    <a:lnTo>
                      <a:pt x="525" y="265"/>
                    </a:lnTo>
                    <a:lnTo>
                      <a:pt x="504" y="267"/>
                    </a:lnTo>
                    <a:lnTo>
                      <a:pt x="482" y="269"/>
                    </a:lnTo>
                    <a:lnTo>
                      <a:pt x="462" y="273"/>
                    </a:lnTo>
                    <a:lnTo>
                      <a:pt x="453" y="275"/>
                    </a:lnTo>
                    <a:lnTo>
                      <a:pt x="445" y="280"/>
                    </a:lnTo>
                    <a:lnTo>
                      <a:pt x="445" y="280"/>
                    </a:lnTo>
                    <a:lnTo>
                      <a:pt x="421" y="299"/>
                    </a:lnTo>
                    <a:lnTo>
                      <a:pt x="413" y="304"/>
                    </a:lnTo>
                    <a:lnTo>
                      <a:pt x="405" y="308"/>
                    </a:lnTo>
                    <a:lnTo>
                      <a:pt x="397" y="312"/>
                    </a:lnTo>
                    <a:lnTo>
                      <a:pt x="390" y="313"/>
                    </a:lnTo>
                    <a:lnTo>
                      <a:pt x="390" y="313"/>
                    </a:lnTo>
                    <a:lnTo>
                      <a:pt x="382" y="312"/>
                    </a:lnTo>
                    <a:lnTo>
                      <a:pt x="374" y="308"/>
                    </a:lnTo>
                    <a:lnTo>
                      <a:pt x="368" y="303"/>
                    </a:lnTo>
                    <a:lnTo>
                      <a:pt x="364" y="296"/>
                    </a:lnTo>
                    <a:lnTo>
                      <a:pt x="359" y="288"/>
                    </a:lnTo>
                    <a:lnTo>
                      <a:pt x="357" y="278"/>
                    </a:lnTo>
                    <a:lnTo>
                      <a:pt x="352" y="259"/>
                    </a:lnTo>
                    <a:lnTo>
                      <a:pt x="347" y="239"/>
                    </a:lnTo>
                    <a:lnTo>
                      <a:pt x="345" y="230"/>
                    </a:lnTo>
                    <a:lnTo>
                      <a:pt x="343" y="222"/>
                    </a:lnTo>
                    <a:lnTo>
                      <a:pt x="339" y="215"/>
                    </a:lnTo>
                    <a:lnTo>
                      <a:pt x="335" y="211"/>
                    </a:lnTo>
                    <a:lnTo>
                      <a:pt x="330" y="207"/>
                    </a:lnTo>
                    <a:lnTo>
                      <a:pt x="323" y="206"/>
                    </a:lnTo>
                    <a:lnTo>
                      <a:pt x="323" y="206"/>
                    </a:lnTo>
                    <a:lnTo>
                      <a:pt x="315" y="207"/>
                    </a:lnTo>
                    <a:lnTo>
                      <a:pt x="308" y="209"/>
                    </a:lnTo>
                    <a:lnTo>
                      <a:pt x="303" y="214"/>
                    </a:lnTo>
                    <a:lnTo>
                      <a:pt x="298" y="220"/>
                    </a:lnTo>
                    <a:lnTo>
                      <a:pt x="288" y="230"/>
                    </a:lnTo>
                    <a:lnTo>
                      <a:pt x="283" y="236"/>
                    </a:lnTo>
                    <a:lnTo>
                      <a:pt x="276" y="239"/>
                    </a:lnTo>
                    <a:lnTo>
                      <a:pt x="276" y="239"/>
                    </a:lnTo>
                    <a:lnTo>
                      <a:pt x="253" y="246"/>
                    </a:lnTo>
                    <a:lnTo>
                      <a:pt x="231" y="254"/>
                    </a:lnTo>
                    <a:lnTo>
                      <a:pt x="210" y="262"/>
                    </a:lnTo>
                    <a:lnTo>
                      <a:pt x="192" y="273"/>
                    </a:lnTo>
                    <a:lnTo>
                      <a:pt x="175" y="284"/>
                    </a:lnTo>
                    <a:lnTo>
                      <a:pt x="159" y="299"/>
                    </a:lnTo>
                    <a:lnTo>
                      <a:pt x="144" y="315"/>
                    </a:lnTo>
                    <a:lnTo>
                      <a:pt x="129" y="335"/>
                    </a:lnTo>
                    <a:lnTo>
                      <a:pt x="129" y="335"/>
                    </a:lnTo>
                    <a:lnTo>
                      <a:pt x="122" y="344"/>
                    </a:lnTo>
                    <a:lnTo>
                      <a:pt x="114" y="353"/>
                    </a:lnTo>
                    <a:lnTo>
                      <a:pt x="106" y="361"/>
                    </a:lnTo>
                    <a:lnTo>
                      <a:pt x="97" y="369"/>
                    </a:lnTo>
                    <a:lnTo>
                      <a:pt x="77" y="383"/>
                    </a:lnTo>
                    <a:lnTo>
                      <a:pt x="55" y="400"/>
                    </a:lnTo>
                    <a:lnTo>
                      <a:pt x="55" y="400"/>
                    </a:lnTo>
                    <a:lnTo>
                      <a:pt x="54" y="405"/>
                    </a:lnTo>
                    <a:lnTo>
                      <a:pt x="53" y="410"/>
                    </a:lnTo>
                    <a:lnTo>
                      <a:pt x="54" y="420"/>
                    </a:lnTo>
                    <a:lnTo>
                      <a:pt x="54" y="425"/>
                    </a:lnTo>
                    <a:lnTo>
                      <a:pt x="54" y="430"/>
                    </a:lnTo>
                    <a:lnTo>
                      <a:pt x="52" y="434"/>
                    </a:lnTo>
                    <a:lnTo>
                      <a:pt x="48" y="437"/>
                    </a:lnTo>
                    <a:lnTo>
                      <a:pt x="48" y="437"/>
                    </a:lnTo>
                    <a:lnTo>
                      <a:pt x="38" y="444"/>
                    </a:lnTo>
                    <a:lnTo>
                      <a:pt x="29" y="448"/>
                    </a:lnTo>
                    <a:lnTo>
                      <a:pt x="21" y="451"/>
                    </a:lnTo>
                    <a:lnTo>
                      <a:pt x="14" y="454"/>
                    </a:lnTo>
                    <a:lnTo>
                      <a:pt x="11" y="456"/>
                    </a:lnTo>
                    <a:lnTo>
                      <a:pt x="8" y="459"/>
                    </a:lnTo>
                    <a:lnTo>
                      <a:pt x="6" y="463"/>
                    </a:lnTo>
                    <a:lnTo>
                      <a:pt x="5" y="466"/>
                    </a:lnTo>
                    <a:lnTo>
                      <a:pt x="2" y="479"/>
                    </a:lnTo>
                    <a:lnTo>
                      <a:pt x="1" y="496"/>
                    </a:lnTo>
                    <a:lnTo>
                      <a:pt x="1" y="496"/>
                    </a:lnTo>
                    <a:lnTo>
                      <a:pt x="1" y="505"/>
                    </a:lnTo>
                    <a:lnTo>
                      <a:pt x="0" y="514"/>
                    </a:lnTo>
                    <a:lnTo>
                      <a:pt x="0" y="522"/>
                    </a:lnTo>
                    <a:lnTo>
                      <a:pt x="0" y="526"/>
                    </a:lnTo>
                    <a:lnTo>
                      <a:pt x="1" y="529"/>
                    </a:lnTo>
                    <a:lnTo>
                      <a:pt x="1" y="529"/>
                    </a:lnTo>
                    <a:lnTo>
                      <a:pt x="6" y="530"/>
                    </a:lnTo>
                    <a:lnTo>
                      <a:pt x="13" y="530"/>
                    </a:lnTo>
                    <a:lnTo>
                      <a:pt x="26" y="530"/>
                    </a:lnTo>
                    <a:lnTo>
                      <a:pt x="42" y="530"/>
                    </a:lnTo>
                    <a:lnTo>
                      <a:pt x="55" y="533"/>
                    </a:lnTo>
                    <a:lnTo>
                      <a:pt x="55" y="533"/>
                    </a:lnTo>
                    <a:lnTo>
                      <a:pt x="59" y="534"/>
                    </a:lnTo>
                    <a:lnTo>
                      <a:pt x="61" y="536"/>
                    </a:lnTo>
                    <a:lnTo>
                      <a:pt x="64" y="541"/>
                    </a:lnTo>
                    <a:lnTo>
                      <a:pt x="67" y="548"/>
                    </a:lnTo>
                    <a:lnTo>
                      <a:pt x="67" y="555"/>
                    </a:lnTo>
                    <a:lnTo>
                      <a:pt x="64" y="570"/>
                    </a:lnTo>
                    <a:lnTo>
                      <a:pt x="63" y="584"/>
                    </a:lnTo>
                    <a:lnTo>
                      <a:pt x="63" y="584"/>
                    </a:lnTo>
                    <a:lnTo>
                      <a:pt x="64" y="588"/>
                    </a:lnTo>
                    <a:lnTo>
                      <a:pt x="65" y="591"/>
                    </a:lnTo>
                    <a:lnTo>
                      <a:pt x="70" y="597"/>
                    </a:lnTo>
                    <a:lnTo>
                      <a:pt x="77" y="601"/>
                    </a:lnTo>
                    <a:lnTo>
                      <a:pt x="84" y="603"/>
                    </a:lnTo>
                    <a:lnTo>
                      <a:pt x="92" y="605"/>
                    </a:lnTo>
                    <a:lnTo>
                      <a:pt x="101" y="605"/>
                    </a:lnTo>
                    <a:lnTo>
                      <a:pt x="118" y="606"/>
                    </a:lnTo>
                    <a:lnTo>
                      <a:pt x="118" y="606"/>
                    </a:lnTo>
                    <a:lnTo>
                      <a:pt x="184" y="662"/>
                    </a:lnTo>
                    <a:lnTo>
                      <a:pt x="184" y="662"/>
                    </a:lnTo>
                    <a:lnTo>
                      <a:pt x="184" y="662"/>
                    </a:lnTo>
                    <a:lnTo>
                      <a:pt x="185" y="672"/>
                    </a:lnTo>
                    <a:lnTo>
                      <a:pt x="186" y="680"/>
                    </a:lnTo>
                    <a:lnTo>
                      <a:pt x="187" y="687"/>
                    </a:lnTo>
                    <a:lnTo>
                      <a:pt x="190" y="693"/>
                    </a:lnTo>
                    <a:lnTo>
                      <a:pt x="193" y="697"/>
                    </a:lnTo>
                    <a:lnTo>
                      <a:pt x="197" y="702"/>
                    </a:lnTo>
                    <a:lnTo>
                      <a:pt x="201" y="704"/>
                    </a:lnTo>
                    <a:lnTo>
                      <a:pt x="207" y="706"/>
                    </a:lnTo>
                    <a:lnTo>
                      <a:pt x="217" y="709"/>
                    </a:lnTo>
                    <a:lnTo>
                      <a:pt x="231" y="710"/>
                    </a:lnTo>
                    <a:lnTo>
                      <a:pt x="245" y="711"/>
                    </a:lnTo>
                    <a:lnTo>
                      <a:pt x="261" y="713"/>
                    </a:lnTo>
                    <a:lnTo>
                      <a:pt x="261" y="713"/>
                    </a:lnTo>
                    <a:lnTo>
                      <a:pt x="268" y="715"/>
                    </a:lnTo>
                    <a:lnTo>
                      <a:pt x="274" y="717"/>
                    </a:lnTo>
                    <a:lnTo>
                      <a:pt x="278" y="721"/>
                    </a:lnTo>
                    <a:lnTo>
                      <a:pt x="282" y="726"/>
                    </a:lnTo>
                    <a:lnTo>
                      <a:pt x="285" y="732"/>
                    </a:lnTo>
                    <a:lnTo>
                      <a:pt x="288" y="738"/>
                    </a:lnTo>
                    <a:lnTo>
                      <a:pt x="292" y="751"/>
                    </a:lnTo>
                    <a:lnTo>
                      <a:pt x="296" y="764"/>
                    </a:lnTo>
                    <a:lnTo>
                      <a:pt x="299" y="775"/>
                    </a:lnTo>
                    <a:lnTo>
                      <a:pt x="301" y="780"/>
                    </a:lnTo>
                    <a:lnTo>
                      <a:pt x="304" y="784"/>
                    </a:lnTo>
                    <a:lnTo>
                      <a:pt x="306" y="786"/>
                    </a:lnTo>
                    <a:lnTo>
                      <a:pt x="309" y="787"/>
                    </a:lnTo>
                    <a:lnTo>
                      <a:pt x="309" y="787"/>
                    </a:lnTo>
                    <a:lnTo>
                      <a:pt x="314" y="786"/>
                    </a:lnTo>
                    <a:lnTo>
                      <a:pt x="317" y="785"/>
                    </a:lnTo>
                    <a:lnTo>
                      <a:pt x="323" y="781"/>
                    </a:lnTo>
                    <a:lnTo>
                      <a:pt x="328" y="777"/>
                    </a:lnTo>
                    <a:lnTo>
                      <a:pt x="331" y="775"/>
                    </a:lnTo>
                    <a:lnTo>
                      <a:pt x="335" y="775"/>
                    </a:lnTo>
                    <a:lnTo>
                      <a:pt x="335" y="775"/>
                    </a:lnTo>
                    <a:lnTo>
                      <a:pt x="336" y="779"/>
                    </a:lnTo>
                    <a:lnTo>
                      <a:pt x="337" y="784"/>
                    </a:lnTo>
                    <a:lnTo>
                      <a:pt x="341" y="787"/>
                    </a:lnTo>
                    <a:lnTo>
                      <a:pt x="344" y="790"/>
                    </a:lnTo>
                    <a:lnTo>
                      <a:pt x="347" y="793"/>
                    </a:lnTo>
                    <a:lnTo>
                      <a:pt x="352" y="795"/>
                    </a:lnTo>
                    <a:lnTo>
                      <a:pt x="357" y="796"/>
                    </a:lnTo>
                    <a:lnTo>
                      <a:pt x="361" y="797"/>
                    </a:lnTo>
                    <a:lnTo>
                      <a:pt x="361" y="797"/>
                    </a:lnTo>
                    <a:lnTo>
                      <a:pt x="366" y="796"/>
                    </a:lnTo>
                    <a:lnTo>
                      <a:pt x="372" y="795"/>
                    </a:lnTo>
                    <a:lnTo>
                      <a:pt x="376" y="792"/>
                    </a:lnTo>
                    <a:lnTo>
                      <a:pt x="381" y="789"/>
                    </a:lnTo>
                    <a:lnTo>
                      <a:pt x="388" y="781"/>
                    </a:lnTo>
                    <a:lnTo>
                      <a:pt x="393" y="775"/>
                    </a:lnTo>
                    <a:lnTo>
                      <a:pt x="393" y="775"/>
                    </a:lnTo>
                    <a:lnTo>
                      <a:pt x="389" y="764"/>
                    </a:lnTo>
                    <a:lnTo>
                      <a:pt x="383" y="754"/>
                    </a:lnTo>
                    <a:lnTo>
                      <a:pt x="376" y="743"/>
                    </a:lnTo>
                    <a:lnTo>
                      <a:pt x="367" y="734"/>
                    </a:lnTo>
                    <a:lnTo>
                      <a:pt x="359" y="725"/>
                    </a:lnTo>
                    <a:lnTo>
                      <a:pt x="350" y="718"/>
                    </a:lnTo>
                    <a:lnTo>
                      <a:pt x="330" y="703"/>
                    </a:lnTo>
                    <a:lnTo>
                      <a:pt x="313" y="693"/>
                    </a:lnTo>
                    <a:lnTo>
                      <a:pt x="298" y="685"/>
                    </a:lnTo>
                    <a:lnTo>
                      <a:pt x="288" y="679"/>
                    </a:lnTo>
                    <a:lnTo>
                      <a:pt x="284" y="675"/>
                    </a:lnTo>
                    <a:lnTo>
                      <a:pt x="284" y="675"/>
                    </a:lnTo>
                    <a:lnTo>
                      <a:pt x="284" y="670"/>
                    </a:lnTo>
                    <a:lnTo>
                      <a:pt x="285" y="662"/>
                    </a:lnTo>
                    <a:lnTo>
                      <a:pt x="291" y="643"/>
                    </a:lnTo>
                    <a:lnTo>
                      <a:pt x="299" y="621"/>
                    </a:lnTo>
                    <a:lnTo>
                      <a:pt x="309" y="599"/>
                    </a:lnTo>
                    <a:lnTo>
                      <a:pt x="316" y="589"/>
                    </a:lnTo>
                    <a:lnTo>
                      <a:pt x="323" y="580"/>
                    </a:lnTo>
                    <a:lnTo>
                      <a:pt x="330" y="571"/>
                    </a:lnTo>
                    <a:lnTo>
                      <a:pt x="338" y="564"/>
                    </a:lnTo>
                    <a:lnTo>
                      <a:pt x="346" y="557"/>
                    </a:lnTo>
                    <a:lnTo>
                      <a:pt x="354" y="553"/>
                    </a:lnTo>
                    <a:lnTo>
                      <a:pt x="364" y="551"/>
                    </a:lnTo>
                    <a:lnTo>
                      <a:pt x="372" y="551"/>
                    </a:lnTo>
                    <a:lnTo>
                      <a:pt x="372" y="551"/>
                    </a:lnTo>
                    <a:lnTo>
                      <a:pt x="366" y="566"/>
                    </a:lnTo>
                    <a:lnTo>
                      <a:pt x="360" y="579"/>
                    </a:lnTo>
                    <a:lnTo>
                      <a:pt x="357" y="593"/>
                    </a:lnTo>
                    <a:lnTo>
                      <a:pt x="354" y="604"/>
                    </a:lnTo>
                    <a:lnTo>
                      <a:pt x="353" y="616"/>
                    </a:lnTo>
                    <a:lnTo>
                      <a:pt x="353" y="626"/>
                    </a:lnTo>
                    <a:lnTo>
                      <a:pt x="354" y="636"/>
                    </a:lnTo>
                    <a:lnTo>
                      <a:pt x="357" y="647"/>
                    </a:lnTo>
                    <a:lnTo>
                      <a:pt x="359" y="655"/>
                    </a:lnTo>
                    <a:lnTo>
                      <a:pt x="362" y="664"/>
                    </a:lnTo>
                    <a:lnTo>
                      <a:pt x="367" y="672"/>
                    </a:lnTo>
                    <a:lnTo>
                      <a:pt x="372" y="679"/>
                    </a:lnTo>
                    <a:lnTo>
                      <a:pt x="384" y="693"/>
                    </a:lnTo>
                    <a:lnTo>
                      <a:pt x="397" y="705"/>
                    </a:lnTo>
                    <a:lnTo>
                      <a:pt x="412" y="716"/>
                    </a:lnTo>
                    <a:lnTo>
                      <a:pt x="428" y="726"/>
                    </a:lnTo>
                    <a:lnTo>
                      <a:pt x="457" y="743"/>
                    </a:lnTo>
                    <a:lnTo>
                      <a:pt x="471" y="752"/>
                    </a:lnTo>
                    <a:lnTo>
                      <a:pt x="482" y="761"/>
                    </a:lnTo>
                    <a:lnTo>
                      <a:pt x="491" y="770"/>
                    </a:lnTo>
                    <a:lnTo>
                      <a:pt x="495" y="774"/>
                    </a:lnTo>
                    <a:lnTo>
                      <a:pt x="497" y="779"/>
                    </a:lnTo>
                    <a:lnTo>
                      <a:pt x="497" y="779"/>
                    </a:lnTo>
                    <a:lnTo>
                      <a:pt x="505" y="800"/>
                    </a:lnTo>
                    <a:lnTo>
                      <a:pt x="510" y="818"/>
                    </a:lnTo>
                    <a:lnTo>
                      <a:pt x="514" y="836"/>
                    </a:lnTo>
                    <a:lnTo>
                      <a:pt x="517" y="853"/>
                    </a:lnTo>
                    <a:lnTo>
                      <a:pt x="519" y="870"/>
                    </a:lnTo>
                    <a:lnTo>
                      <a:pt x="520" y="886"/>
                    </a:lnTo>
                    <a:lnTo>
                      <a:pt x="521" y="918"/>
                    </a:lnTo>
                    <a:lnTo>
                      <a:pt x="521" y="935"/>
                    </a:lnTo>
                    <a:lnTo>
                      <a:pt x="523" y="954"/>
                    </a:lnTo>
                    <a:lnTo>
                      <a:pt x="526" y="973"/>
                    </a:lnTo>
                    <a:lnTo>
                      <a:pt x="530" y="995"/>
                    </a:lnTo>
                    <a:lnTo>
                      <a:pt x="536" y="1018"/>
                    </a:lnTo>
                    <a:lnTo>
                      <a:pt x="543" y="1044"/>
                    </a:lnTo>
                    <a:lnTo>
                      <a:pt x="553" y="1071"/>
                    </a:lnTo>
                    <a:lnTo>
                      <a:pt x="567" y="1102"/>
                    </a:lnTo>
                    <a:lnTo>
                      <a:pt x="567" y="1102"/>
                    </a:lnTo>
                    <a:lnTo>
                      <a:pt x="575" y="1121"/>
                    </a:lnTo>
                    <a:lnTo>
                      <a:pt x="584" y="1143"/>
                    </a:lnTo>
                    <a:lnTo>
                      <a:pt x="603" y="1192"/>
                    </a:lnTo>
                    <a:lnTo>
                      <a:pt x="621" y="1246"/>
                    </a:lnTo>
                    <a:lnTo>
                      <a:pt x="636" y="1300"/>
                    </a:lnTo>
                    <a:lnTo>
                      <a:pt x="636" y="1300"/>
                    </a:lnTo>
                    <a:lnTo>
                      <a:pt x="644" y="1329"/>
                    </a:lnTo>
                    <a:lnTo>
                      <a:pt x="649" y="1354"/>
                    </a:lnTo>
                    <a:lnTo>
                      <a:pt x="650" y="1376"/>
                    </a:lnTo>
                    <a:lnTo>
                      <a:pt x="650" y="1396"/>
                    </a:lnTo>
                    <a:lnTo>
                      <a:pt x="648" y="1412"/>
                    </a:lnTo>
                    <a:lnTo>
                      <a:pt x="644" y="1426"/>
                    </a:lnTo>
                    <a:lnTo>
                      <a:pt x="637" y="1449"/>
                    </a:lnTo>
                    <a:lnTo>
                      <a:pt x="634" y="1458"/>
                    </a:lnTo>
                    <a:lnTo>
                      <a:pt x="633" y="1467"/>
                    </a:lnTo>
                    <a:lnTo>
                      <a:pt x="632" y="1475"/>
                    </a:lnTo>
                    <a:lnTo>
                      <a:pt x="634" y="1483"/>
                    </a:lnTo>
                    <a:lnTo>
                      <a:pt x="639" y="1492"/>
                    </a:lnTo>
                    <a:lnTo>
                      <a:pt x="648" y="1502"/>
                    </a:lnTo>
                    <a:lnTo>
                      <a:pt x="659" y="1512"/>
                    </a:lnTo>
                    <a:lnTo>
                      <a:pt x="677" y="1525"/>
                    </a:lnTo>
                    <a:lnTo>
                      <a:pt x="677" y="1525"/>
                    </a:lnTo>
                    <a:lnTo>
                      <a:pt x="686" y="1533"/>
                    </a:lnTo>
                    <a:lnTo>
                      <a:pt x="694" y="1541"/>
                    </a:lnTo>
                    <a:lnTo>
                      <a:pt x="698" y="1550"/>
                    </a:lnTo>
                    <a:lnTo>
                      <a:pt x="702" y="1559"/>
                    </a:lnTo>
                    <a:lnTo>
                      <a:pt x="704" y="1569"/>
                    </a:lnTo>
                    <a:lnTo>
                      <a:pt x="706" y="1580"/>
                    </a:lnTo>
                    <a:lnTo>
                      <a:pt x="710" y="1605"/>
                    </a:lnTo>
                    <a:lnTo>
                      <a:pt x="713" y="1619"/>
                    </a:lnTo>
                    <a:lnTo>
                      <a:pt x="718" y="1634"/>
                    </a:lnTo>
                    <a:lnTo>
                      <a:pt x="725" y="1649"/>
                    </a:lnTo>
                    <a:lnTo>
                      <a:pt x="733" y="1666"/>
                    </a:lnTo>
                    <a:lnTo>
                      <a:pt x="744" y="1685"/>
                    </a:lnTo>
                    <a:lnTo>
                      <a:pt x="761" y="1704"/>
                    </a:lnTo>
                    <a:lnTo>
                      <a:pt x="779" y="1726"/>
                    </a:lnTo>
                    <a:lnTo>
                      <a:pt x="802" y="1748"/>
                    </a:lnTo>
                    <a:lnTo>
                      <a:pt x="802" y="1748"/>
                    </a:lnTo>
                    <a:lnTo>
                      <a:pt x="802" y="1748"/>
                    </a:lnTo>
                    <a:lnTo>
                      <a:pt x="802" y="1748"/>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19" name="Freeform 104"/>
              <p:cNvSpPr>
                <a:spLocks noChangeAspect="1"/>
              </p:cNvSpPr>
              <p:nvPr/>
            </p:nvSpPr>
            <p:spPr bwMode="auto">
              <a:xfrm>
                <a:off x="3973138" y="2910455"/>
                <a:ext cx="42798" cy="40356"/>
              </a:xfrm>
              <a:custGeom>
                <a:avLst/>
                <a:gdLst/>
                <a:ahLst/>
                <a:cxnLst>
                  <a:cxn ang="0">
                    <a:pos x="44" y="25"/>
                  </a:cxn>
                  <a:cxn ang="0">
                    <a:pos x="44" y="25"/>
                  </a:cxn>
                  <a:cxn ang="0">
                    <a:pos x="41" y="25"/>
                  </a:cxn>
                  <a:cxn ang="0">
                    <a:pos x="39" y="23"/>
                  </a:cxn>
                  <a:cxn ang="0">
                    <a:pos x="38" y="21"/>
                  </a:cxn>
                  <a:cxn ang="0">
                    <a:pos x="36" y="17"/>
                  </a:cxn>
                  <a:cxn ang="0">
                    <a:pos x="36" y="8"/>
                  </a:cxn>
                  <a:cxn ang="0">
                    <a:pos x="38" y="0"/>
                  </a:cxn>
                  <a:cxn ang="0">
                    <a:pos x="38" y="0"/>
                  </a:cxn>
                  <a:cxn ang="0">
                    <a:pos x="27" y="5"/>
                  </a:cxn>
                  <a:cxn ang="0">
                    <a:pos x="15" y="13"/>
                  </a:cxn>
                  <a:cxn ang="0">
                    <a:pos x="9" y="17"/>
                  </a:cxn>
                  <a:cxn ang="0">
                    <a:pos x="4" y="23"/>
                  </a:cxn>
                  <a:cxn ang="0">
                    <a:pos x="1" y="28"/>
                  </a:cxn>
                  <a:cxn ang="0">
                    <a:pos x="0" y="33"/>
                  </a:cxn>
                  <a:cxn ang="0">
                    <a:pos x="0" y="33"/>
                  </a:cxn>
                  <a:cxn ang="0">
                    <a:pos x="1" y="37"/>
                  </a:cxn>
                  <a:cxn ang="0">
                    <a:pos x="2" y="40"/>
                  </a:cxn>
                  <a:cxn ang="0">
                    <a:pos x="5" y="46"/>
                  </a:cxn>
                  <a:cxn ang="0">
                    <a:pos x="11" y="51"/>
                  </a:cxn>
                  <a:cxn ang="0">
                    <a:pos x="18" y="54"/>
                  </a:cxn>
                  <a:cxn ang="0">
                    <a:pos x="26" y="56"/>
                  </a:cxn>
                  <a:cxn ang="0">
                    <a:pos x="34" y="57"/>
                  </a:cxn>
                  <a:cxn ang="0">
                    <a:pos x="52" y="59"/>
                  </a:cxn>
                  <a:cxn ang="0">
                    <a:pos x="52" y="59"/>
                  </a:cxn>
                  <a:cxn ang="0">
                    <a:pos x="52" y="37"/>
                  </a:cxn>
                  <a:cxn ang="0">
                    <a:pos x="52" y="37"/>
                  </a:cxn>
                  <a:cxn ang="0">
                    <a:pos x="52" y="37"/>
                  </a:cxn>
                  <a:cxn ang="0">
                    <a:pos x="50" y="37"/>
                  </a:cxn>
                  <a:cxn ang="0">
                    <a:pos x="49" y="36"/>
                  </a:cxn>
                  <a:cxn ang="0">
                    <a:pos x="48" y="31"/>
                  </a:cxn>
                  <a:cxn ang="0">
                    <a:pos x="47" y="28"/>
                  </a:cxn>
                  <a:cxn ang="0">
                    <a:pos x="46" y="26"/>
                  </a:cxn>
                  <a:cxn ang="0">
                    <a:pos x="44" y="25"/>
                  </a:cxn>
                  <a:cxn ang="0">
                    <a:pos x="44" y="25"/>
                  </a:cxn>
                  <a:cxn ang="0">
                    <a:pos x="44" y="25"/>
                  </a:cxn>
                </a:cxnLst>
                <a:rect l="0" t="0" r="r" b="b"/>
                <a:pathLst>
                  <a:path w="52" h="59">
                    <a:moveTo>
                      <a:pt x="44" y="25"/>
                    </a:moveTo>
                    <a:lnTo>
                      <a:pt x="44" y="25"/>
                    </a:lnTo>
                    <a:lnTo>
                      <a:pt x="41" y="25"/>
                    </a:lnTo>
                    <a:lnTo>
                      <a:pt x="39" y="23"/>
                    </a:lnTo>
                    <a:lnTo>
                      <a:pt x="38" y="21"/>
                    </a:lnTo>
                    <a:lnTo>
                      <a:pt x="36" y="17"/>
                    </a:lnTo>
                    <a:lnTo>
                      <a:pt x="36" y="8"/>
                    </a:lnTo>
                    <a:lnTo>
                      <a:pt x="38" y="0"/>
                    </a:lnTo>
                    <a:lnTo>
                      <a:pt x="38" y="0"/>
                    </a:lnTo>
                    <a:lnTo>
                      <a:pt x="27" y="5"/>
                    </a:lnTo>
                    <a:lnTo>
                      <a:pt x="15" y="13"/>
                    </a:lnTo>
                    <a:lnTo>
                      <a:pt x="9" y="17"/>
                    </a:lnTo>
                    <a:lnTo>
                      <a:pt x="4" y="23"/>
                    </a:lnTo>
                    <a:lnTo>
                      <a:pt x="1" y="28"/>
                    </a:lnTo>
                    <a:lnTo>
                      <a:pt x="0" y="33"/>
                    </a:lnTo>
                    <a:lnTo>
                      <a:pt x="0" y="33"/>
                    </a:lnTo>
                    <a:lnTo>
                      <a:pt x="1" y="37"/>
                    </a:lnTo>
                    <a:lnTo>
                      <a:pt x="2" y="40"/>
                    </a:lnTo>
                    <a:lnTo>
                      <a:pt x="5" y="46"/>
                    </a:lnTo>
                    <a:lnTo>
                      <a:pt x="11" y="51"/>
                    </a:lnTo>
                    <a:lnTo>
                      <a:pt x="18" y="54"/>
                    </a:lnTo>
                    <a:lnTo>
                      <a:pt x="26" y="56"/>
                    </a:lnTo>
                    <a:lnTo>
                      <a:pt x="34" y="57"/>
                    </a:lnTo>
                    <a:lnTo>
                      <a:pt x="52" y="59"/>
                    </a:lnTo>
                    <a:lnTo>
                      <a:pt x="52" y="59"/>
                    </a:lnTo>
                    <a:lnTo>
                      <a:pt x="52" y="37"/>
                    </a:lnTo>
                    <a:lnTo>
                      <a:pt x="52" y="37"/>
                    </a:lnTo>
                    <a:lnTo>
                      <a:pt x="52" y="37"/>
                    </a:lnTo>
                    <a:lnTo>
                      <a:pt x="50" y="37"/>
                    </a:lnTo>
                    <a:lnTo>
                      <a:pt x="49" y="36"/>
                    </a:lnTo>
                    <a:lnTo>
                      <a:pt x="48" y="31"/>
                    </a:lnTo>
                    <a:lnTo>
                      <a:pt x="47" y="28"/>
                    </a:lnTo>
                    <a:lnTo>
                      <a:pt x="46" y="26"/>
                    </a:lnTo>
                    <a:lnTo>
                      <a:pt x="44" y="25"/>
                    </a:lnTo>
                    <a:lnTo>
                      <a:pt x="44" y="25"/>
                    </a:lnTo>
                    <a:lnTo>
                      <a:pt x="44" y="2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0" name="Freeform 105"/>
              <p:cNvSpPr>
                <a:spLocks noChangeAspect="1"/>
              </p:cNvSpPr>
              <p:nvPr/>
            </p:nvSpPr>
            <p:spPr bwMode="auto">
              <a:xfrm>
                <a:off x="5965619" y="2266153"/>
                <a:ext cx="28532" cy="36181"/>
              </a:xfrm>
              <a:custGeom>
                <a:avLst/>
                <a:gdLst/>
                <a:ahLst/>
                <a:cxnLst>
                  <a:cxn ang="0">
                    <a:pos x="30" y="0"/>
                  </a:cxn>
                  <a:cxn ang="0">
                    <a:pos x="30" y="0"/>
                  </a:cxn>
                  <a:cxn ang="0">
                    <a:pos x="11" y="0"/>
                  </a:cxn>
                  <a:cxn ang="0">
                    <a:pos x="11" y="0"/>
                  </a:cxn>
                  <a:cxn ang="0">
                    <a:pos x="8" y="0"/>
                  </a:cxn>
                  <a:cxn ang="0">
                    <a:pos x="4" y="2"/>
                  </a:cxn>
                  <a:cxn ang="0">
                    <a:pos x="1" y="6"/>
                  </a:cxn>
                  <a:cxn ang="0">
                    <a:pos x="0" y="10"/>
                  </a:cxn>
                  <a:cxn ang="0">
                    <a:pos x="0" y="10"/>
                  </a:cxn>
                  <a:cxn ang="0">
                    <a:pos x="1" y="15"/>
                  </a:cxn>
                  <a:cxn ang="0">
                    <a:pos x="2" y="22"/>
                  </a:cxn>
                  <a:cxn ang="0">
                    <a:pos x="4" y="27"/>
                  </a:cxn>
                  <a:cxn ang="0">
                    <a:pos x="8" y="34"/>
                  </a:cxn>
                  <a:cxn ang="0">
                    <a:pos x="11" y="40"/>
                  </a:cxn>
                  <a:cxn ang="0">
                    <a:pos x="16" y="46"/>
                  </a:cxn>
                  <a:cxn ang="0">
                    <a:pos x="20" y="49"/>
                  </a:cxn>
                  <a:cxn ang="0">
                    <a:pos x="25" y="50"/>
                  </a:cxn>
                  <a:cxn ang="0">
                    <a:pos x="25" y="50"/>
                  </a:cxn>
                  <a:cxn ang="0">
                    <a:pos x="28" y="50"/>
                  </a:cxn>
                  <a:cxn ang="0">
                    <a:pos x="31" y="48"/>
                  </a:cxn>
                  <a:cxn ang="0">
                    <a:pos x="34" y="42"/>
                  </a:cxn>
                  <a:cxn ang="0">
                    <a:pos x="35" y="37"/>
                  </a:cxn>
                  <a:cxn ang="0">
                    <a:pos x="36" y="32"/>
                  </a:cxn>
                  <a:cxn ang="0">
                    <a:pos x="36" y="32"/>
                  </a:cxn>
                  <a:cxn ang="0">
                    <a:pos x="36" y="25"/>
                  </a:cxn>
                  <a:cxn ang="0">
                    <a:pos x="34" y="19"/>
                  </a:cxn>
                  <a:cxn ang="0">
                    <a:pos x="30" y="10"/>
                  </a:cxn>
                  <a:cxn ang="0">
                    <a:pos x="30" y="10"/>
                  </a:cxn>
                  <a:cxn ang="0">
                    <a:pos x="30" y="0"/>
                  </a:cxn>
                  <a:cxn ang="0">
                    <a:pos x="30" y="0"/>
                  </a:cxn>
                </a:cxnLst>
                <a:rect l="0" t="0" r="r" b="b"/>
                <a:pathLst>
                  <a:path w="36" h="50">
                    <a:moveTo>
                      <a:pt x="30" y="0"/>
                    </a:moveTo>
                    <a:lnTo>
                      <a:pt x="30" y="0"/>
                    </a:lnTo>
                    <a:lnTo>
                      <a:pt x="11" y="0"/>
                    </a:lnTo>
                    <a:lnTo>
                      <a:pt x="11" y="0"/>
                    </a:lnTo>
                    <a:lnTo>
                      <a:pt x="8" y="0"/>
                    </a:lnTo>
                    <a:lnTo>
                      <a:pt x="4" y="2"/>
                    </a:lnTo>
                    <a:lnTo>
                      <a:pt x="1" y="6"/>
                    </a:lnTo>
                    <a:lnTo>
                      <a:pt x="0" y="10"/>
                    </a:lnTo>
                    <a:lnTo>
                      <a:pt x="0" y="10"/>
                    </a:lnTo>
                    <a:lnTo>
                      <a:pt x="1" y="15"/>
                    </a:lnTo>
                    <a:lnTo>
                      <a:pt x="2" y="22"/>
                    </a:lnTo>
                    <a:lnTo>
                      <a:pt x="4" y="27"/>
                    </a:lnTo>
                    <a:lnTo>
                      <a:pt x="8" y="34"/>
                    </a:lnTo>
                    <a:lnTo>
                      <a:pt x="11" y="40"/>
                    </a:lnTo>
                    <a:lnTo>
                      <a:pt x="16" y="46"/>
                    </a:lnTo>
                    <a:lnTo>
                      <a:pt x="20" y="49"/>
                    </a:lnTo>
                    <a:lnTo>
                      <a:pt x="25" y="50"/>
                    </a:lnTo>
                    <a:lnTo>
                      <a:pt x="25" y="50"/>
                    </a:lnTo>
                    <a:lnTo>
                      <a:pt x="28" y="50"/>
                    </a:lnTo>
                    <a:lnTo>
                      <a:pt x="31" y="48"/>
                    </a:lnTo>
                    <a:lnTo>
                      <a:pt x="34" y="42"/>
                    </a:lnTo>
                    <a:lnTo>
                      <a:pt x="35" y="37"/>
                    </a:lnTo>
                    <a:lnTo>
                      <a:pt x="36" y="32"/>
                    </a:lnTo>
                    <a:lnTo>
                      <a:pt x="36" y="32"/>
                    </a:lnTo>
                    <a:lnTo>
                      <a:pt x="36" y="25"/>
                    </a:lnTo>
                    <a:lnTo>
                      <a:pt x="34" y="19"/>
                    </a:lnTo>
                    <a:lnTo>
                      <a:pt x="30" y="10"/>
                    </a:lnTo>
                    <a:lnTo>
                      <a:pt x="30" y="10"/>
                    </a:lnTo>
                    <a:lnTo>
                      <a:pt x="30" y="0"/>
                    </a:lnTo>
                    <a:lnTo>
                      <a:pt x="30"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1" name="Freeform 106"/>
              <p:cNvSpPr>
                <a:spLocks noChangeAspect="1"/>
              </p:cNvSpPr>
              <p:nvPr/>
            </p:nvSpPr>
            <p:spPr bwMode="auto">
              <a:xfrm>
                <a:off x="5723098" y="2220231"/>
                <a:ext cx="36457" cy="45922"/>
              </a:xfrm>
              <a:custGeom>
                <a:avLst/>
                <a:gdLst/>
                <a:ahLst/>
                <a:cxnLst>
                  <a:cxn ang="0">
                    <a:pos x="37" y="29"/>
                  </a:cxn>
                  <a:cxn ang="0">
                    <a:pos x="37" y="29"/>
                  </a:cxn>
                  <a:cxn ang="0">
                    <a:pos x="35" y="29"/>
                  </a:cxn>
                  <a:cxn ang="0">
                    <a:pos x="35" y="28"/>
                  </a:cxn>
                  <a:cxn ang="0">
                    <a:pos x="35" y="25"/>
                  </a:cxn>
                  <a:cxn ang="0">
                    <a:pos x="34" y="22"/>
                  </a:cxn>
                  <a:cxn ang="0">
                    <a:pos x="33" y="18"/>
                  </a:cxn>
                  <a:cxn ang="0">
                    <a:pos x="33" y="18"/>
                  </a:cxn>
                  <a:cxn ang="0">
                    <a:pos x="31" y="16"/>
                  </a:cxn>
                  <a:cxn ang="0">
                    <a:pos x="27" y="13"/>
                  </a:cxn>
                  <a:cxn ang="0">
                    <a:pos x="19" y="8"/>
                  </a:cxn>
                  <a:cxn ang="0">
                    <a:pos x="9" y="4"/>
                  </a:cxn>
                  <a:cxn ang="0">
                    <a:pos x="0" y="0"/>
                  </a:cxn>
                  <a:cxn ang="0">
                    <a:pos x="0" y="0"/>
                  </a:cxn>
                  <a:cxn ang="0">
                    <a:pos x="0" y="12"/>
                  </a:cxn>
                  <a:cxn ang="0">
                    <a:pos x="0" y="12"/>
                  </a:cxn>
                  <a:cxn ang="0">
                    <a:pos x="1" y="16"/>
                  </a:cxn>
                  <a:cxn ang="0">
                    <a:pos x="4" y="24"/>
                  </a:cxn>
                  <a:cxn ang="0">
                    <a:pos x="14" y="43"/>
                  </a:cxn>
                  <a:cxn ang="0">
                    <a:pos x="25" y="60"/>
                  </a:cxn>
                  <a:cxn ang="0">
                    <a:pos x="30" y="64"/>
                  </a:cxn>
                  <a:cxn ang="0">
                    <a:pos x="33" y="67"/>
                  </a:cxn>
                  <a:cxn ang="0">
                    <a:pos x="33" y="67"/>
                  </a:cxn>
                  <a:cxn ang="0">
                    <a:pos x="37" y="66"/>
                  </a:cxn>
                  <a:cxn ang="0">
                    <a:pos x="39" y="64"/>
                  </a:cxn>
                  <a:cxn ang="0">
                    <a:pos x="41" y="62"/>
                  </a:cxn>
                  <a:cxn ang="0">
                    <a:pos x="42" y="60"/>
                  </a:cxn>
                  <a:cxn ang="0">
                    <a:pos x="43" y="55"/>
                  </a:cxn>
                  <a:cxn ang="0">
                    <a:pos x="45" y="52"/>
                  </a:cxn>
                  <a:cxn ang="0">
                    <a:pos x="45" y="52"/>
                  </a:cxn>
                  <a:cxn ang="0">
                    <a:pos x="42" y="39"/>
                  </a:cxn>
                  <a:cxn ang="0">
                    <a:pos x="40" y="32"/>
                  </a:cxn>
                  <a:cxn ang="0">
                    <a:pos x="39" y="30"/>
                  </a:cxn>
                  <a:cxn ang="0">
                    <a:pos x="37" y="29"/>
                  </a:cxn>
                  <a:cxn ang="0">
                    <a:pos x="37" y="29"/>
                  </a:cxn>
                  <a:cxn ang="0">
                    <a:pos x="37" y="29"/>
                  </a:cxn>
                </a:cxnLst>
                <a:rect l="0" t="0" r="r" b="b"/>
                <a:pathLst>
                  <a:path w="45" h="67">
                    <a:moveTo>
                      <a:pt x="37" y="29"/>
                    </a:moveTo>
                    <a:lnTo>
                      <a:pt x="37" y="29"/>
                    </a:lnTo>
                    <a:lnTo>
                      <a:pt x="35" y="29"/>
                    </a:lnTo>
                    <a:lnTo>
                      <a:pt x="35" y="28"/>
                    </a:lnTo>
                    <a:lnTo>
                      <a:pt x="35" y="25"/>
                    </a:lnTo>
                    <a:lnTo>
                      <a:pt x="34" y="22"/>
                    </a:lnTo>
                    <a:lnTo>
                      <a:pt x="33" y="18"/>
                    </a:lnTo>
                    <a:lnTo>
                      <a:pt x="33" y="18"/>
                    </a:lnTo>
                    <a:lnTo>
                      <a:pt x="31" y="16"/>
                    </a:lnTo>
                    <a:lnTo>
                      <a:pt x="27" y="13"/>
                    </a:lnTo>
                    <a:lnTo>
                      <a:pt x="19" y="8"/>
                    </a:lnTo>
                    <a:lnTo>
                      <a:pt x="9" y="4"/>
                    </a:lnTo>
                    <a:lnTo>
                      <a:pt x="0" y="0"/>
                    </a:lnTo>
                    <a:lnTo>
                      <a:pt x="0" y="0"/>
                    </a:lnTo>
                    <a:lnTo>
                      <a:pt x="0" y="12"/>
                    </a:lnTo>
                    <a:lnTo>
                      <a:pt x="0" y="12"/>
                    </a:lnTo>
                    <a:lnTo>
                      <a:pt x="1" y="16"/>
                    </a:lnTo>
                    <a:lnTo>
                      <a:pt x="4" y="24"/>
                    </a:lnTo>
                    <a:lnTo>
                      <a:pt x="14" y="43"/>
                    </a:lnTo>
                    <a:lnTo>
                      <a:pt x="25" y="60"/>
                    </a:lnTo>
                    <a:lnTo>
                      <a:pt x="30" y="64"/>
                    </a:lnTo>
                    <a:lnTo>
                      <a:pt x="33" y="67"/>
                    </a:lnTo>
                    <a:lnTo>
                      <a:pt x="33" y="67"/>
                    </a:lnTo>
                    <a:lnTo>
                      <a:pt x="37" y="66"/>
                    </a:lnTo>
                    <a:lnTo>
                      <a:pt x="39" y="64"/>
                    </a:lnTo>
                    <a:lnTo>
                      <a:pt x="41" y="62"/>
                    </a:lnTo>
                    <a:lnTo>
                      <a:pt x="42" y="60"/>
                    </a:lnTo>
                    <a:lnTo>
                      <a:pt x="43" y="55"/>
                    </a:lnTo>
                    <a:lnTo>
                      <a:pt x="45" y="52"/>
                    </a:lnTo>
                    <a:lnTo>
                      <a:pt x="45" y="52"/>
                    </a:lnTo>
                    <a:lnTo>
                      <a:pt x="42" y="39"/>
                    </a:lnTo>
                    <a:lnTo>
                      <a:pt x="40" y="32"/>
                    </a:lnTo>
                    <a:lnTo>
                      <a:pt x="39" y="30"/>
                    </a:lnTo>
                    <a:lnTo>
                      <a:pt x="37" y="29"/>
                    </a:lnTo>
                    <a:lnTo>
                      <a:pt x="37" y="29"/>
                    </a:lnTo>
                    <a:lnTo>
                      <a:pt x="37" y="2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2" name="Freeform 107"/>
              <p:cNvSpPr>
                <a:spLocks noChangeAspect="1"/>
              </p:cNvSpPr>
              <p:nvPr/>
            </p:nvSpPr>
            <p:spPr bwMode="auto">
              <a:xfrm>
                <a:off x="2006019" y="4215759"/>
                <a:ext cx="461266" cy="552457"/>
              </a:xfrm>
              <a:custGeom>
                <a:avLst/>
                <a:gdLst/>
                <a:ahLst/>
                <a:cxnLst>
                  <a:cxn ang="0">
                    <a:pos x="329" y="679"/>
                  </a:cxn>
                  <a:cxn ang="0">
                    <a:pos x="372" y="621"/>
                  </a:cxn>
                  <a:cxn ang="0">
                    <a:pos x="392" y="559"/>
                  </a:cxn>
                  <a:cxn ang="0">
                    <a:pos x="454" y="516"/>
                  </a:cxn>
                  <a:cxn ang="0">
                    <a:pos x="482" y="524"/>
                  </a:cxn>
                  <a:cxn ang="0">
                    <a:pos x="503" y="512"/>
                  </a:cxn>
                  <a:cxn ang="0">
                    <a:pos x="541" y="423"/>
                  </a:cxn>
                  <a:cxn ang="0">
                    <a:pos x="478" y="437"/>
                  </a:cxn>
                  <a:cxn ang="0">
                    <a:pos x="417" y="426"/>
                  </a:cxn>
                  <a:cxn ang="0">
                    <a:pos x="380" y="420"/>
                  </a:cxn>
                  <a:cxn ang="0">
                    <a:pos x="354" y="396"/>
                  </a:cxn>
                  <a:cxn ang="0">
                    <a:pos x="344" y="323"/>
                  </a:cxn>
                  <a:cxn ang="0">
                    <a:pos x="380" y="287"/>
                  </a:cxn>
                  <a:cxn ang="0">
                    <a:pos x="420" y="291"/>
                  </a:cxn>
                  <a:cxn ang="0">
                    <a:pos x="425" y="316"/>
                  </a:cxn>
                  <a:cxn ang="0">
                    <a:pos x="405" y="342"/>
                  </a:cxn>
                  <a:cxn ang="0">
                    <a:pos x="439" y="342"/>
                  </a:cxn>
                  <a:cxn ang="0">
                    <a:pos x="458" y="370"/>
                  </a:cxn>
                  <a:cxn ang="0">
                    <a:pos x="480" y="363"/>
                  </a:cxn>
                  <a:cxn ang="0">
                    <a:pos x="529" y="344"/>
                  </a:cxn>
                  <a:cxn ang="0">
                    <a:pos x="568" y="331"/>
                  </a:cxn>
                  <a:cxn ang="0">
                    <a:pos x="557" y="279"/>
                  </a:cxn>
                  <a:cxn ang="0">
                    <a:pos x="573" y="229"/>
                  </a:cxn>
                  <a:cxn ang="0">
                    <a:pos x="577" y="214"/>
                  </a:cxn>
                  <a:cxn ang="0">
                    <a:pos x="553" y="224"/>
                  </a:cxn>
                  <a:cxn ang="0">
                    <a:pos x="471" y="183"/>
                  </a:cxn>
                  <a:cxn ang="0">
                    <a:pos x="447" y="144"/>
                  </a:cxn>
                  <a:cxn ang="0">
                    <a:pos x="423" y="145"/>
                  </a:cxn>
                  <a:cxn ang="0">
                    <a:pos x="398" y="138"/>
                  </a:cxn>
                  <a:cxn ang="0">
                    <a:pos x="396" y="104"/>
                  </a:cxn>
                  <a:cxn ang="0">
                    <a:pos x="374" y="88"/>
                  </a:cxn>
                  <a:cxn ang="0">
                    <a:pos x="354" y="70"/>
                  </a:cxn>
                  <a:cxn ang="0">
                    <a:pos x="323" y="61"/>
                  </a:cxn>
                  <a:cxn ang="0">
                    <a:pos x="282" y="39"/>
                  </a:cxn>
                  <a:cxn ang="0">
                    <a:pos x="259" y="0"/>
                  </a:cxn>
                  <a:cxn ang="0">
                    <a:pos x="188" y="39"/>
                  </a:cxn>
                  <a:cxn ang="0">
                    <a:pos x="159" y="47"/>
                  </a:cxn>
                  <a:cxn ang="0">
                    <a:pos x="178" y="92"/>
                  </a:cxn>
                  <a:cxn ang="0">
                    <a:pos x="157" y="114"/>
                  </a:cxn>
                  <a:cxn ang="0">
                    <a:pos x="60" y="129"/>
                  </a:cxn>
                  <a:cxn ang="0">
                    <a:pos x="75" y="163"/>
                  </a:cxn>
                  <a:cxn ang="0">
                    <a:pos x="67" y="195"/>
                  </a:cxn>
                  <a:cxn ang="0">
                    <a:pos x="12" y="246"/>
                  </a:cxn>
                  <a:cxn ang="0">
                    <a:pos x="0" y="284"/>
                  </a:cxn>
                  <a:cxn ang="0">
                    <a:pos x="7" y="373"/>
                  </a:cxn>
                  <a:cxn ang="0">
                    <a:pos x="48" y="463"/>
                  </a:cxn>
                  <a:cxn ang="0">
                    <a:pos x="60" y="533"/>
                  </a:cxn>
                  <a:cxn ang="0">
                    <a:pos x="65" y="592"/>
                  </a:cxn>
                  <a:cxn ang="0">
                    <a:pos x="88" y="588"/>
                  </a:cxn>
                  <a:cxn ang="0">
                    <a:pos x="109" y="584"/>
                  </a:cxn>
                  <a:cxn ang="0">
                    <a:pos x="130" y="618"/>
                  </a:cxn>
                  <a:cxn ang="0">
                    <a:pos x="118" y="634"/>
                  </a:cxn>
                  <a:cxn ang="0">
                    <a:pos x="90" y="655"/>
                  </a:cxn>
                  <a:cxn ang="0">
                    <a:pos x="109" y="681"/>
                  </a:cxn>
                  <a:cxn ang="0">
                    <a:pos x="106" y="713"/>
                  </a:cxn>
                  <a:cxn ang="0">
                    <a:pos x="94" y="739"/>
                  </a:cxn>
                  <a:cxn ang="0">
                    <a:pos x="144" y="768"/>
                  </a:cxn>
                  <a:cxn ang="0">
                    <a:pos x="173" y="757"/>
                  </a:cxn>
                  <a:cxn ang="0">
                    <a:pos x="195" y="763"/>
                  </a:cxn>
                  <a:cxn ang="0">
                    <a:pos x="229" y="793"/>
                  </a:cxn>
                  <a:cxn ang="0">
                    <a:pos x="260" y="787"/>
                  </a:cxn>
                  <a:cxn ang="0">
                    <a:pos x="318" y="732"/>
                  </a:cxn>
                </a:cxnLst>
                <a:rect l="0" t="0" r="r" b="b"/>
                <a:pathLst>
                  <a:path w="583" h="794">
                    <a:moveTo>
                      <a:pt x="314" y="717"/>
                    </a:moveTo>
                    <a:lnTo>
                      <a:pt x="314" y="717"/>
                    </a:lnTo>
                    <a:lnTo>
                      <a:pt x="316" y="705"/>
                    </a:lnTo>
                    <a:lnTo>
                      <a:pt x="318" y="695"/>
                    </a:lnTo>
                    <a:lnTo>
                      <a:pt x="323" y="687"/>
                    </a:lnTo>
                    <a:lnTo>
                      <a:pt x="329" y="679"/>
                    </a:lnTo>
                    <a:lnTo>
                      <a:pt x="343" y="664"/>
                    </a:lnTo>
                    <a:lnTo>
                      <a:pt x="351" y="656"/>
                    </a:lnTo>
                    <a:lnTo>
                      <a:pt x="358" y="648"/>
                    </a:lnTo>
                    <a:lnTo>
                      <a:pt x="358" y="648"/>
                    </a:lnTo>
                    <a:lnTo>
                      <a:pt x="367" y="633"/>
                    </a:lnTo>
                    <a:lnTo>
                      <a:pt x="372" y="621"/>
                    </a:lnTo>
                    <a:lnTo>
                      <a:pt x="374" y="611"/>
                    </a:lnTo>
                    <a:lnTo>
                      <a:pt x="375" y="602"/>
                    </a:lnTo>
                    <a:lnTo>
                      <a:pt x="377" y="592"/>
                    </a:lnTo>
                    <a:lnTo>
                      <a:pt x="379" y="582"/>
                    </a:lnTo>
                    <a:lnTo>
                      <a:pt x="384" y="572"/>
                    </a:lnTo>
                    <a:lnTo>
                      <a:pt x="392" y="559"/>
                    </a:lnTo>
                    <a:lnTo>
                      <a:pt x="392" y="559"/>
                    </a:lnTo>
                    <a:lnTo>
                      <a:pt x="403" y="549"/>
                    </a:lnTo>
                    <a:lnTo>
                      <a:pt x="423" y="534"/>
                    </a:lnTo>
                    <a:lnTo>
                      <a:pt x="434" y="527"/>
                    </a:lnTo>
                    <a:lnTo>
                      <a:pt x="445" y="521"/>
                    </a:lnTo>
                    <a:lnTo>
                      <a:pt x="454" y="516"/>
                    </a:lnTo>
                    <a:lnTo>
                      <a:pt x="461" y="515"/>
                    </a:lnTo>
                    <a:lnTo>
                      <a:pt x="461" y="515"/>
                    </a:lnTo>
                    <a:lnTo>
                      <a:pt x="465" y="515"/>
                    </a:lnTo>
                    <a:lnTo>
                      <a:pt x="469" y="516"/>
                    </a:lnTo>
                    <a:lnTo>
                      <a:pt x="476" y="520"/>
                    </a:lnTo>
                    <a:lnTo>
                      <a:pt x="482" y="524"/>
                    </a:lnTo>
                    <a:lnTo>
                      <a:pt x="486" y="526"/>
                    </a:lnTo>
                    <a:lnTo>
                      <a:pt x="491" y="526"/>
                    </a:lnTo>
                    <a:lnTo>
                      <a:pt x="491" y="526"/>
                    </a:lnTo>
                    <a:lnTo>
                      <a:pt x="493" y="524"/>
                    </a:lnTo>
                    <a:lnTo>
                      <a:pt x="495" y="522"/>
                    </a:lnTo>
                    <a:lnTo>
                      <a:pt x="503" y="512"/>
                    </a:lnTo>
                    <a:lnTo>
                      <a:pt x="511" y="496"/>
                    </a:lnTo>
                    <a:lnTo>
                      <a:pt x="520" y="478"/>
                    </a:lnTo>
                    <a:lnTo>
                      <a:pt x="535" y="444"/>
                    </a:lnTo>
                    <a:lnTo>
                      <a:pt x="540" y="430"/>
                    </a:lnTo>
                    <a:lnTo>
                      <a:pt x="541" y="423"/>
                    </a:lnTo>
                    <a:lnTo>
                      <a:pt x="541" y="423"/>
                    </a:lnTo>
                    <a:lnTo>
                      <a:pt x="524" y="423"/>
                    </a:lnTo>
                    <a:lnTo>
                      <a:pt x="524" y="423"/>
                    </a:lnTo>
                    <a:lnTo>
                      <a:pt x="524" y="423"/>
                    </a:lnTo>
                    <a:lnTo>
                      <a:pt x="512" y="428"/>
                    </a:lnTo>
                    <a:lnTo>
                      <a:pt x="497" y="434"/>
                    </a:lnTo>
                    <a:lnTo>
                      <a:pt x="478" y="437"/>
                    </a:lnTo>
                    <a:lnTo>
                      <a:pt x="457" y="438"/>
                    </a:lnTo>
                    <a:lnTo>
                      <a:pt x="457" y="438"/>
                    </a:lnTo>
                    <a:lnTo>
                      <a:pt x="448" y="437"/>
                    </a:lnTo>
                    <a:lnTo>
                      <a:pt x="441" y="436"/>
                    </a:lnTo>
                    <a:lnTo>
                      <a:pt x="428" y="430"/>
                    </a:lnTo>
                    <a:lnTo>
                      <a:pt x="417" y="426"/>
                    </a:lnTo>
                    <a:lnTo>
                      <a:pt x="410" y="423"/>
                    </a:lnTo>
                    <a:lnTo>
                      <a:pt x="402" y="423"/>
                    </a:lnTo>
                    <a:lnTo>
                      <a:pt x="402" y="423"/>
                    </a:lnTo>
                    <a:lnTo>
                      <a:pt x="394" y="423"/>
                    </a:lnTo>
                    <a:lnTo>
                      <a:pt x="387" y="422"/>
                    </a:lnTo>
                    <a:lnTo>
                      <a:pt x="380" y="420"/>
                    </a:lnTo>
                    <a:lnTo>
                      <a:pt x="374" y="417"/>
                    </a:lnTo>
                    <a:lnTo>
                      <a:pt x="369" y="414"/>
                    </a:lnTo>
                    <a:lnTo>
                      <a:pt x="364" y="411"/>
                    </a:lnTo>
                    <a:lnTo>
                      <a:pt x="361" y="406"/>
                    </a:lnTo>
                    <a:lnTo>
                      <a:pt x="356" y="401"/>
                    </a:lnTo>
                    <a:lnTo>
                      <a:pt x="354" y="396"/>
                    </a:lnTo>
                    <a:lnTo>
                      <a:pt x="350" y="389"/>
                    </a:lnTo>
                    <a:lnTo>
                      <a:pt x="347" y="374"/>
                    </a:lnTo>
                    <a:lnTo>
                      <a:pt x="344" y="355"/>
                    </a:lnTo>
                    <a:lnTo>
                      <a:pt x="343" y="335"/>
                    </a:lnTo>
                    <a:lnTo>
                      <a:pt x="343" y="335"/>
                    </a:lnTo>
                    <a:lnTo>
                      <a:pt x="344" y="323"/>
                    </a:lnTo>
                    <a:lnTo>
                      <a:pt x="347" y="313"/>
                    </a:lnTo>
                    <a:lnTo>
                      <a:pt x="350" y="305"/>
                    </a:lnTo>
                    <a:lnTo>
                      <a:pt x="355" y="298"/>
                    </a:lnTo>
                    <a:lnTo>
                      <a:pt x="362" y="293"/>
                    </a:lnTo>
                    <a:lnTo>
                      <a:pt x="370" y="290"/>
                    </a:lnTo>
                    <a:lnTo>
                      <a:pt x="380" y="287"/>
                    </a:lnTo>
                    <a:lnTo>
                      <a:pt x="392" y="286"/>
                    </a:lnTo>
                    <a:lnTo>
                      <a:pt x="392" y="286"/>
                    </a:lnTo>
                    <a:lnTo>
                      <a:pt x="403" y="287"/>
                    </a:lnTo>
                    <a:lnTo>
                      <a:pt x="409" y="287"/>
                    </a:lnTo>
                    <a:lnTo>
                      <a:pt x="415" y="289"/>
                    </a:lnTo>
                    <a:lnTo>
                      <a:pt x="420" y="291"/>
                    </a:lnTo>
                    <a:lnTo>
                      <a:pt x="424" y="294"/>
                    </a:lnTo>
                    <a:lnTo>
                      <a:pt x="426" y="299"/>
                    </a:lnTo>
                    <a:lnTo>
                      <a:pt x="427" y="306"/>
                    </a:lnTo>
                    <a:lnTo>
                      <a:pt x="427" y="306"/>
                    </a:lnTo>
                    <a:lnTo>
                      <a:pt x="427" y="312"/>
                    </a:lnTo>
                    <a:lnTo>
                      <a:pt x="425" y="316"/>
                    </a:lnTo>
                    <a:lnTo>
                      <a:pt x="423" y="320"/>
                    </a:lnTo>
                    <a:lnTo>
                      <a:pt x="419" y="323"/>
                    </a:lnTo>
                    <a:lnTo>
                      <a:pt x="412" y="331"/>
                    </a:lnTo>
                    <a:lnTo>
                      <a:pt x="409" y="336"/>
                    </a:lnTo>
                    <a:lnTo>
                      <a:pt x="405" y="342"/>
                    </a:lnTo>
                    <a:lnTo>
                      <a:pt x="405" y="342"/>
                    </a:lnTo>
                    <a:lnTo>
                      <a:pt x="411" y="344"/>
                    </a:lnTo>
                    <a:lnTo>
                      <a:pt x="415" y="345"/>
                    </a:lnTo>
                    <a:lnTo>
                      <a:pt x="419" y="345"/>
                    </a:lnTo>
                    <a:lnTo>
                      <a:pt x="423" y="345"/>
                    </a:lnTo>
                    <a:lnTo>
                      <a:pt x="430" y="343"/>
                    </a:lnTo>
                    <a:lnTo>
                      <a:pt x="439" y="342"/>
                    </a:lnTo>
                    <a:lnTo>
                      <a:pt x="439" y="342"/>
                    </a:lnTo>
                    <a:lnTo>
                      <a:pt x="441" y="350"/>
                    </a:lnTo>
                    <a:lnTo>
                      <a:pt x="446" y="360"/>
                    </a:lnTo>
                    <a:lnTo>
                      <a:pt x="449" y="365"/>
                    </a:lnTo>
                    <a:lnTo>
                      <a:pt x="454" y="368"/>
                    </a:lnTo>
                    <a:lnTo>
                      <a:pt x="458" y="370"/>
                    </a:lnTo>
                    <a:lnTo>
                      <a:pt x="464" y="371"/>
                    </a:lnTo>
                    <a:lnTo>
                      <a:pt x="464" y="371"/>
                    </a:lnTo>
                    <a:lnTo>
                      <a:pt x="470" y="370"/>
                    </a:lnTo>
                    <a:lnTo>
                      <a:pt x="473" y="369"/>
                    </a:lnTo>
                    <a:lnTo>
                      <a:pt x="477" y="367"/>
                    </a:lnTo>
                    <a:lnTo>
                      <a:pt x="480" y="363"/>
                    </a:lnTo>
                    <a:lnTo>
                      <a:pt x="481" y="359"/>
                    </a:lnTo>
                    <a:lnTo>
                      <a:pt x="484" y="354"/>
                    </a:lnTo>
                    <a:lnTo>
                      <a:pt x="486" y="342"/>
                    </a:lnTo>
                    <a:lnTo>
                      <a:pt x="486" y="342"/>
                    </a:lnTo>
                    <a:lnTo>
                      <a:pt x="504" y="343"/>
                    </a:lnTo>
                    <a:lnTo>
                      <a:pt x="529" y="344"/>
                    </a:lnTo>
                    <a:lnTo>
                      <a:pt x="540" y="343"/>
                    </a:lnTo>
                    <a:lnTo>
                      <a:pt x="552" y="340"/>
                    </a:lnTo>
                    <a:lnTo>
                      <a:pt x="561" y="337"/>
                    </a:lnTo>
                    <a:lnTo>
                      <a:pt x="564" y="333"/>
                    </a:lnTo>
                    <a:lnTo>
                      <a:pt x="568" y="331"/>
                    </a:lnTo>
                    <a:lnTo>
                      <a:pt x="568" y="331"/>
                    </a:lnTo>
                    <a:lnTo>
                      <a:pt x="563" y="323"/>
                    </a:lnTo>
                    <a:lnTo>
                      <a:pt x="558" y="315"/>
                    </a:lnTo>
                    <a:lnTo>
                      <a:pt x="557" y="305"/>
                    </a:lnTo>
                    <a:lnTo>
                      <a:pt x="556" y="291"/>
                    </a:lnTo>
                    <a:lnTo>
                      <a:pt x="556" y="291"/>
                    </a:lnTo>
                    <a:lnTo>
                      <a:pt x="557" y="279"/>
                    </a:lnTo>
                    <a:lnTo>
                      <a:pt x="560" y="270"/>
                    </a:lnTo>
                    <a:lnTo>
                      <a:pt x="562" y="261"/>
                    </a:lnTo>
                    <a:lnTo>
                      <a:pt x="565" y="254"/>
                    </a:lnTo>
                    <a:lnTo>
                      <a:pt x="569" y="246"/>
                    </a:lnTo>
                    <a:lnTo>
                      <a:pt x="571" y="238"/>
                    </a:lnTo>
                    <a:lnTo>
                      <a:pt x="573" y="229"/>
                    </a:lnTo>
                    <a:lnTo>
                      <a:pt x="575" y="217"/>
                    </a:lnTo>
                    <a:lnTo>
                      <a:pt x="575" y="217"/>
                    </a:lnTo>
                    <a:lnTo>
                      <a:pt x="579" y="214"/>
                    </a:lnTo>
                    <a:lnTo>
                      <a:pt x="583" y="213"/>
                    </a:lnTo>
                    <a:lnTo>
                      <a:pt x="583" y="213"/>
                    </a:lnTo>
                    <a:lnTo>
                      <a:pt x="577" y="214"/>
                    </a:lnTo>
                    <a:lnTo>
                      <a:pt x="572" y="215"/>
                    </a:lnTo>
                    <a:lnTo>
                      <a:pt x="564" y="218"/>
                    </a:lnTo>
                    <a:lnTo>
                      <a:pt x="558" y="223"/>
                    </a:lnTo>
                    <a:lnTo>
                      <a:pt x="555" y="224"/>
                    </a:lnTo>
                    <a:lnTo>
                      <a:pt x="553" y="224"/>
                    </a:lnTo>
                    <a:lnTo>
                      <a:pt x="553" y="224"/>
                    </a:lnTo>
                    <a:lnTo>
                      <a:pt x="546" y="224"/>
                    </a:lnTo>
                    <a:lnTo>
                      <a:pt x="539" y="222"/>
                    </a:lnTo>
                    <a:lnTo>
                      <a:pt x="523" y="216"/>
                    </a:lnTo>
                    <a:lnTo>
                      <a:pt x="504" y="207"/>
                    </a:lnTo>
                    <a:lnTo>
                      <a:pt x="487" y="195"/>
                    </a:lnTo>
                    <a:lnTo>
                      <a:pt x="471" y="183"/>
                    </a:lnTo>
                    <a:lnTo>
                      <a:pt x="458" y="169"/>
                    </a:lnTo>
                    <a:lnTo>
                      <a:pt x="454" y="162"/>
                    </a:lnTo>
                    <a:lnTo>
                      <a:pt x="449" y="155"/>
                    </a:lnTo>
                    <a:lnTo>
                      <a:pt x="447" y="149"/>
                    </a:lnTo>
                    <a:lnTo>
                      <a:pt x="447" y="144"/>
                    </a:lnTo>
                    <a:lnTo>
                      <a:pt x="447" y="144"/>
                    </a:lnTo>
                    <a:lnTo>
                      <a:pt x="443" y="147"/>
                    </a:lnTo>
                    <a:lnTo>
                      <a:pt x="441" y="148"/>
                    </a:lnTo>
                    <a:lnTo>
                      <a:pt x="438" y="148"/>
                    </a:lnTo>
                    <a:lnTo>
                      <a:pt x="434" y="148"/>
                    </a:lnTo>
                    <a:lnTo>
                      <a:pt x="427" y="145"/>
                    </a:lnTo>
                    <a:lnTo>
                      <a:pt x="423" y="145"/>
                    </a:lnTo>
                    <a:lnTo>
                      <a:pt x="417" y="144"/>
                    </a:lnTo>
                    <a:lnTo>
                      <a:pt x="417" y="144"/>
                    </a:lnTo>
                    <a:lnTo>
                      <a:pt x="410" y="144"/>
                    </a:lnTo>
                    <a:lnTo>
                      <a:pt x="405" y="142"/>
                    </a:lnTo>
                    <a:lnTo>
                      <a:pt x="401" y="140"/>
                    </a:lnTo>
                    <a:lnTo>
                      <a:pt x="398" y="138"/>
                    </a:lnTo>
                    <a:lnTo>
                      <a:pt x="396" y="134"/>
                    </a:lnTo>
                    <a:lnTo>
                      <a:pt x="396" y="131"/>
                    </a:lnTo>
                    <a:lnTo>
                      <a:pt x="396" y="124"/>
                    </a:lnTo>
                    <a:lnTo>
                      <a:pt x="396" y="116"/>
                    </a:lnTo>
                    <a:lnTo>
                      <a:pt x="397" y="108"/>
                    </a:lnTo>
                    <a:lnTo>
                      <a:pt x="396" y="104"/>
                    </a:lnTo>
                    <a:lnTo>
                      <a:pt x="396" y="101"/>
                    </a:lnTo>
                    <a:lnTo>
                      <a:pt x="394" y="99"/>
                    </a:lnTo>
                    <a:lnTo>
                      <a:pt x="392" y="96"/>
                    </a:lnTo>
                    <a:lnTo>
                      <a:pt x="392" y="96"/>
                    </a:lnTo>
                    <a:lnTo>
                      <a:pt x="381" y="91"/>
                    </a:lnTo>
                    <a:lnTo>
                      <a:pt x="374" y="88"/>
                    </a:lnTo>
                    <a:lnTo>
                      <a:pt x="370" y="87"/>
                    </a:lnTo>
                    <a:lnTo>
                      <a:pt x="366" y="87"/>
                    </a:lnTo>
                    <a:lnTo>
                      <a:pt x="363" y="86"/>
                    </a:lnTo>
                    <a:lnTo>
                      <a:pt x="361" y="84"/>
                    </a:lnTo>
                    <a:lnTo>
                      <a:pt x="357" y="79"/>
                    </a:lnTo>
                    <a:lnTo>
                      <a:pt x="354" y="70"/>
                    </a:lnTo>
                    <a:lnTo>
                      <a:pt x="354" y="70"/>
                    </a:lnTo>
                    <a:lnTo>
                      <a:pt x="351" y="67"/>
                    </a:lnTo>
                    <a:lnTo>
                      <a:pt x="348" y="64"/>
                    </a:lnTo>
                    <a:lnTo>
                      <a:pt x="342" y="63"/>
                    </a:lnTo>
                    <a:lnTo>
                      <a:pt x="336" y="62"/>
                    </a:lnTo>
                    <a:lnTo>
                      <a:pt x="323" y="61"/>
                    </a:lnTo>
                    <a:lnTo>
                      <a:pt x="310" y="60"/>
                    </a:lnTo>
                    <a:lnTo>
                      <a:pt x="310" y="60"/>
                    </a:lnTo>
                    <a:lnTo>
                      <a:pt x="301" y="57"/>
                    </a:lnTo>
                    <a:lnTo>
                      <a:pt x="294" y="53"/>
                    </a:lnTo>
                    <a:lnTo>
                      <a:pt x="287" y="47"/>
                    </a:lnTo>
                    <a:lnTo>
                      <a:pt x="282" y="39"/>
                    </a:lnTo>
                    <a:lnTo>
                      <a:pt x="278" y="31"/>
                    </a:lnTo>
                    <a:lnTo>
                      <a:pt x="274" y="22"/>
                    </a:lnTo>
                    <a:lnTo>
                      <a:pt x="272" y="11"/>
                    </a:lnTo>
                    <a:lnTo>
                      <a:pt x="270" y="0"/>
                    </a:lnTo>
                    <a:lnTo>
                      <a:pt x="270" y="0"/>
                    </a:lnTo>
                    <a:lnTo>
                      <a:pt x="259" y="0"/>
                    </a:lnTo>
                    <a:lnTo>
                      <a:pt x="259" y="0"/>
                    </a:lnTo>
                    <a:lnTo>
                      <a:pt x="239" y="15"/>
                    </a:lnTo>
                    <a:lnTo>
                      <a:pt x="227" y="23"/>
                    </a:lnTo>
                    <a:lnTo>
                      <a:pt x="214" y="30"/>
                    </a:lnTo>
                    <a:lnTo>
                      <a:pt x="202" y="35"/>
                    </a:lnTo>
                    <a:lnTo>
                      <a:pt x="188" y="39"/>
                    </a:lnTo>
                    <a:lnTo>
                      <a:pt x="181" y="39"/>
                    </a:lnTo>
                    <a:lnTo>
                      <a:pt x="174" y="40"/>
                    </a:lnTo>
                    <a:lnTo>
                      <a:pt x="167" y="39"/>
                    </a:lnTo>
                    <a:lnTo>
                      <a:pt x="159" y="38"/>
                    </a:lnTo>
                    <a:lnTo>
                      <a:pt x="159" y="38"/>
                    </a:lnTo>
                    <a:lnTo>
                      <a:pt x="159" y="47"/>
                    </a:lnTo>
                    <a:lnTo>
                      <a:pt x="160" y="55"/>
                    </a:lnTo>
                    <a:lnTo>
                      <a:pt x="164" y="62"/>
                    </a:lnTo>
                    <a:lnTo>
                      <a:pt x="167" y="68"/>
                    </a:lnTo>
                    <a:lnTo>
                      <a:pt x="174" y="78"/>
                    </a:lnTo>
                    <a:lnTo>
                      <a:pt x="176" y="85"/>
                    </a:lnTo>
                    <a:lnTo>
                      <a:pt x="178" y="92"/>
                    </a:lnTo>
                    <a:lnTo>
                      <a:pt x="178" y="92"/>
                    </a:lnTo>
                    <a:lnTo>
                      <a:pt x="176" y="98"/>
                    </a:lnTo>
                    <a:lnTo>
                      <a:pt x="174" y="102"/>
                    </a:lnTo>
                    <a:lnTo>
                      <a:pt x="170" y="107"/>
                    </a:lnTo>
                    <a:lnTo>
                      <a:pt x="164" y="110"/>
                    </a:lnTo>
                    <a:lnTo>
                      <a:pt x="157" y="114"/>
                    </a:lnTo>
                    <a:lnTo>
                      <a:pt x="149" y="117"/>
                    </a:lnTo>
                    <a:lnTo>
                      <a:pt x="132" y="122"/>
                    </a:lnTo>
                    <a:lnTo>
                      <a:pt x="112" y="125"/>
                    </a:lnTo>
                    <a:lnTo>
                      <a:pt x="92" y="127"/>
                    </a:lnTo>
                    <a:lnTo>
                      <a:pt x="75" y="129"/>
                    </a:lnTo>
                    <a:lnTo>
                      <a:pt x="60" y="129"/>
                    </a:lnTo>
                    <a:lnTo>
                      <a:pt x="60" y="129"/>
                    </a:lnTo>
                    <a:lnTo>
                      <a:pt x="61" y="134"/>
                    </a:lnTo>
                    <a:lnTo>
                      <a:pt x="62" y="139"/>
                    </a:lnTo>
                    <a:lnTo>
                      <a:pt x="68" y="148"/>
                    </a:lnTo>
                    <a:lnTo>
                      <a:pt x="73" y="157"/>
                    </a:lnTo>
                    <a:lnTo>
                      <a:pt x="75" y="163"/>
                    </a:lnTo>
                    <a:lnTo>
                      <a:pt x="75" y="169"/>
                    </a:lnTo>
                    <a:lnTo>
                      <a:pt x="75" y="169"/>
                    </a:lnTo>
                    <a:lnTo>
                      <a:pt x="75" y="176"/>
                    </a:lnTo>
                    <a:lnTo>
                      <a:pt x="73" y="183"/>
                    </a:lnTo>
                    <a:lnTo>
                      <a:pt x="71" y="190"/>
                    </a:lnTo>
                    <a:lnTo>
                      <a:pt x="67" y="195"/>
                    </a:lnTo>
                    <a:lnTo>
                      <a:pt x="62" y="201"/>
                    </a:lnTo>
                    <a:lnTo>
                      <a:pt x="57" y="206"/>
                    </a:lnTo>
                    <a:lnTo>
                      <a:pt x="46" y="215"/>
                    </a:lnTo>
                    <a:lnTo>
                      <a:pt x="25" y="232"/>
                    </a:lnTo>
                    <a:lnTo>
                      <a:pt x="15" y="241"/>
                    </a:lnTo>
                    <a:lnTo>
                      <a:pt x="12" y="246"/>
                    </a:lnTo>
                    <a:lnTo>
                      <a:pt x="8" y="251"/>
                    </a:lnTo>
                    <a:lnTo>
                      <a:pt x="8" y="251"/>
                    </a:lnTo>
                    <a:lnTo>
                      <a:pt x="4" y="259"/>
                    </a:lnTo>
                    <a:lnTo>
                      <a:pt x="2" y="267"/>
                    </a:lnTo>
                    <a:lnTo>
                      <a:pt x="0" y="275"/>
                    </a:lnTo>
                    <a:lnTo>
                      <a:pt x="0" y="284"/>
                    </a:lnTo>
                    <a:lnTo>
                      <a:pt x="0" y="302"/>
                    </a:lnTo>
                    <a:lnTo>
                      <a:pt x="2" y="323"/>
                    </a:lnTo>
                    <a:lnTo>
                      <a:pt x="2" y="323"/>
                    </a:lnTo>
                    <a:lnTo>
                      <a:pt x="3" y="342"/>
                    </a:lnTo>
                    <a:lnTo>
                      <a:pt x="5" y="358"/>
                    </a:lnTo>
                    <a:lnTo>
                      <a:pt x="7" y="373"/>
                    </a:lnTo>
                    <a:lnTo>
                      <a:pt x="11" y="385"/>
                    </a:lnTo>
                    <a:lnTo>
                      <a:pt x="15" y="398"/>
                    </a:lnTo>
                    <a:lnTo>
                      <a:pt x="20" y="409"/>
                    </a:lnTo>
                    <a:lnTo>
                      <a:pt x="31" y="431"/>
                    </a:lnTo>
                    <a:lnTo>
                      <a:pt x="42" y="453"/>
                    </a:lnTo>
                    <a:lnTo>
                      <a:pt x="48" y="463"/>
                    </a:lnTo>
                    <a:lnTo>
                      <a:pt x="51" y="475"/>
                    </a:lnTo>
                    <a:lnTo>
                      <a:pt x="56" y="488"/>
                    </a:lnTo>
                    <a:lnTo>
                      <a:pt x="58" y="501"/>
                    </a:lnTo>
                    <a:lnTo>
                      <a:pt x="60" y="516"/>
                    </a:lnTo>
                    <a:lnTo>
                      <a:pt x="60" y="533"/>
                    </a:lnTo>
                    <a:lnTo>
                      <a:pt x="60" y="533"/>
                    </a:lnTo>
                    <a:lnTo>
                      <a:pt x="60" y="566"/>
                    </a:lnTo>
                    <a:lnTo>
                      <a:pt x="60" y="566"/>
                    </a:lnTo>
                    <a:lnTo>
                      <a:pt x="61" y="576"/>
                    </a:lnTo>
                    <a:lnTo>
                      <a:pt x="62" y="587"/>
                    </a:lnTo>
                    <a:lnTo>
                      <a:pt x="64" y="590"/>
                    </a:lnTo>
                    <a:lnTo>
                      <a:pt x="65" y="592"/>
                    </a:lnTo>
                    <a:lnTo>
                      <a:pt x="68" y="595"/>
                    </a:lnTo>
                    <a:lnTo>
                      <a:pt x="72" y="596"/>
                    </a:lnTo>
                    <a:lnTo>
                      <a:pt x="72" y="596"/>
                    </a:lnTo>
                    <a:lnTo>
                      <a:pt x="76" y="595"/>
                    </a:lnTo>
                    <a:lnTo>
                      <a:pt x="81" y="594"/>
                    </a:lnTo>
                    <a:lnTo>
                      <a:pt x="88" y="588"/>
                    </a:lnTo>
                    <a:lnTo>
                      <a:pt x="94" y="583"/>
                    </a:lnTo>
                    <a:lnTo>
                      <a:pt x="97" y="581"/>
                    </a:lnTo>
                    <a:lnTo>
                      <a:pt x="100" y="581"/>
                    </a:lnTo>
                    <a:lnTo>
                      <a:pt x="100" y="581"/>
                    </a:lnTo>
                    <a:lnTo>
                      <a:pt x="104" y="582"/>
                    </a:lnTo>
                    <a:lnTo>
                      <a:pt x="109" y="584"/>
                    </a:lnTo>
                    <a:lnTo>
                      <a:pt x="113" y="589"/>
                    </a:lnTo>
                    <a:lnTo>
                      <a:pt x="118" y="594"/>
                    </a:lnTo>
                    <a:lnTo>
                      <a:pt x="122" y="599"/>
                    </a:lnTo>
                    <a:lnTo>
                      <a:pt x="127" y="606"/>
                    </a:lnTo>
                    <a:lnTo>
                      <a:pt x="129" y="612"/>
                    </a:lnTo>
                    <a:lnTo>
                      <a:pt x="130" y="618"/>
                    </a:lnTo>
                    <a:lnTo>
                      <a:pt x="130" y="618"/>
                    </a:lnTo>
                    <a:lnTo>
                      <a:pt x="129" y="621"/>
                    </a:lnTo>
                    <a:lnTo>
                      <a:pt x="128" y="625"/>
                    </a:lnTo>
                    <a:lnTo>
                      <a:pt x="126" y="628"/>
                    </a:lnTo>
                    <a:lnTo>
                      <a:pt x="123" y="630"/>
                    </a:lnTo>
                    <a:lnTo>
                      <a:pt x="118" y="634"/>
                    </a:lnTo>
                    <a:lnTo>
                      <a:pt x="110" y="637"/>
                    </a:lnTo>
                    <a:lnTo>
                      <a:pt x="103" y="641"/>
                    </a:lnTo>
                    <a:lnTo>
                      <a:pt x="96" y="644"/>
                    </a:lnTo>
                    <a:lnTo>
                      <a:pt x="91" y="649"/>
                    </a:lnTo>
                    <a:lnTo>
                      <a:pt x="90" y="651"/>
                    </a:lnTo>
                    <a:lnTo>
                      <a:pt x="90" y="655"/>
                    </a:lnTo>
                    <a:lnTo>
                      <a:pt x="90" y="655"/>
                    </a:lnTo>
                    <a:lnTo>
                      <a:pt x="91" y="659"/>
                    </a:lnTo>
                    <a:lnTo>
                      <a:pt x="94" y="664"/>
                    </a:lnTo>
                    <a:lnTo>
                      <a:pt x="100" y="672"/>
                    </a:lnTo>
                    <a:lnTo>
                      <a:pt x="105" y="676"/>
                    </a:lnTo>
                    <a:lnTo>
                      <a:pt x="109" y="681"/>
                    </a:lnTo>
                    <a:lnTo>
                      <a:pt x="111" y="687"/>
                    </a:lnTo>
                    <a:lnTo>
                      <a:pt x="112" y="695"/>
                    </a:lnTo>
                    <a:lnTo>
                      <a:pt x="112" y="695"/>
                    </a:lnTo>
                    <a:lnTo>
                      <a:pt x="111" y="703"/>
                    </a:lnTo>
                    <a:lnTo>
                      <a:pt x="109" y="709"/>
                    </a:lnTo>
                    <a:lnTo>
                      <a:pt x="106" y="713"/>
                    </a:lnTo>
                    <a:lnTo>
                      <a:pt x="103" y="717"/>
                    </a:lnTo>
                    <a:lnTo>
                      <a:pt x="99" y="720"/>
                    </a:lnTo>
                    <a:lnTo>
                      <a:pt x="96" y="725"/>
                    </a:lnTo>
                    <a:lnTo>
                      <a:pt x="95" y="730"/>
                    </a:lnTo>
                    <a:lnTo>
                      <a:pt x="94" y="739"/>
                    </a:lnTo>
                    <a:lnTo>
                      <a:pt x="94" y="739"/>
                    </a:lnTo>
                    <a:lnTo>
                      <a:pt x="96" y="741"/>
                    </a:lnTo>
                    <a:lnTo>
                      <a:pt x="100" y="745"/>
                    </a:lnTo>
                    <a:lnTo>
                      <a:pt x="115" y="755"/>
                    </a:lnTo>
                    <a:lnTo>
                      <a:pt x="133" y="764"/>
                    </a:lnTo>
                    <a:lnTo>
                      <a:pt x="140" y="767"/>
                    </a:lnTo>
                    <a:lnTo>
                      <a:pt x="144" y="768"/>
                    </a:lnTo>
                    <a:lnTo>
                      <a:pt x="144" y="768"/>
                    </a:lnTo>
                    <a:lnTo>
                      <a:pt x="150" y="767"/>
                    </a:lnTo>
                    <a:lnTo>
                      <a:pt x="153" y="766"/>
                    </a:lnTo>
                    <a:lnTo>
                      <a:pt x="161" y="763"/>
                    </a:lnTo>
                    <a:lnTo>
                      <a:pt x="168" y="759"/>
                    </a:lnTo>
                    <a:lnTo>
                      <a:pt x="173" y="757"/>
                    </a:lnTo>
                    <a:lnTo>
                      <a:pt x="178" y="757"/>
                    </a:lnTo>
                    <a:lnTo>
                      <a:pt x="178" y="757"/>
                    </a:lnTo>
                    <a:lnTo>
                      <a:pt x="183" y="757"/>
                    </a:lnTo>
                    <a:lnTo>
                      <a:pt x="187" y="758"/>
                    </a:lnTo>
                    <a:lnTo>
                      <a:pt x="191" y="760"/>
                    </a:lnTo>
                    <a:lnTo>
                      <a:pt x="195" y="763"/>
                    </a:lnTo>
                    <a:lnTo>
                      <a:pt x="202" y="768"/>
                    </a:lnTo>
                    <a:lnTo>
                      <a:pt x="207" y="775"/>
                    </a:lnTo>
                    <a:lnTo>
                      <a:pt x="213" y="782"/>
                    </a:lnTo>
                    <a:lnTo>
                      <a:pt x="220" y="788"/>
                    </a:lnTo>
                    <a:lnTo>
                      <a:pt x="225" y="790"/>
                    </a:lnTo>
                    <a:lnTo>
                      <a:pt x="229" y="793"/>
                    </a:lnTo>
                    <a:lnTo>
                      <a:pt x="235" y="794"/>
                    </a:lnTo>
                    <a:lnTo>
                      <a:pt x="241" y="794"/>
                    </a:lnTo>
                    <a:lnTo>
                      <a:pt x="241" y="794"/>
                    </a:lnTo>
                    <a:lnTo>
                      <a:pt x="245" y="794"/>
                    </a:lnTo>
                    <a:lnTo>
                      <a:pt x="250" y="791"/>
                    </a:lnTo>
                    <a:lnTo>
                      <a:pt x="260" y="787"/>
                    </a:lnTo>
                    <a:lnTo>
                      <a:pt x="270" y="778"/>
                    </a:lnTo>
                    <a:lnTo>
                      <a:pt x="280" y="768"/>
                    </a:lnTo>
                    <a:lnTo>
                      <a:pt x="300" y="747"/>
                    </a:lnTo>
                    <a:lnTo>
                      <a:pt x="309" y="739"/>
                    </a:lnTo>
                    <a:lnTo>
                      <a:pt x="318" y="732"/>
                    </a:lnTo>
                    <a:lnTo>
                      <a:pt x="318" y="732"/>
                    </a:lnTo>
                    <a:lnTo>
                      <a:pt x="314" y="717"/>
                    </a:lnTo>
                    <a:lnTo>
                      <a:pt x="314" y="71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3" name="Freeform 108"/>
              <p:cNvSpPr>
                <a:spLocks noChangeAspect="1"/>
              </p:cNvSpPr>
              <p:nvPr/>
            </p:nvSpPr>
            <p:spPr bwMode="auto">
              <a:xfrm>
                <a:off x="1351369" y="3966665"/>
                <a:ext cx="309096" cy="196213"/>
              </a:xfrm>
              <a:custGeom>
                <a:avLst/>
                <a:gdLst/>
                <a:ahLst/>
                <a:cxnLst>
                  <a:cxn ang="0">
                    <a:pos x="107" y="11"/>
                  </a:cxn>
                  <a:cxn ang="0">
                    <a:pos x="94" y="35"/>
                  </a:cxn>
                  <a:cxn ang="0">
                    <a:pos x="65" y="61"/>
                  </a:cxn>
                  <a:cxn ang="0">
                    <a:pos x="15" y="88"/>
                  </a:cxn>
                  <a:cxn ang="0">
                    <a:pos x="3" y="103"/>
                  </a:cxn>
                  <a:cxn ang="0">
                    <a:pos x="22" y="129"/>
                  </a:cxn>
                  <a:cxn ang="0">
                    <a:pos x="47" y="145"/>
                  </a:cxn>
                  <a:cxn ang="0">
                    <a:pos x="60" y="146"/>
                  </a:cxn>
                  <a:cxn ang="0">
                    <a:pos x="81" y="137"/>
                  </a:cxn>
                  <a:cxn ang="0">
                    <a:pos x="89" y="136"/>
                  </a:cxn>
                  <a:cxn ang="0">
                    <a:pos x="111" y="146"/>
                  </a:cxn>
                  <a:cxn ang="0">
                    <a:pos x="120" y="170"/>
                  </a:cxn>
                  <a:cxn ang="0">
                    <a:pos x="126" y="220"/>
                  </a:cxn>
                  <a:cxn ang="0">
                    <a:pos x="136" y="240"/>
                  </a:cxn>
                  <a:cxn ang="0">
                    <a:pos x="151" y="245"/>
                  </a:cxn>
                  <a:cxn ang="0">
                    <a:pos x="164" y="237"/>
                  </a:cxn>
                  <a:cxn ang="0">
                    <a:pos x="175" y="224"/>
                  </a:cxn>
                  <a:cxn ang="0">
                    <a:pos x="187" y="220"/>
                  </a:cxn>
                  <a:cxn ang="0">
                    <a:pos x="204" y="224"/>
                  </a:cxn>
                  <a:cxn ang="0">
                    <a:pos x="226" y="243"/>
                  </a:cxn>
                  <a:cxn ang="0">
                    <a:pos x="248" y="262"/>
                  </a:cxn>
                  <a:cxn ang="0">
                    <a:pos x="265" y="268"/>
                  </a:cxn>
                  <a:cxn ang="0">
                    <a:pos x="280" y="268"/>
                  </a:cxn>
                  <a:cxn ang="0">
                    <a:pos x="281" y="266"/>
                  </a:cxn>
                  <a:cxn ang="0">
                    <a:pos x="287" y="264"/>
                  </a:cxn>
                  <a:cxn ang="0">
                    <a:pos x="301" y="267"/>
                  </a:cxn>
                  <a:cxn ang="0">
                    <a:pos x="325" y="279"/>
                  </a:cxn>
                  <a:cxn ang="0">
                    <a:pos x="342" y="283"/>
                  </a:cxn>
                  <a:cxn ang="0">
                    <a:pos x="354" y="278"/>
                  </a:cxn>
                  <a:cxn ang="0">
                    <a:pos x="364" y="261"/>
                  </a:cxn>
                  <a:cxn ang="0">
                    <a:pos x="367" y="220"/>
                  </a:cxn>
                  <a:cxn ang="0">
                    <a:pos x="371" y="213"/>
                  </a:cxn>
                  <a:cxn ang="0">
                    <a:pos x="388" y="198"/>
                  </a:cxn>
                  <a:cxn ang="0">
                    <a:pos x="389" y="190"/>
                  </a:cxn>
                  <a:cxn ang="0">
                    <a:pos x="382" y="182"/>
                  </a:cxn>
                  <a:cxn ang="0">
                    <a:pos x="374" y="171"/>
                  </a:cxn>
                  <a:cxn ang="0">
                    <a:pos x="344" y="141"/>
                  </a:cxn>
                  <a:cxn ang="0">
                    <a:pos x="339" y="132"/>
                  </a:cxn>
                  <a:cxn ang="0">
                    <a:pos x="313" y="138"/>
                  </a:cxn>
                  <a:cxn ang="0">
                    <a:pos x="275" y="159"/>
                  </a:cxn>
                  <a:cxn ang="0">
                    <a:pos x="248" y="171"/>
                  </a:cxn>
                  <a:cxn ang="0">
                    <a:pos x="234" y="170"/>
                  </a:cxn>
                  <a:cxn ang="0">
                    <a:pos x="214" y="156"/>
                  </a:cxn>
                  <a:cxn ang="0">
                    <a:pos x="203" y="130"/>
                  </a:cxn>
                  <a:cxn ang="0">
                    <a:pos x="202" y="98"/>
                  </a:cxn>
                  <a:cxn ang="0">
                    <a:pos x="194" y="54"/>
                  </a:cxn>
                  <a:cxn ang="0">
                    <a:pos x="184" y="39"/>
                  </a:cxn>
                  <a:cxn ang="0">
                    <a:pos x="168" y="32"/>
                  </a:cxn>
                  <a:cxn ang="0">
                    <a:pos x="144" y="29"/>
                  </a:cxn>
                  <a:cxn ang="0">
                    <a:pos x="118" y="16"/>
                  </a:cxn>
                  <a:cxn ang="0">
                    <a:pos x="111" y="4"/>
                  </a:cxn>
                  <a:cxn ang="0">
                    <a:pos x="110" y="0"/>
                  </a:cxn>
                </a:cxnLst>
                <a:rect l="0" t="0" r="r" b="b"/>
                <a:pathLst>
                  <a:path w="389" h="283">
                    <a:moveTo>
                      <a:pt x="110" y="3"/>
                    </a:moveTo>
                    <a:lnTo>
                      <a:pt x="110" y="3"/>
                    </a:lnTo>
                    <a:lnTo>
                      <a:pt x="107" y="11"/>
                    </a:lnTo>
                    <a:lnTo>
                      <a:pt x="104" y="20"/>
                    </a:lnTo>
                    <a:lnTo>
                      <a:pt x="99" y="27"/>
                    </a:lnTo>
                    <a:lnTo>
                      <a:pt x="94" y="35"/>
                    </a:lnTo>
                    <a:lnTo>
                      <a:pt x="87" y="42"/>
                    </a:lnTo>
                    <a:lnTo>
                      <a:pt x="80" y="49"/>
                    </a:lnTo>
                    <a:lnTo>
                      <a:pt x="65" y="61"/>
                    </a:lnTo>
                    <a:lnTo>
                      <a:pt x="47" y="72"/>
                    </a:lnTo>
                    <a:lnTo>
                      <a:pt x="31" y="80"/>
                    </a:lnTo>
                    <a:lnTo>
                      <a:pt x="15" y="88"/>
                    </a:lnTo>
                    <a:lnTo>
                      <a:pt x="0" y="94"/>
                    </a:lnTo>
                    <a:lnTo>
                      <a:pt x="0" y="94"/>
                    </a:lnTo>
                    <a:lnTo>
                      <a:pt x="3" y="103"/>
                    </a:lnTo>
                    <a:lnTo>
                      <a:pt x="7" y="113"/>
                    </a:lnTo>
                    <a:lnTo>
                      <a:pt x="14" y="121"/>
                    </a:lnTo>
                    <a:lnTo>
                      <a:pt x="22" y="129"/>
                    </a:lnTo>
                    <a:lnTo>
                      <a:pt x="30" y="136"/>
                    </a:lnTo>
                    <a:lnTo>
                      <a:pt x="39" y="141"/>
                    </a:lnTo>
                    <a:lnTo>
                      <a:pt x="47" y="145"/>
                    </a:lnTo>
                    <a:lnTo>
                      <a:pt x="56" y="147"/>
                    </a:lnTo>
                    <a:lnTo>
                      <a:pt x="56" y="147"/>
                    </a:lnTo>
                    <a:lnTo>
                      <a:pt x="60" y="146"/>
                    </a:lnTo>
                    <a:lnTo>
                      <a:pt x="65" y="145"/>
                    </a:lnTo>
                    <a:lnTo>
                      <a:pt x="73" y="141"/>
                    </a:lnTo>
                    <a:lnTo>
                      <a:pt x="81" y="137"/>
                    </a:lnTo>
                    <a:lnTo>
                      <a:pt x="84" y="136"/>
                    </a:lnTo>
                    <a:lnTo>
                      <a:pt x="89" y="136"/>
                    </a:lnTo>
                    <a:lnTo>
                      <a:pt x="89" y="136"/>
                    </a:lnTo>
                    <a:lnTo>
                      <a:pt x="97" y="137"/>
                    </a:lnTo>
                    <a:lnTo>
                      <a:pt x="105" y="140"/>
                    </a:lnTo>
                    <a:lnTo>
                      <a:pt x="111" y="146"/>
                    </a:lnTo>
                    <a:lnTo>
                      <a:pt x="114" y="153"/>
                    </a:lnTo>
                    <a:lnTo>
                      <a:pt x="118" y="161"/>
                    </a:lnTo>
                    <a:lnTo>
                      <a:pt x="120" y="170"/>
                    </a:lnTo>
                    <a:lnTo>
                      <a:pt x="122" y="191"/>
                    </a:lnTo>
                    <a:lnTo>
                      <a:pt x="125" y="210"/>
                    </a:lnTo>
                    <a:lnTo>
                      <a:pt x="126" y="220"/>
                    </a:lnTo>
                    <a:lnTo>
                      <a:pt x="128" y="228"/>
                    </a:lnTo>
                    <a:lnTo>
                      <a:pt x="131" y="234"/>
                    </a:lnTo>
                    <a:lnTo>
                      <a:pt x="136" y="240"/>
                    </a:lnTo>
                    <a:lnTo>
                      <a:pt x="143" y="244"/>
                    </a:lnTo>
                    <a:lnTo>
                      <a:pt x="151" y="245"/>
                    </a:lnTo>
                    <a:lnTo>
                      <a:pt x="151" y="245"/>
                    </a:lnTo>
                    <a:lnTo>
                      <a:pt x="156" y="244"/>
                    </a:lnTo>
                    <a:lnTo>
                      <a:pt x="160" y="241"/>
                    </a:lnTo>
                    <a:lnTo>
                      <a:pt x="164" y="237"/>
                    </a:lnTo>
                    <a:lnTo>
                      <a:pt x="167" y="232"/>
                    </a:lnTo>
                    <a:lnTo>
                      <a:pt x="172" y="228"/>
                    </a:lnTo>
                    <a:lnTo>
                      <a:pt x="175" y="224"/>
                    </a:lnTo>
                    <a:lnTo>
                      <a:pt x="181" y="221"/>
                    </a:lnTo>
                    <a:lnTo>
                      <a:pt x="187" y="220"/>
                    </a:lnTo>
                    <a:lnTo>
                      <a:pt x="187" y="220"/>
                    </a:lnTo>
                    <a:lnTo>
                      <a:pt x="194" y="221"/>
                    </a:lnTo>
                    <a:lnTo>
                      <a:pt x="198" y="222"/>
                    </a:lnTo>
                    <a:lnTo>
                      <a:pt x="204" y="224"/>
                    </a:lnTo>
                    <a:lnTo>
                      <a:pt x="209" y="226"/>
                    </a:lnTo>
                    <a:lnTo>
                      <a:pt x="218" y="234"/>
                    </a:lnTo>
                    <a:lnTo>
                      <a:pt x="226" y="243"/>
                    </a:lnTo>
                    <a:lnTo>
                      <a:pt x="234" y="251"/>
                    </a:lnTo>
                    <a:lnTo>
                      <a:pt x="243" y="259"/>
                    </a:lnTo>
                    <a:lnTo>
                      <a:pt x="248" y="262"/>
                    </a:lnTo>
                    <a:lnTo>
                      <a:pt x="253" y="264"/>
                    </a:lnTo>
                    <a:lnTo>
                      <a:pt x="259" y="267"/>
                    </a:lnTo>
                    <a:lnTo>
                      <a:pt x="265" y="268"/>
                    </a:lnTo>
                    <a:lnTo>
                      <a:pt x="265" y="268"/>
                    </a:lnTo>
                    <a:lnTo>
                      <a:pt x="280" y="268"/>
                    </a:lnTo>
                    <a:lnTo>
                      <a:pt x="280" y="268"/>
                    </a:lnTo>
                    <a:lnTo>
                      <a:pt x="280" y="268"/>
                    </a:lnTo>
                    <a:lnTo>
                      <a:pt x="282" y="267"/>
                    </a:lnTo>
                    <a:lnTo>
                      <a:pt x="281" y="266"/>
                    </a:lnTo>
                    <a:lnTo>
                      <a:pt x="281" y="266"/>
                    </a:lnTo>
                    <a:lnTo>
                      <a:pt x="281" y="264"/>
                    </a:lnTo>
                    <a:lnTo>
                      <a:pt x="287" y="264"/>
                    </a:lnTo>
                    <a:lnTo>
                      <a:pt x="287" y="264"/>
                    </a:lnTo>
                    <a:lnTo>
                      <a:pt x="294" y="264"/>
                    </a:lnTo>
                    <a:lnTo>
                      <a:pt x="301" y="267"/>
                    </a:lnTo>
                    <a:lnTo>
                      <a:pt x="313" y="274"/>
                    </a:lnTo>
                    <a:lnTo>
                      <a:pt x="319" y="277"/>
                    </a:lnTo>
                    <a:lnTo>
                      <a:pt x="325" y="279"/>
                    </a:lnTo>
                    <a:lnTo>
                      <a:pt x="333" y="282"/>
                    </a:lnTo>
                    <a:lnTo>
                      <a:pt x="342" y="283"/>
                    </a:lnTo>
                    <a:lnTo>
                      <a:pt x="342" y="283"/>
                    </a:lnTo>
                    <a:lnTo>
                      <a:pt x="347" y="282"/>
                    </a:lnTo>
                    <a:lnTo>
                      <a:pt x="350" y="281"/>
                    </a:lnTo>
                    <a:lnTo>
                      <a:pt x="354" y="278"/>
                    </a:lnTo>
                    <a:lnTo>
                      <a:pt x="357" y="276"/>
                    </a:lnTo>
                    <a:lnTo>
                      <a:pt x="362" y="269"/>
                    </a:lnTo>
                    <a:lnTo>
                      <a:pt x="364" y="261"/>
                    </a:lnTo>
                    <a:lnTo>
                      <a:pt x="366" y="251"/>
                    </a:lnTo>
                    <a:lnTo>
                      <a:pt x="367" y="240"/>
                    </a:lnTo>
                    <a:lnTo>
                      <a:pt x="367" y="220"/>
                    </a:lnTo>
                    <a:lnTo>
                      <a:pt x="367" y="220"/>
                    </a:lnTo>
                    <a:lnTo>
                      <a:pt x="369" y="216"/>
                    </a:lnTo>
                    <a:lnTo>
                      <a:pt x="371" y="213"/>
                    </a:lnTo>
                    <a:lnTo>
                      <a:pt x="379" y="207"/>
                    </a:lnTo>
                    <a:lnTo>
                      <a:pt x="386" y="201"/>
                    </a:lnTo>
                    <a:lnTo>
                      <a:pt x="388" y="198"/>
                    </a:lnTo>
                    <a:lnTo>
                      <a:pt x="389" y="194"/>
                    </a:lnTo>
                    <a:lnTo>
                      <a:pt x="389" y="194"/>
                    </a:lnTo>
                    <a:lnTo>
                      <a:pt x="389" y="190"/>
                    </a:lnTo>
                    <a:lnTo>
                      <a:pt x="387" y="186"/>
                    </a:lnTo>
                    <a:lnTo>
                      <a:pt x="385" y="184"/>
                    </a:lnTo>
                    <a:lnTo>
                      <a:pt x="382" y="182"/>
                    </a:lnTo>
                    <a:lnTo>
                      <a:pt x="377" y="178"/>
                    </a:lnTo>
                    <a:lnTo>
                      <a:pt x="375" y="176"/>
                    </a:lnTo>
                    <a:lnTo>
                      <a:pt x="374" y="171"/>
                    </a:lnTo>
                    <a:lnTo>
                      <a:pt x="374" y="171"/>
                    </a:lnTo>
                    <a:lnTo>
                      <a:pt x="357" y="154"/>
                    </a:lnTo>
                    <a:lnTo>
                      <a:pt x="344" y="141"/>
                    </a:lnTo>
                    <a:lnTo>
                      <a:pt x="340" y="136"/>
                    </a:lnTo>
                    <a:lnTo>
                      <a:pt x="339" y="132"/>
                    </a:lnTo>
                    <a:lnTo>
                      <a:pt x="339" y="132"/>
                    </a:lnTo>
                    <a:lnTo>
                      <a:pt x="332" y="132"/>
                    </a:lnTo>
                    <a:lnTo>
                      <a:pt x="326" y="133"/>
                    </a:lnTo>
                    <a:lnTo>
                      <a:pt x="313" y="138"/>
                    </a:lnTo>
                    <a:lnTo>
                      <a:pt x="299" y="145"/>
                    </a:lnTo>
                    <a:lnTo>
                      <a:pt x="288" y="152"/>
                    </a:lnTo>
                    <a:lnTo>
                      <a:pt x="275" y="159"/>
                    </a:lnTo>
                    <a:lnTo>
                      <a:pt x="264" y="165"/>
                    </a:lnTo>
                    <a:lnTo>
                      <a:pt x="252" y="170"/>
                    </a:lnTo>
                    <a:lnTo>
                      <a:pt x="248" y="171"/>
                    </a:lnTo>
                    <a:lnTo>
                      <a:pt x="242" y="171"/>
                    </a:lnTo>
                    <a:lnTo>
                      <a:pt x="242" y="171"/>
                    </a:lnTo>
                    <a:lnTo>
                      <a:pt x="234" y="170"/>
                    </a:lnTo>
                    <a:lnTo>
                      <a:pt x="227" y="168"/>
                    </a:lnTo>
                    <a:lnTo>
                      <a:pt x="220" y="162"/>
                    </a:lnTo>
                    <a:lnTo>
                      <a:pt x="214" y="156"/>
                    </a:lnTo>
                    <a:lnTo>
                      <a:pt x="209" y="148"/>
                    </a:lnTo>
                    <a:lnTo>
                      <a:pt x="205" y="139"/>
                    </a:lnTo>
                    <a:lnTo>
                      <a:pt x="203" y="130"/>
                    </a:lnTo>
                    <a:lnTo>
                      <a:pt x="202" y="121"/>
                    </a:lnTo>
                    <a:lnTo>
                      <a:pt x="202" y="121"/>
                    </a:lnTo>
                    <a:lnTo>
                      <a:pt x="202" y="98"/>
                    </a:lnTo>
                    <a:lnTo>
                      <a:pt x="201" y="83"/>
                    </a:lnTo>
                    <a:lnTo>
                      <a:pt x="197" y="68"/>
                    </a:lnTo>
                    <a:lnTo>
                      <a:pt x="194" y="54"/>
                    </a:lnTo>
                    <a:lnTo>
                      <a:pt x="191" y="48"/>
                    </a:lnTo>
                    <a:lnTo>
                      <a:pt x="188" y="43"/>
                    </a:lnTo>
                    <a:lnTo>
                      <a:pt x="184" y="39"/>
                    </a:lnTo>
                    <a:lnTo>
                      <a:pt x="180" y="35"/>
                    </a:lnTo>
                    <a:lnTo>
                      <a:pt x="175" y="33"/>
                    </a:lnTo>
                    <a:lnTo>
                      <a:pt x="168" y="32"/>
                    </a:lnTo>
                    <a:lnTo>
                      <a:pt x="168" y="32"/>
                    </a:lnTo>
                    <a:lnTo>
                      <a:pt x="153" y="31"/>
                    </a:lnTo>
                    <a:lnTo>
                      <a:pt x="144" y="29"/>
                    </a:lnTo>
                    <a:lnTo>
                      <a:pt x="134" y="25"/>
                    </a:lnTo>
                    <a:lnTo>
                      <a:pt x="125" y="22"/>
                    </a:lnTo>
                    <a:lnTo>
                      <a:pt x="118" y="16"/>
                    </a:lnTo>
                    <a:lnTo>
                      <a:pt x="114" y="12"/>
                    </a:lnTo>
                    <a:lnTo>
                      <a:pt x="112" y="8"/>
                    </a:lnTo>
                    <a:lnTo>
                      <a:pt x="111" y="4"/>
                    </a:lnTo>
                    <a:lnTo>
                      <a:pt x="110" y="0"/>
                    </a:lnTo>
                    <a:lnTo>
                      <a:pt x="110" y="0"/>
                    </a:lnTo>
                    <a:lnTo>
                      <a:pt x="110" y="0"/>
                    </a:lnTo>
                    <a:lnTo>
                      <a:pt x="110" y="3"/>
                    </a:lnTo>
                    <a:lnTo>
                      <a:pt x="110" y="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4" name="Freeform 109"/>
              <p:cNvSpPr>
                <a:spLocks noChangeAspect="1"/>
              </p:cNvSpPr>
              <p:nvPr/>
            </p:nvSpPr>
            <p:spPr bwMode="auto">
              <a:xfrm>
                <a:off x="3968383" y="5139768"/>
                <a:ext cx="424809" cy="365986"/>
              </a:xfrm>
              <a:custGeom>
                <a:avLst/>
                <a:gdLst/>
                <a:ahLst/>
                <a:cxnLst>
                  <a:cxn ang="0">
                    <a:pos x="3" y="300"/>
                  </a:cxn>
                  <a:cxn ang="0">
                    <a:pos x="1" y="315"/>
                  </a:cxn>
                  <a:cxn ang="0">
                    <a:pos x="9" y="336"/>
                  </a:cxn>
                  <a:cxn ang="0">
                    <a:pos x="42" y="355"/>
                  </a:cxn>
                  <a:cxn ang="0">
                    <a:pos x="71" y="372"/>
                  </a:cxn>
                  <a:cxn ang="0">
                    <a:pos x="70" y="407"/>
                  </a:cxn>
                  <a:cxn ang="0">
                    <a:pos x="73" y="425"/>
                  </a:cxn>
                  <a:cxn ang="0">
                    <a:pos x="88" y="440"/>
                  </a:cxn>
                  <a:cxn ang="0">
                    <a:pos x="135" y="451"/>
                  </a:cxn>
                  <a:cxn ang="0">
                    <a:pos x="149" y="462"/>
                  </a:cxn>
                  <a:cxn ang="0">
                    <a:pos x="162" y="475"/>
                  </a:cxn>
                  <a:cxn ang="0">
                    <a:pos x="178" y="476"/>
                  </a:cxn>
                  <a:cxn ang="0">
                    <a:pos x="200" y="463"/>
                  </a:cxn>
                  <a:cxn ang="0">
                    <a:pos x="225" y="438"/>
                  </a:cxn>
                  <a:cxn ang="0">
                    <a:pos x="242" y="432"/>
                  </a:cxn>
                  <a:cxn ang="0">
                    <a:pos x="246" y="491"/>
                  </a:cxn>
                  <a:cxn ang="0">
                    <a:pos x="269" y="517"/>
                  </a:cxn>
                  <a:cxn ang="0">
                    <a:pos x="292" y="525"/>
                  </a:cxn>
                  <a:cxn ang="0">
                    <a:pos x="339" y="516"/>
                  </a:cxn>
                  <a:cxn ang="0">
                    <a:pos x="356" y="502"/>
                  </a:cxn>
                  <a:cxn ang="0">
                    <a:pos x="374" y="472"/>
                  </a:cxn>
                  <a:cxn ang="0">
                    <a:pos x="405" y="463"/>
                  </a:cxn>
                  <a:cxn ang="0">
                    <a:pos x="463" y="458"/>
                  </a:cxn>
                  <a:cxn ang="0">
                    <a:pos x="497" y="436"/>
                  </a:cxn>
                  <a:cxn ang="0">
                    <a:pos x="506" y="399"/>
                  </a:cxn>
                  <a:cxn ang="0">
                    <a:pos x="496" y="370"/>
                  </a:cxn>
                  <a:cxn ang="0">
                    <a:pos x="499" y="354"/>
                  </a:cxn>
                  <a:cxn ang="0">
                    <a:pos x="513" y="339"/>
                  </a:cxn>
                  <a:cxn ang="0">
                    <a:pos x="536" y="337"/>
                  </a:cxn>
                  <a:cxn ang="0">
                    <a:pos x="530" y="315"/>
                  </a:cxn>
                  <a:cxn ang="0">
                    <a:pos x="500" y="285"/>
                  </a:cxn>
                  <a:cxn ang="0">
                    <a:pos x="465" y="249"/>
                  </a:cxn>
                  <a:cxn ang="0">
                    <a:pos x="455" y="214"/>
                  </a:cxn>
                  <a:cxn ang="0">
                    <a:pos x="437" y="171"/>
                  </a:cxn>
                  <a:cxn ang="0">
                    <a:pos x="414" y="197"/>
                  </a:cxn>
                  <a:cxn ang="0">
                    <a:pos x="398" y="200"/>
                  </a:cxn>
                  <a:cxn ang="0">
                    <a:pos x="364" y="187"/>
                  </a:cxn>
                  <a:cxn ang="0">
                    <a:pos x="361" y="171"/>
                  </a:cxn>
                  <a:cxn ang="0">
                    <a:pos x="367" y="135"/>
                  </a:cxn>
                  <a:cxn ang="0">
                    <a:pos x="358" y="128"/>
                  </a:cxn>
                  <a:cxn ang="0">
                    <a:pos x="358" y="113"/>
                  </a:cxn>
                  <a:cxn ang="0">
                    <a:pos x="381" y="80"/>
                  </a:cxn>
                  <a:cxn ang="0">
                    <a:pos x="408" y="51"/>
                  </a:cxn>
                  <a:cxn ang="0">
                    <a:pos x="389" y="27"/>
                  </a:cxn>
                  <a:cxn ang="0">
                    <a:pos x="340" y="18"/>
                  </a:cxn>
                  <a:cxn ang="0">
                    <a:pos x="293" y="4"/>
                  </a:cxn>
                  <a:cxn ang="0">
                    <a:pos x="263" y="5"/>
                  </a:cxn>
                  <a:cxn ang="0">
                    <a:pos x="244" y="23"/>
                  </a:cxn>
                  <a:cxn ang="0">
                    <a:pos x="245" y="46"/>
                  </a:cxn>
                  <a:cxn ang="0">
                    <a:pos x="257" y="69"/>
                  </a:cxn>
                  <a:cxn ang="0">
                    <a:pos x="260" y="89"/>
                  </a:cxn>
                  <a:cxn ang="0">
                    <a:pos x="245" y="107"/>
                  </a:cxn>
                  <a:cxn ang="0">
                    <a:pos x="191" y="119"/>
                  </a:cxn>
                  <a:cxn ang="0">
                    <a:pos x="157" y="124"/>
                  </a:cxn>
                  <a:cxn ang="0">
                    <a:pos x="129" y="139"/>
                  </a:cxn>
                  <a:cxn ang="0">
                    <a:pos x="36" y="182"/>
                  </a:cxn>
                  <a:cxn ang="0">
                    <a:pos x="2" y="208"/>
                  </a:cxn>
                  <a:cxn ang="0">
                    <a:pos x="2" y="219"/>
                  </a:cxn>
                  <a:cxn ang="0">
                    <a:pos x="23" y="234"/>
                  </a:cxn>
                  <a:cxn ang="0">
                    <a:pos x="42" y="248"/>
                  </a:cxn>
                  <a:cxn ang="0">
                    <a:pos x="43" y="261"/>
                  </a:cxn>
                  <a:cxn ang="0">
                    <a:pos x="34" y="277"/>
                  </a:cxn>
                  <a:cxn ang="0">
                    <a:pos x="3" y="296"/>
                  </a:cxn>
                </a:cxnLst>
                <a:rect l="0" t="0" r="r" b="b"/>
                <a:pathLst>
                  <a:path w="536" h="525">
                    <a:moveTo>
                      <a:pt x="7" y="293"/>
                    </a:moveTo>
                    <a:lnTo>
                      <a:pt x="7" y="293"/>
                    </a:lnTo>
                    <a:lnTo>
                      <a:pt x="7" y="296"/>
                    </a:lnTo>
                    <a:lnTo>
                      <a:pt x="3" y="300"/>
                    </a:lnTo>
                    <a:lnTo>
                      <a:pt x="1" y="304"/>
                    </a:lnTo>
                    <a:lnTo>
                      <a:pt x="0" y="307"/>
                    </a:lnTo>
                    <a:lnTo>
                      <a:pt x="0" y="307"/>
                    </a:lnTo>
                    <a:lnTo>
                      <a:pt x="1" y="315"/>
                    </a:lnTo>
                    <a:lnTo>
                      <a:pt x="2" y="321"/>
                    </a:lnTo>
                    <a:lnTo>
                      <a:pt x="3" y="326"/>
                    </a:lnTo>
                    <a:lnTo>
                      <a:pt x="7" y="331"/>
                    </a:lnTo>
                    <a:lnTo>
                      <a:pt x="9" y="336"/>
                    </a:lnTo>
                    <a:lnTo>
                      <a:pt x="13" y="339"/>
                    </a:lnTo>
                    <a:lnTo>
                      <a:pt x="22" y="346"/>
                    </a:lnTo>
                    <a:lnTo>
                      <a:pt x="32" y="350"/>
                    </a:lnTo>
                    <a:lnTo>
                      <a:pt x="42" y="355"/>
                    </a:lnTo>
                    <a:lnTo>
                      <a:pt x="63" y="362"/>
                    </a:lnTo>
                    <a:lnTo>
                      <a:pt x="63" y="362"/>
                    </a:lnTo>
                    <a:lnTo>
                      <a:pt x="68" y="367"/>
                    </a:lnTo>
                    <a:lnTo>
                      <a:pt x="71" y="372"/>
                    </a:lnTo>
                    <a:lnTo>
                      <a:pt x="72" y="379"/>
                    </a:lnTo>
                    <a:lnTo>
                      <a:pt x="73" y="385"/>
                    </a:lnTo>
                    <a:lnTo>
                      <a:pt x="71" y="400"/>
                    </a:lnTo>
                    <a:lnTo>
                      <a:pt x="70" y="407"/>
                    </a:lnTo>
                    <a:lnTo>
                      <a:pt x="70" y="414"/>
                    </a:lnTo>
                    <a:lnTo>
                      <a:pt x="70" y="414"/>
                    </a:lnTo>
                    <a:lnTo>
                      <a:pt x="71" y="420"/>
                    </a:lnTo>
                    <a:lnTo>
                      <a:pt x="73" y="425"/>
                    </a:lnTo>
                    <a:lnTo>
                      <a:pt x="76" y="430"/>
                    </a:lnTo>
                    <a:lnTo>
                      <a:pt x="79" y="433"/>
                    </a:lnTo>
                    <a:lnTo>
                      <a:pt x="84" y="437"/>
                    </a:lnTo>
                    <a:lnTo>
                      <a:pt x="88" y="440"/>
                    </a:lnTo>
                    <a:lnTo>
                      <a:pt x="99" y="445"/>
                    </a:lnTo>
                    <a:lnTo>
                      <a:pt x="111" y="448"/>
                    </a:lnTo>
                    <a:lnTo>
                      <a:pt x="123" y="449"/>
                    </a:lnTo>
                    <a:lnTo>
                      <a:pt x="135" y="451"/>
                    </a:lnTo>
                    <a:lnTo>
                      <a:pt x="147" y="451"/>
                    </a:lnTo>
                    <a:lnTo>
                      <a:pt x="147" y="451"/>
                    </a:lnTo>
                    <a:lnTo>
                      <a:pt x="148" y="458"/>
                    </a:lnTo>
                    <a:lnTo>
                      <a:pt x="149" y="462"/>
                    </a:lnTo>
                    <a:lnTo>
                      <a:pt x="152" y="467"/>
                    </a:lnTo>
                    <a:lnTo>
                      <a:pt x="154" y="470"/>
                    </a:lnTo>
                    <a:lnTo>
                      <a:pt x="158" y="474"/>
                    </a:lnTo>
                    <a:lnTo>
                      <a:pt x="162" y="475"/>
                    </a:lnTo>
                    <a:lnTo>
                      <a:pt x="167" y="476"/>
                    </a:lnTo>
                    <a:lnTo>
                      <a:pt x="172" y="477"/>
                    </a:lnTo>
                    <a:lnTo>
                      <a:pt x="172" y="477"/>
                    </a:lnTo>
                    <a:lnTo>
                      <a:pt x="178" y="476"/>
                    </a:lnTo>
                    <a:lnTo>
                      <a:pt x="184" y="475"/>
                    </a:lnTo>
                    <a:lnTo>
                      <a:pt x="188" y="472"/>
                    </a:lnTo>
                    <a:lnTo>
                      <a:pt x="192" y="470"/>
                    </a:lnTo>
                    <a:lnTo>
                      <a:pt x="200" y="463"/>
                    </a:lnTo>
                    <a:lnTo>
                      <a:pt x="207" y="456"/>
                    </a:lnTo>
                    <a:lnTo>
                      <a:pt x="213" y="448"/>
                    </a:lnTo>
                    <a:lnTo>
                      <a:pt x="221" y="440"/>
                    </a:lnTo>
                    <a:lnTo>
                      <a:pt x="225" y="438"/>
                    </a:lnTo>
                    <a:lnTo>
                      <a:pt x="230" y="436"/>
                    </a:lnTo>
                    <a:lnTo>
                      <a:pt x="236" y="433"/>
                    </a:lnTo>
                    <a:lnTo>
                      <a:pt x="242" y="432"/>
                    </a:lnTo>
                    <a:lnTo>
                      <a:pt x="242" y="432"/>
                    </a:lnTo>
                    <a:lnTo>
                      <a:pt x="242" y="477"/>
                    </a:lnTo>
                    <a:lnTo>
                      <a:pt x="242" y="477"/>
                    </a:lnTo>
                    <a:lnTo>
                      <a:pt x="244" y="484"/>
                    </a:lnTo>
                    <a:lnTo>
                      <a:pt x="246" y="491"/>
                    </a:lnTo>
                    <a:lnTo>
                      <a:pt x="249" y="497"/>
                    </a:lnTo>
                    <a:lnTo>
                      <a:pt x="254" y="501"/>
                    </a:lnTo>
                    <a:lnTo>
                      <a:pt x="264" y="512"/>
                    </a:lnTo>
                    <a:lnTo>
                      <a:pt x="269" y="517"/>
                    </a:lnTo>
                    <a:lnTo>
                      <a:pt x="271" y="524"/>
                    </a:lnTo>
                    <a:lnTo>
                      <a:pt x="271" y="524"/>
                    </a:lnTo>
                    <a:lnTo>
                      <a:pt x="282" y="525"/>
                    </a:lnTo>
                    <a:lnTo>
                      <a:pt x="292" y="525"/>
                    </a:lnTo>
                    <a:lnTo>
                      <a:pt x="305" y="525"/>
                    </a:lnTo>
                    <a:lnTo>
                      <a:pt x="318" y="524"/>
                    </a:lnTo>
                    <a:lnTo>
                      <a:pt x="332" y="520"/>
                    </a:lnTo>
                    <a:lnTo>
                      <a:pt x="339" y="516"/>
                    </a:lnTo>
                    <a:lnTo>
                      <a:pt x="345" y="513"/>
                    </a:lnTo>
                    <a:lnTo>
                      <a:pt x="352" y="508"/>
                    </a:lnTo>
                    <a:lnTo>
                      <a:pt x="356" y="502"/>
                    </a:lnTo>
                    <a:lnTo>
                      <a:pt x="356" y="502"/>
                    </a:lnTo>
                    <a:lnTo>
                      <a:pt x="359" y="492"/>
                    </a:lnTo>
                    <a:lnTo>
                      <a:pt x="363" y="484"/>
                    </a:lnTo>
                    <a:lnTo>
                      <a:pt x="368" y="478"/>
                    </a:lnTo>
                    <a:lnTo>
                      <a:pt x="374" y="472"/>
                    </a:lnTo>
                    <a:lnTo>
                      <a:pt x="381" y="469"/>
                    </a:lnTo>
                    <a:lnTo>
                      <a:pt x="389" y="467"/>
                    </a:lnTo>
                    <a:lnTo>
                      <a:pt x="397" y="464"/>
                    </a:lnTo>
                    <a:lnTo>
                      <a:pt x="405" y="463"/>
                    </a:lnTo>
                    <a:lnTo>
                      <a:pt x="422" y="462"/>
                    </a:lnTo>
                    <a:lnTo>
                      <a:pt x="439" y="461"/>
                    </a:lnTo>
                    <a:lnTo>
                      <a:pt x="456" y="459"/>
                    </a:lnTo>
                    <a:lnTo>
                      <a:pt x="463" y="458"/>
                    </a:lnTo>
                    <a:lnTo>
                      <a:pt x="470" y="454"/>
                    </a:lnTo>
                    <a:lnTo>
                      <a:pt x="470" y="454"/>
                    </a:lnTo>
                    <a:lnTo>
                      <a:pt x="484" y="446"/>
                    </a:lnTo>
                    <a:lnTo>
                      <a:pt x="497" y="436"/>
                    </a:lnTo>
                    <a:lnTo>
                      <a:pt x="522" y="417"/>
                    </a:lnTo>
                    <a:lnTo>
                      <a:pt x="522" y="417"/>
                    </a:lnTo>
                    <a:lnTo>
                      <a:pt x="514" y="410"/>
                    </a:lnTo>
                    <a:lnTo>
                      <a:pt x="506" y="399"/>
                    </a:lnTo>
                    <a:lnTo>
                      <a:pt x="501" y="393"/>
                    </a:lnTo>
                    <a:lnTo>
                      <a:pt x="499" y="386"/>
                    </a:lnTo>
                    <a:lnTo>
                      <a:pt x="497" y="378"/>
                    </a:lnTo>
                    <a:lnTo>
                      <a:pt x="496" y="370"/>
                    </a:lnTo>
                    <a:lnTo>
                      <a:pt x="496" y="370"/>
                    </a:lnTo>
                    <a:lnTo>
                      <a:pt x="496" y="364"/>
                    </a:lnTo>
                    <a:lnTo>
                      <a:pt x="497" y="360"/>
                    </a:lnTo>
                    <a:lnTo>
                      <a:pt x="499" y="354"/>
                    </a:lnTo>
                    <a:lnTo>
                      <a:pt x="501" y="349"/>
                    </a:lnTo>
                    <a:lnTo>
                      <a:pt x="505" y="345"/>
                    </a:lnTo>
                    <a:lnTo>
                      <a:pt x="508" y="341"/>
                    </a:lnTo>
                    <a:lnTo>
                      <a:pt x="513" y="339"/>
                    </a:lnTo>
                    <a:lnTo>
                      <a:pt x="519" y="337"/>
                    </a:lnTo>
                    <a:lnTo>
                      <a:pt x="519" y="337"/>
                    </a:lnTo>
                    <a:lnTo>
                      <a:pt x="536" y="337"/>
                    </a:lnTo>
                    <a:lnTo>
                      <a:pt x="536" y="337"/>
                    </a:lnTo>
                    <a:lnTo>
                      <a:pt x="536" y="337"/>
                    </a:lnTo>
                    <a:lnTo>
                      <a:pt x="536" y="329"/>
                    </a:lnTo>
                    <a:lnTo>
                      <a:pt x="534" y="322"/>
                    </a:lnTo>
                    <a:lnTo>
                      <a:pt x="530" y="315"/>
                    </a:lnTo>
                    <a:lnTo>
                      <a:pt x="526" y="308"/>
                    </a:lnTo>
                    <a:lnTo>
                      <a:pt x="520" y="302"/>
                    </a:lnTo>
                    <a:lnTo>
                      <a:pt x="514" y="296"/>
                    </a:lnTo>
                    <a:lnTo>
                      <a:pt x="500" y="285"/>
                    </a:lnTo>
                    <a:lnTo>
                      <a:pt x="486" y="273"/>
                    </a:lnTo>
                    <a:lnTo>
                      <a:pt x="475" y="262"/>
                    </a:lnTo>
                    <a:lnTo>
                      <a:pt x="469" y="256"/>
                    </a:lnTo>
                    <a:lnTo>
                      <a:pt x="465" y="249"/>
                    </a:lnTo>
                    <a:lnTo>
                      <a:pt x="461" y="241"/>
                    </a:lnTo>
                    <a:lnTo>
                      <a:pt x="459" y="233"/>
                    </a:lnTo>
                    <a:lnTo>
                      <a:pt x="459" y="233"/>
                    </a:lnTo>
                    <a:lnTo>
                      <a:pt x="455" y="214"/>
                    </a:lnTo>
                    <a:lnTo>
                      <a:pt x="451" y="197"/>
                    </a:lnTo>
                    <a:lnTo>
                      <a:pt x="445" y="184"/>
                    </a:lnTo>
                    <a:lnTo>
                      <a:pt x="437" y="171"/>
                    </a:lnTo>
                    <a:lnTo>
                      <a:pt x="437" y="171"/>
                    </a:lnTo>
                    <a:lnTo>
                      <a:pt x="431" y="179"/>
                    </a:lnTo>
                    <a:lnTo>
                      <a:pt x="423" y="189"/>
                    </a:lnTo>
                    <a:lnTo>
                      <a:pt x="419" y="194"/>
                    </a:lnTo>
                    <a:lnTo>
                      <a:pt x="414" y="197"/>
                    </a:lnTo>
                    <a:lnTo>
                      <a:pt x="409" y="200"/>
                    </a:lnTo>
                    <a:lnTo>
                      <a:pt x="404" y="201"/>
                    </a:lnTo>
                    <a:lnTo>
                      <a:pt x="404" y="201"/>
                    </a:lnTo>
                    <a:lnTo>
                      <a:pt x="398" y="200"/>
                    </a:lnTo>
                    <a:lnTo>
                      <a:pt x="391" y="199"/>
                    </a:lnTo>
                    <a:lnTo>
                      <a:pt x="376" y="194"/>
                    </a:lnTo>
                    <a:lnTo>
                      <a:pt x="370" y="191"/>
                    </a:lnTo>
                    <a:lnTo>
                      <a:pt x="364" y="187"/>
                    </a:lnTo>
                    <a:lnTo>
                      <a:pt x="361" y="182"/>
                    </a:lnTo>
                    <a:lnTo>
                      <a:pt x="360" y="179"/>
                    </a:lnTo>
                    <a:lnTo>
                      <a:pt x="360" y="179"/>
                    </a:lnTo>
                    <a:lnTo>
                      <a:pt x="361" y="171"/>
                    </a:lnTo>
                    <a:lnTo>
                      <a:pt x="362" y="164"/>
                    </a:lnTo>
                    <a:lnTo>
                      <a:pt x="367" y="149"/>
                    </a:lnTo>
                    <a:lnTo>
                      <a:pt x="367" y="149"/>
                    </a:lnTo>
                    <a:lnTo>
                      <a:pt x="367" y="135"/>
                    </a:lnTo>
                    <a:lnTo>
                      <a:pt x="367" y="135"/>
                    </a:lnTo>
                    <a:lnTo>
                      <a:pt x="367" y="135"/>
                    </a:lnTo>
                    <a:lnTo>
                      <a:pt x="362" y="132"/>
                    </a:lnTo>
                    <a:lnTo>
                      <a:pt x="358" y="128"/>
                    </a:lnTo>
                    <a:lnTo>
                      <a:pt x="356" y="126"/>
                    </a:lnTo>
                    <a:lnTo>
                      <a:pt x="356" y="124"/>
                    </a:lnTo>
                    <a:lnTo>
                      <a:pt x="356" y="124"/>
                    </a:lnTo>
                    <a:lnTo>
                      <a:pt x="358" y="113"/>
                    </a:lnTo>
                    <a:lnTo>
                      <a:pt x="361" y="103"/>
                    </a:lnTo>
                    <a:lnTo>
                      <a:pt x="366" y="95"/>
                    </a:lnTo>
                    <a:lnTo>
                      <a:pt x="372" y="87"/>
                    </a:lnTo>
                    <a:lnTo>
                      <a:pt x="381" y="80"/>
                    </a:lnTo>
                    <a:lnTo>
                      <a:pt x="389" y="73"/>
                    </a:lnTo>
                    <a:lnTo>
                      <a:pt x="407" y="62"/>
                    </a:lnTo>
                    <a:lnTo>
                      <a:pt x="407" y="62"/>
                    </a:lnTo>
                    <a:lnTo>
                      <a:pt x="408" y="51"/>
                    </a:lnTo>
                    <a:lnTo>
                      <a:pt x="406" y="43"/>
                    </a:lnTo>
                    <a:lnTo>
                      <a:pt x="401" y="36"/>
                    </a:lnTo>
                    <a:lnTo>
                      <a:pt x="395" y="32"/>
                    </a:lnTo>
                    <a:lnTo>
                      <a:pt x="389" y="27"/>
                    </a:lnTo>
                    <a:lnTo>
                      <a:pt x="381" y="25"/>
                    </a:lnTo>
                    <a:lnTo>
                      <a:pt x="371" y="23"/>
                    </a:lnTo>
                    <a:lnTo>
                      <a:pt x="361" y="20"/>
                    </a:lnTo>
                    <a:lnTo>
                      <a:pt x="340" y="18"/>
                    </a:lnTo>
                    <a:lnTo>
                      <a:pt x="318" y="14"/>
                    </a:lnTo>
                    <a:lnTo>
                      <a:pt x="309" y="12"/>
                    </a:lnTo>
                    <a:lnTo>
                      <a:pt x="300" y="9"/>
                    </a:lnTo>
                    <a:lnTo>
                      <a:pt x="293" y="4"/>
                    </a:lnTo>
                    <a:lnTo>
                      <a:pt x="286" y="0"/>
                    </a:lnTo>
                    <a:lnTo>
                      <a:pt x="286" y="0"/>
                    </a:lnTo>
                    <a:lnTo>
                      <a:pt x="270" y="3"/>
                    </a:lnTo>
                    <a:lnTo>
                      <a:pt x="263" y="5"/>
                    </a:lnTo>
                    <a:lnTo>
                      <a:pt x="256" y="8"/>
                    </a:lnTo>
                    <a:lnTo>
                      <a:pt x="251" y="12"/>
                    </a:lnTo>
                    <a:lnTo>
                      <a:pt x="246" y="17"/>
                    </a:lnTo>
                    <a:lnTo>
                      <a:pt x="244" y="23"/>
                    </a:lnTo>
                    <a:lnTo>
                      <a:pt x="242" y="28"/>
                    </a:lnTo>
                    <a:lnTo>
                      <a:pt x="242" y="28"/>
                    </a:lnTo>
                    <a:lnTo>
                      <a:pt x="244" y="39"/>
                    </a:lnTo>
                    <a:lnTo>
                      <a:pt x="245" y="46"/>
                    </a:lnTo>
                    <a:lnTo>
                      <a:pt x="248" y="52"/>
                    </a:lnTo>
                    <a:lnTo>
                      <a:pt x="252" y="57"/>
                    </a:lnTo>
                    <a:lnTo>
                      <a:pt x="255" y="63"/>
                    </a:lnTo>
                    <a:lnTo>
                      <a:pt x="257" y="69"/>
                    </a:lnTo>
                    <a:lnTo>
                      <a:pt x="260" y="74"/>
                    </a:lnTo>
                    <a:lnTo>
                      <a:pt x="261" y="84"/>
                    </a:lnTo>
                    <a:lnTo>
                      <a:pt x="261" y="84"/>
                    </a:lnTo>
                    <a:lnTo>
                      <a:pt x="260" y="89"/>
                    </a:lnTo>
                    <a:lnTo>
                      <a:pt x="257" y="94"/>
                    </a:lnTo>
                    <a:lnTo>
                      <a:pt x="254" y="98"/>
                    </a:lnTo>
                    <a:lnTo>
                      <a:pt x="249" y="103"/>
                    </a:lnTo>
                    <a:lnTo>
                      <a:pt x="245" y="107"/>
                    </a:lnTo>
                    <a:lnTo>
                      <a:pt x="238" y="109"/>
                    </a:lnTo>
                    <a:lnTo>
                      <a:pt x="224" y="113"/>
                    </a:lnTo>
                    <a:lnTo>
                      <a:pt x="208" y="117"/>
                    </a:lnTo>
                    <a:lnTo>
                      <a:pt x="191" y="119"/>
                    </a:lnTo>
                    <a:lnTo>
                      <a:pt x="176" y="121"/>
                    </a:lnTo>
                    <a:lnTo>
                      <a:pt x="162" y="124"/>
                    </a:lnTo>
                    <a:lnTo>
                      <a:pt x="162" y="124"/>
                    </a:lnTo>
                    <a:lnTo>
                      <a:pt x="157" y="124"/>
                    </a:lnTo>
                    <a:lnTo>
                      <a:pt x="153" y="125"/>
                    </a:lnTo>
                    <a:lnTo>
                      <a:pt x="145" y="128"/>
                    </a:lnTo>
                    <a:lnTo>
                      <a:pt x="138" y="133"/>
                    </a:lnTo>
                    <a:lnTo>
                      <a:pt x="129" y="139"/>
                    </a:lnTo>
                    <a:lnTo>
                      <a:pt x="129" y="139"/>
                    </a:lnTo>
                    <a:lnTo>
                      <a:pt x="102" y="150"/>
                    </a:lnTo>
                    <a:lnTo>
                      <a:pt x="58" y="171"/>
                    </a:lnTo>
                    <a:lnTo>
                      <a:pt x="36" y="182"/>
                    </a:lnTo>
                    <a:lnTo>
                      <a:pt x="18" y="194"/>
                    </a:lnTo>
                    <a:lnTo>
                      <a:pt x="11" y="199"/>
                    </a:lnTo>
                    <a:lnTo>
                      <a:pt x="5" y="204"/>
                    </a:lnTo>
                    <a:lnTo>
                      <a:pt x="2" y="208"/>
                    </a:lnTo>
                    <a:lnTo>
                      <a:pt x="0" y="212"/>
                    </a:lnTo>
                    <a:lnTo>
                      <a:pt x="0" y="212"/>
                    </a:lnTo>
                    <a:lnTo>
                      <a:pt x="1" y="216"/>
                    </a:lnTo>
                    <a:lnTo>
                      <a:pt x="2" y="219"/>
                    </a:lnTo>
                    <a:lnTo>
                      <a:pt x="4" y="222"/>
                    </a:lnTo>
                    <a:lnTo>
                      <a:pt x="7" y="225"/>
                    </a:lnTo>
                    <a:lnTo>
                      <a:pt x="15" y="230"/>
                    </a:lnTo>
                    <a:lnTo>
                      <a:pt x="23" y="234"/>
                    </a:lnTo>
                    <a:lnTo>
                      <a:pt x="31" y="238"/>
                    </a:lnTo>
                    <a:lnTo>
                      <a:pt x="38" y="242"/>
                    </a:lnTo>
                    <a:lnTo>
                      <a:pt x="40" y="246"/>
                    </a:lnTo>
                    <a:lnTo>
                      <a:pt x="42" y="248"/>
                    </a:lnTo>
                    <a:lnTo>
                      <a:pt x="43" y="252"/>
                    </a:lnTo>
                    <a:lnTo>
                      <a:pt x="45" y="256"/>
                    </a:lnTo>
                    <a:lnTo>
                      <a:pt x="45" y="256"/>
                    </a:lnTo>
                    <a:lnTo>
                      <a:pt x="43" y="261"/>
                    </a:lnTo>
                    <a:lnTo>
                      <a:pt x="43" y="265"/>
                    </a:lnTo>
                    <a:lnTo>
                      <a:pt x="41" y="269"/>
                    </a:lnTo>
                    <a:lnTo>
                      <a:pt x="40" y="272"/>
                    </a:lnTo>
                    <a:lnTo>
                      <a:pt x="34" y="277"/>
                    </a:lnTo>
                    <a:lnTo>
                      <a:pt x="28" y="280"/>
                    </a:lnTo>
                    <a:lnTo>
                      <a:pt x="15" y="286"/>
                    </a:lnTo>
                    <a:lnTo>
                      <a:pt x="9" y="291"/>
                    </a:lnTo>
                    <a:lnTo>
                      <a:pt x="3" y="296"/>
                    </a:lnTo>
                    <a:lnTo>
                      <a:pt x="3" y="296"/>
                    </a:lnTo>
                    <a:lnTo>
                      <a:pt x="7" y="293"/>
                    </a:lnTo>
                    <a:lnTo>
                      <a:pt x="7" y="29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5" name="Freeform 110"/>
              <p:cNvSpPr>
                <a:spLocks noChangeAspect="1"/>
              </p:cNvSpPr>
              <p:nvPr/>
            </p:nvSpPr>
            <p:spPr bwMode="auto">
              <a:xfrm>
                <a:off x="5014555" y="4388314"/>
                <a:ext cx="1149204" cy="924010"/>
              </a:xfrm>
              <a:custGeom>
                <a:avLst/>
                <a:gdLst/>
                <a:ahLst/>
                <a:cxnLst>
                  <a:cxn ang="0">
                    <a:pos x="1333" y="253"/>
                  </a:cxn>
                  <a:cxn ang="0">
                    <a:pos x="1249" y="99"/>
                  </a:cxn>
                  <a:cxn ang="0">
                    <a:pos x="1249" y="44"/>
                  </a:cxn>
                  <a:cxn ang="0">
                    <a:pos x="1216" y="22"/>
                  </a:cxn>
                  <a:cxn ang="0">
                    <a:pos x="1142" y="128"/>
                  </a:cxn>
                  <a:cxn ang="0">
                    <a:pos x="1113" y="165"/>
                  </a:cxn>
                  <a:cxn ang="0">
                    <a:pos x="1065" y="159"/>
                  </a:cxn>
                  <a:cxn ang="0">
                    <a:pos x="1014" y="138"/>
                  </a:cxn>
                  <a:cxn ang="0">
                    <a:pos x="954" y="157"/>
                  </a:cxn>
                  <a:cxn ang="0">
                    <a:pos x="908" y="156"/>
                  </a:cxn>
                  <a:cxn ang="0">
                    <a:pos x="841" y="193"/>
                  </a:cxn>
                  <a:cxn ang="0">
                    <a:pos x="803" y="228"/>
                  </a:cxn>
                  <a:cxn ang="0">
                    <a:pos x="736" y="275"/>
                  </a:cxn>
                  <a:cxn ang="0">
                    <a:pos x="731" y="325"/>
                  </a:cxn>
                  <a:cxn ang="0">
                    <a:pos x="766" y="384"/>
                  </a:cxn>
                  <a:cxn ang="0">
                    <a:pos x="762" y="473"/>
                  </a:cxn>
                  <a:cxn ang="0">
                    <a:pos x="804" y="531"/>
                  </a:cxn>
                  <a:cxn ang="0">
                    <a:pos x="799" y="443"/>
                  </a:cxn>
                  <a:cxn ang="0">
                    <a:pos x="828" y="382"/>
                  </a:cxn>
                  <a:cxn ang="0">
                    <a:pos x="864" y="543"/>
                  </a:cxn>
                  <a:cxn ang="0">
                    <a:pos x="891" y="634"/>
                  </a:cxn>
                  <a:cxn ang="0">
                    <a:pos x="854" y="684"/>
                  </a:cxn>
                  <a:cxn ang="0">
                    <a:pos x="858" y="716"/>
                  </a:cxn>
                  <a:cxn ang="0">
                    <a:pos x="872" y="749"/>
                  </a:cxn>
                  <a:cxn ang="0">
                    <a:pos x="816" y="846"/>
                  </a:cxn>
                  <a:cxn ang="0">
                    <a:pos x="740" y="903"/>
                  </a:cxn>
                  <a:cxn ang="0">
                    <a:pos x="689" y="955"/>
                  </a:cxn>
                  <a:cxn ang="0">
                    <a:pos x="668" y="1059"/>
                  </a:cxn>
                  <a:cxn ang="0">
                    <a:pos x="553" y="1120"/>
                  </a:cxn>
                  <a:cxn ang="0">
                    <a:pos x="509" y="1180"/>
                  </a:cxn>
                  <a:cxn ang="0">
                    <a:pos x="492" y="1160"/>
                  </a:cxn>
                  <a:cxn ang="0">
                    <a:pos x="445" y="1142"/>
                  </a:cxn>
                  <a:cxn ang="0">
                    <a:pos x="399" y="1085"/>
                  </a:cxn>
                  <a:cxn ang="0">
                    <a:pos x="332" y="1045"/>
                  </a:cxn>
                  <a:cxn ang="0">
                    <a:pos x="269" y="1025"/>
                  </a:cxn>
                  <a:cxn ang="0">
                    <a:pos x="155" y="976"/>
                  </a:cxn>
                  <a:cxn ang="0">
                    <a:pos x="122" y="912"/>
                  </a:cxn>
                  <a:cxn ang="0">
                    <a:pos x="64" y="961"/>
                  </a:cxn>
                  <a:cxn ang="0">
                    <a:pos x="9" y="1009"/>
                  </a:cxn>
                  <a:cxn ang="0">
                    <a:pos x="0" y="1058"/>
                  </a:cxn>
                  <a:cxn ang="0">
                    <a:pos x="36" y="1119"/>
                  </a:cxn>
                  <a:cxn ang="0">
                    <a:pos x="354" y="1197"/>
                  </a:cxn>
                  <a:cxn ang="0">
                    <a:pos x="429" y="1317"/>
                  </a:cxn>
                  <a:cxn ang="0">
                    <a:pos x="532" y="1320"/>
                  </a:cxn>
                  <a:cxn ang="0">
                    <a:pos x="693" y="1244"/>
                  </a:cxn>
                  <a:cxn ang="0">
                    <a:pos x="829" y="1268"/>
                  </a:cxn>
                  <a:cxn ang="0">
                    <a:pos x="889" y="1266"/>
                  </a:cxn>
                  <a:cxn ang="0">
                    <a:pos x="941" y="1197"/>
                  </a:cxn>
                  <a:cxn ang="0">
                    <a:pos x="903" y="1157"/>
                  </a:cxn>
                  <a:cxn ang="0">
                    <a:pos x="916" y="1096"/>
                  </a:cxn>
                  <a:cxn ang="0">
                    <a:pos x="904" y="1046"/>
                  </a:cxn>
                  <a:cxn ang="0">
                    <a:pos x="979" y="1023"/>
                  </a:cxn>
                  <a:cxn ang="0">
                    <a:pos x="1033" y="981"/>
                  </a:cxn>
                  <a:cxn ang="0">
                    <a:pos x="1105" y="964"/>
                  </a:cxn>
                  <a:cxn ang="0">
                    <a:pos x="1149" y="893"/>
                  </a:cxn>
                  <a:cxn ang="0">
                    <a:pos x="1216" y="811"/>
                  </a:cxn>
                  <a:cxn ang="0">
                    <a:pos x="1325" y="715"/>
                  </a:cxn>
                  <a:cxn ang="0">
                    <a:pos x="1312" y="638"/>
                  </a:cxn>
                  <a:cxn ang="0">
                    <a:pos x="1267" y="579"/>
                  </a:cxn>
                  <a:cxn ang="0">
                    <a:pos x="1319" y="520"/>
                  </a:cxn>
                  <a:cxn ang="0">
                    <a:pos x="1400" y="386"/>
                  </a:cxn>
                  <a:cxn ang="0">
                    <a:pos x="1452" y="324"/>
                  </a:cxn>
                </a:cxnLst>
                <a:rect l="0" t="0" r="r" b="b"/>
                <a:pathLst>
                  <a:path w="1452" h="1328">
                    <a:moveTo>
                      <a:pt x="1407" y="272"/>
                    </a:moveTo>
                    <a:lnTo>
                      <a:pt x="1407" y="272"/>
                    </a:lnTo>
                    <a:lnTo>
                      <a:pt x="1397" y="265"/>
                    </a:lnTo>
                    <a:lnTo>
                      <a:pt x="1389" y="261"/>
                    </a:lnTo>
                    <a:lnTo>
                      <a:pt x="1381" y="259"/>
                    </a:lnTo>
                    <a:lnTo>
                      <a:pt x="1373" y="258"/>
                    </a:lnTo>
                    <a:lnTo>
                      <a:pt x="1355" y="258"/>
                    </a:lnTo>
                    <a:lnTo>
                      <a:pt x="1345" y="257"/>
                    </a:lnTo>
                    <a:lnTo>
                      <a:pt x="1333" y="253"/>
                    </a:lnTo>
                    <a:lnTo>
                      <a:pt x="1333" y="253"/>
                    </a:lnTo>
                    <a:lnTo>
                      <a:pt x="1320" y="225"/>
                    </a:lnTo>
                    <a:lnTo>
                      <a:pt x="1310" y="202"/>
                    </a:lnTo>
                    <a:lnTo>
                      <a:pt x="1304" y="187"/>
                    </a:lnTo>
                    <a:lnTo>
                      <a:pt x="1304" y="187"/>
                    </a:lnTo>
                    <a:lnTo>
                      <a:pt x="1295" y="166"/>
                    </a:lnTo>
                    <a:lnTo>
                      <a:pt x="1285" y="149"/>
                    </a:lnTo>
                    <a:lnTo>
                      <a:pt x="1261" y="109"/>
                    </a:lnTo>
                    <a:lnTo>
                      <a:pt x="1261" y="109"/>
                    </a:lnTo>
                    <a:lnTo>
                      <a:pt x="1255" y="105"/>
                    </a:lnTo>
                    <a:lnTo>
                      <a:pt x="1249" y="99"/>
                    </a:lnTo>
                    <a:lnTo>
                      <a:pt x="1246" y="96"/>
                    </a:lnTo>
                    <a:lnTo>
                      <a:pt x="1243" y="91"/>
                    </a:lnTo>
                    <a:lnTo>
                      <a:pt x="1242" y="86"/>
                    </a:lnTo>
                    <a:lnTo>
                      <a:pt x="1241" y="81"/>
                    </a:lnTo>
                    <a:lnTo>
                      <a:pt x="1241" y="81"/>
                    </a:lnTo>
                    <a:lnTo>
                      <a:pt x="1241" y="68"/>
                    </a:lnTo>
                    <a:lnTo>
                      <a:pt x="1242" y="61"/>
                    </a:lnTo>
                    <a:lnTo>
                      <a:pt x="1243" y="54"/>
                    </a:lnTo>
                    <a:lnTo>
                      <a:pt x="1246" y="48"/>
                    </a:lnTo>
                    <a:lnTo>
                      <a:pt x="1249" y="44"/>
                    </a:lnTo>
                    <a:lnTo>
                      <a:pt x="1254" y="40"/>
                    </a:lnTo>
                    <a:lnTo>
                      <a:pt x="1261" y="39"/>
                    </a:lnTo>
                    <a:lnTo>
                      <a:pt x="1267" y="17"/>
                    </a:lnTo>
                    <a:lnTo>
                      <a:pt x="1267" y="0"/>
                    </a:lnTo>
                    <a:lnTo>
                      <a:pt x="1267" y="0"/>
                    </a:lnTo>
                    <a:lnTo>
                      <a:pt x="1254" y="0"/>
                    </a:lnTo>
                    <a:lnTo>
                      <a:pt x="1242" y="2"/>
                    </a:lnTo>
                    <a:lnTo>
                      <a:pt x="1232" y="7"/>
                    </a:lnTo>
                    <a:lnTo>
                      <a:pt x="1224" y="14"/>
                    </a:lnTo>
                    <a:lnTo>
                      <a:pt x="1216" y="22"/>
                    </a:lnTo>
                    <a:lnTo>
                      <a:pt x="1209" y="31"/>
                    </a:lnTo>
                    <a:lnTo>
                      <a:pt x="1203" y="42"/>
                    </a:lnTo>
                    <a:lnTo>
                      <a:pt x="1198" y="53"/>
                    </a:lnTo>
                    <a:lnTo>
                      <a:pt x="1187" y="76"/>
                    </a:lnTo>
                    <a:lnTo>
                      <a:pt x="1182" y="86"/>
                    </a:lnTo>
                    <a:lnTo>
                      <a:pt x="1175" y="98"/>
                    </a:lnTo>
                    <a:lnTo>
                      <a:pt x="1170" y="107"/>
                    </a:lnTo>
                    <a:lnTo>
                      <a:pt x="1162" y="115"/>
                    </a:lnTo>
                    <a:lnTo>
                      <a:pt x="1152" y="122"/>
                    </a:lnTo>
                    <a:lnTo>
                      <a:pt x="1142" y="128"/>
                    </a:lnTo>
                    <a:lnTo>
                      <a:pt x="1142" y="128"/>
                    </a:lnTo>
                    <a:lnTo>
                      <a:pt x="1140" y="130"/>
                    </a:lnTo>
                    <a:lnTo>
                      <a:pt x="1139" y="135"/>
                    </a:lnTo>
                    <a:lnTo>
                      <a:pt x="1134" y="147"/>
                    </a:lnTo>
                    <a:lnTo>
                      <a:pt x="1132" y="154"/>
                    </a:lnTo>
                    <a:lnTo>
                      <a:pt x="1127" y="160"/>
                    </a:lnTo>
                    <a:lnTo>
                      <a:pt x="1125" y="161"/>
                    </a:lnTo>
                    <a:lnTo>
                      <a:pt x="1121" y="164"/>
                    </a:lnTo>
                    <a:lnTo>
                      <a:pt x="1118" y="165"/>
                    </a:lnTo>
                    <a:lnTo>
                      <a:pt x="1113" y="165"/>
                    </a:lnTo>
                    <a:lnTo>
                      <a:pt x="1113" y="165"/>
                    </a:lnTo>
                    <a:lnTo>
                      <a:pt x="1109" y="165"/>
                    </a:lnTo>
                    <a:lnTo>
                      <a:pt x="1104" y="164"/>
                    </a:lnTo>
                    <a:lnTo>
                      <a:pt x="1095" y="159"/>
                    </a:lnTo>
                    <a:lnTo>
                      <a:pt x="1088" y="156"/>
                    </a:lnTo>
                    <a:lnTo>
                      <a:pt x="1083" y="153"/>
                    </a:lnTo>
                    <a:lnTo>
                      <a:pt x="1083" y="153"/>
                    </a:lnTo>
                    <a:lnTo>
                      <a:pt x="1079" y="154"/>
                    </a:lnTo>
                    <a:lnTo>
                      <a:pt x="1074" y="156"/>
                    </a:lnTo>
                    <a:lnTo>
                      <a:pt x="1065" y="159"/>
                    </a:lnTo>
                    <a:lnTo>
                      <a:pt x="1057" y="164"/>
                    </a:lnTo>
                    <a:lnTo>
                      <a:pt x="1052" y="165"/>
                    </a:lnTo>
                    <a:lnTo>
                      <a:pt x="1046" y="165"/>
                    </a:lnTo>
                    <a:lnTo>
                      <a:pt x="1046" y="165"/>
                    </a:lnTo>
                    <a:lnTo>
                      <a:pt x="1038" y="164"/>
                    </a:lnTo>
                    <a:lnTo>
                      <a:pt x="1032" y="161"/>
                    </a:lnTo>
                    <a:lnTo>
                      <a:pt x="1027" y="158"/>
                    </a:lnTo>
                    <a:lnTo>
                      <a:pt x="1023" y="153"/>
                    </a:lnTo>
                    <a:lnTo>
                      <a:pt x="1017" y="143"/>
                    </a:lnTo>
                    <a:lnTo>
                      <a:pt x="1014" y="138"/>
                    </a:lnTo>
                    <a:lnTo>
                      <a:pt x="1010" y="136"/>
                    </a:lnTo>
                    <a:lnTo>
                      <a:pt x="1010" y="136"/>
                    </a:lnTo>
                    <a:lnTo>
                      <a:pt x="1005" y="141"/>
                    </a:lnTo>
                    <a:lnTo>
                      <a:pt x="999" y="145"/>
                    </a:lnTo>
                    <a:lnTo>
                      <a:pt x="994" y="149"/>
                    </a:lnTo>
                    <a:lnTo>
                      <a:pt x="987" y="152"/>
                    </a:lnTo>
                    <a:lnTo>
                      <a:pt x="979" y="154"/>
                    </a:lnTo>
                    <a:lnTo>
                      <a:pt x="972" y="156"/>
                    </a:lnTo>
                    <a:lnTo>
                      <a:pt x="954" y="157"/>
                    </a:lnTo>
                    <a:lnTo>
                      <a:pt x="954" y="157"/>
                    </a:lnTo>
                    <a:lnTo>
                      <a:pt x="950" y="157"/>
                    </a:lnTo>
                    <a:lnTo>
                      <a:pt x="945" y="154"/>
                    </a:lnTo>
                    <a:lnTo>
                      <a:pt x="934" y="146"/>
                    </a:lnTo>
                    <a:lnTo>
                      <a:pt x="925" y="139"/>
                    </a:lnTo>
                    <a:lnTo>
                      <a:pt x="919" y="136"/>
                    </a:lnTo>
                    <a:lnTo>
                      <a:pt x="919" y="136"/>
                    </a:lnTo>
                    <a:lnTo>
                      <a:pt x="915" y="137"/>
                    </a:lnTo>
                    <a:lnTo>
                      <a:pt x="914" y="139"/>
                    </a:lnTo>
                    <a:lnTo>
                      <a:pt x="911" y="146"/>
                    </a:lnTo>
                    <a:lnTo>
                      <a:pt x="908" y="156"/>
                    </a:lnTo>
                    <a:lnTo>
                      <a:pt x="907" y="165"/>
                    </a:lnTo>
                    <a:lnTo>
                      <a:pt x="905" y="181"/>
                    </a:lnTo>
                    <a:lnTo>
                      <a:pt x="905" y="188"/>
                    </a:lnTo>
                    <a:lnTo>
                      <a:pt x="904" y="191"/>
                    </a:lnTo>
                    <a:lnTo>
                      <a:pt x="904" y="191"/>
                    </a:lnTo>
                    <a:lnTo>
                      <a:pt x="891" y="193"/>
                    </a:lnTo>
                    <a:lnTo>
                      <a:pt x="877" y="195"/>
                    </a:lnTo>
                    <a:lnTo>
                      <a:pt x="865" y="195"/>
                    </a:lnTo>
                    <a:lnTo>
                      <a:pt x="852" y="193"/>
                    </a:lnTo>
                    <a:lnTo>
                      <a:pt x="841" y="193"/>
                    </a:lnTo>
                    <a:lnTo>
                      <a:pt x="831" y="193"/>
                    </a:lnTo>
                    <a:lnTo>
                      <a:pt x="822" y="195"/>
                    </a:lnTo>
                    <a:lnTo>
                      <a:pt x="819" y="196"/>
                    </a:lnTo>
                    <a:lnTo>
                      <a:pt x="815" y="198"/>
                    </a:lnTo>
                    <a:lnTo>
                      <a:pt x="815" y="198"/>
                    </a:lnTo>
                    <a:lnTo>
                      <a:pt x="808" y="204"/>
                    </a:lnTo>
                    <a:lnTo>
                      <a:pt x="805" y="210"/>
                    </a:lnTo>
                    <a:lnTo>
                      <a:pt x="804" y="215"/>
                    </a:lnTo>
                    <a:lnTo>
                      <a:pt x="804" y="221"/>
                    </a:lnTo>
                    <a:lnTo>
                      <a:pt x="803" y="228"/>
                    </a:lnTo>
                    <a:lnTo>
                      <a:pt x="803" y="234"/>
                    </a:lnTo>
                    <a:lnTo>
                      <a:pt x="800" y="240"/>
                    </a:lnTo>
                    <a:lnTo>
                      <a:pt x="797" y="245"/>
                    </a:lnTo>
                    <a:lnTo>
                      <a:pt x="797" y="245"/>
                    </a:lnTo>
                    <a:lnTo>
                      <a:pt x="792" y="249"/>
                    </a:lnTo>
                    <a:lnTo>
                      <a:pt x="788" y="252"/>
                    </a:lnTo>
                    <a:lnTo>
                      <a:pt x="776" y="258"/>
                    </a:lnTo>
                    <a:lnTo>
                      <a:pt x="752" y="267"/>
                    </a:lnTo>
                    <a:lnTo>
                      <a:pt x="742" y="272"/>
                    </a:lnTo>
                    <a:lnTo>
                      <a:pt x="736" y="275"/>
                    </a:lnTo>
                    <a:lnTo>
                      <a:pt x="732" y="280"/>
                    </a:lnTo>
                    <a:lnTo>
                      <a:pt x="729" y="284"/>
                    </a:lnTo>
                    <a:lnTo>
                      <a:pt x="725" y="290"/>
                    </a:lnTo>
                    <a:lnTo>
                      <a:pt x="724" y="297"/>
                    </a:lnTo>
                    <a:lnTo>
                      <a:pt x="724" y="304"/>
                    </a:lnTo>
                    <a:lnTo>
                      <a:pt x="724" y="304"/>
                    </a:lnTo>
                    <a:lnTo>
                      <a:pt x="724" y="310"/>
                    </a:lnTo>
                    <a:lnTo>
                      <a:pt x="725" y="314"/>
                    </a:lnTo>
                    <a:lnTo>
                      <a:pt x="728" y="320"/>
                    </a:lnTo>
                    <a:lnTo>
                      <a:pt x="731" y="325"/>
                    </a:lnTo>
                    <a:lnTo>
                      <a:pt x="739" y="333"/>
                    </a:lnTo>
                    <a:lnTo>
                      <a:pt x="750" y="341"/>
                    </a:lnTo>
                    <a:lnTo>
                      <a:pt x="760" y="348"/>
                    </a:lnTo>
                    <a:lnTo>
                      <a:pt x="770" y="353"/>
                    </a:lnTo>
                    <a:lnTo>
                      <a:pt x="780" y="358"/>
                    </a:lnTo>
                    <a:lnTo>
                      <a:pt x="786" y="363"/>
                    </a:lnTo>
                    <a:lnTo>
                      <a:pt x="786" y="363"/>
                    </a:lnTo>
                    <a:lnTo>
                      <a:pt x="778" y="370"/>
                    </a:lnTo>
                    <a:lnTo>
                      <a:pt x="771" y="376"/>
                    </a:lnTo>
                    <a:lnTo>
                      <a:pt x="766" y="384"/>
                    </a:lnTo>
                    <a:lnTo>
                      <a:pt x="761" y="393"/>
                    </a:lnTo>
                    <a:lnTo>
                      <a:pt x="758" y="401"/>
                    </a:lnTo>
                    <a:lnTo>
                      <a:pt x="754" y="411"/>
                    </a:lnTo>
                    <a:lnTo>
                      <a:pt x="753" y="421"/>
                    </a:lnTo>
                    <a:lnTo>
                      <a:pt x="752" y="433"/>
                    </a:lnTo>
                    <a:lnTo>
                      <a:pt x="752" y="433"/>
                    </a:lnTo>
                    <a:lnTo>
                      <a:pt x="753" y="443"/>
                    </a:lnTo>
                    <a:lnTo>
                      <a:pt x="755" y="454"/>
                    </a:lnTo>
                    <a:lnTo>
                      <a:pt x="758" y="464"/>
                    </a:lnTo>
                    <a:lnTo>
                      <a:pt x="762" y="473"/>
                    </a:lnTo>
                    <a:lnTo>
                      <a:pt x="767" y="481"/>
                    </a:lnTo>
                    <a:lnTo>
                      <a:pt x="773" y="489"/>
                    </a:lnTo>
                    <a:lnTo>
                      <a:pt x="780" y="495"/>
                    </a:lnTo>
                    <a:lnTo>
                      <a:pt x="786" y="498"/>
                    </a:lnTo>
                    <a:lnTo>
                      <a:pt x="786" y="498"/>
                    </a:lnTo>
                    <a:lnTo>
                      <a:pt x="791" y="512"/>
                    </a:lnTo>
                    <a:lnTo>
                      <a:pt x="793" y="526"/>
                    </a:lnTo>
                    <a:lnTo>
                      <a:pt x="798" y="551"/>
                    </a:lnTo>
                    <a:lnTo>
                      <a:pt x="798" y="551"/>
                    </a:lnTo>
                    <a:lnTo>
                      <a:pt x="804" y="531"/>
                    </a:lnTo>
                    <a:lnTo>
                      <a:pt x="809" y="510"/>
                    </a:lnTo>
                    <a:lnTo>
                      <a:pt x="814" y="492"/>
                    </a:lnTo>
                    <a:lnTo>
                      <a:pt x="815" y="481"/>
                    </a:lnTo>
                    <a:lnTo>
                      <a:pt x="815" y="481"/>
                    </a:lnTo>
                    <a:lnTo>
                      <a:pt x="815" y="473"/>
                    </a:lnTo>
                    <a:lnTo>
                      <a:pt x="813" y="466"/>
                    </a:lnTo>
                    <a:lnTo>
                      <a:pt x="809" y="460"/>
                    </a:lnTo>
                    <a:lnTo>
                      <a:pt x="806" y="455"/>
                    </a:lnTo>
                    <a:lnTo>
                      <a:pt x="803" y="449"/>
                    </a:lnTo>
                    <a:lnTo>
                      <a:pt x="799" y="443"/>
                    </a:lnTo>
                    <a:lnTo>
                      <a:pt x="798" y="437"/>
                    </a:lnTo>
                    <a:lnTo>
                      <a:pt x="797" y="429"/>
                    </a:lnTo>
                    <a:lnTo>
                      <a:pt x="797" y="429"/>
                    </a:lnTo>
                    <a:lnTo>
                      <a:pt x="797" y="421"/>
                    </a:lnTo>
                    <a:lnTo>
                      <a:pt x="799" y="412"/>
                    </a:lnTo>
                    <a:lnTo>
                      <a:pt x="803" y="404"/>
                    </a:lnTo>
                    <a:lnTo>
                      <a:pt x="807" y="397"/>
                    </a:lnTo>
                    <a:lnTo>
                      <a:pt x="813" y="390"/>
                    </a:lnTo>
                    <a:lnTo>
                      <a:pt x="820" y="386"/>
                    </a:lnTo>
                    <a:lnTo>
                      <a:pt x="828" y="382"/>
                    </a:lnTo>
                    <a:lnTo>
                      <a:pt x="837" y="381"/>
                    </a:lnTo>
                    <a:lnTo>
                      <a:pt x="837" y="381"/>
                    </a:lnTo>
                    <a:lnTo>
                      <a:pt x="841" y="382"/>
                    </a:lnTo>
                    <a:lnTo>
                      <a:pt x="843" y="384"/>
                    </a:lnTo>
                    <a:lnTo>
                      <a:pt x="850" y="395"/>
                    </a:lnTo>
                    <a:lnTo>
                      <a:pt x="855" y="409"/>
                    </a:lnTo>
                    <a:lnTo>
                      <a:pt x="861" y="425"/>
                    </a:lnTo>
                    <a:lnTo>
                      <a:pt x="870" y="456"/>
                    </a:lnTo>
                    <a:lnTo>
                      <a:pt x="874" y="473"/>
                    </a:lnTo>
                    <a:lnTo>
                      <a:pt x="864" y="543"/>
                    </a:lnTo>
                    <a:lnTo>
                      <a:pt x="864" y="543"/>
                    </a:lnTo>
                    <a:lnTo>
                      <a:pt x="865" y="543"/>
                    </a:lnTo>
                    <a:lnTo>
                      <a:pt x="866" y="546"/>
                    </a:lnTo>
                    <a:lnTo>
                      <a:pt x="870" y="554"/>
                    </a:lnTo>
                    <a:lnTo>
                      <a:pt x="881" y="578"/>
                    </a:lnTo>
                    <a:lnTo>
                      <a:pt x="889" y="604"/>
                    </a:lnTo>
                    <a:lnTo>
                      <a:pt x="891" y="613"/>
                    </a:lnTo>
                    <a:lnTo>
                      <a:pt x="892" y="620"/>
                    </a:lnTo>
                    <a:lnTo>
                      <a:pt x="892" y="620"/>
                    </a:lnTo>
                    <a:lnTo>
                      <a:pt x="891" y="634"/>
                    </a:lnTo>
                    <a:lnTo>
                      <a:pt x="889" y="647"/>
                    </a:lnTo>
                    <a:lnTo>
                      <a:pt x="885" y="658"/>
                    </a:lnTo>
                    <a:lnTo>
                      <a:pt x="882" y="666"/>
                    </a:lnTo>
                    <a:lnTo>
                      <a:pt x="876" y="673"/>
                    </a:lnTo>
                    <a:lnTo>
                      <a:pt x="870" y="679"/>
                    </a:lnTo>
                    <a:lnTo>
                      <a:pt x="865" y="681"/>
                    </a:lnTo>
                    <a:lnTo>
                      <a:pt x="860" y="683"/>
                    </a:lnTo>
                    <a:lnTo>
                      <a:pt x="860" y="683"/>
                    </a:lnTo>
                    <a:lnTo>
                      <a:pt x="857" y="684"/>
                    </a:lnTo>
                    <a:lnTo>
                      <a:pt x="854" y="684"/>
                    </a:lnTo>
                    <a:lnTo>
                      <a:pt x="851" y="686"/>
                    </a:lnTo>
                    <a:lnTo>
                      <a:pt x="850" y="686"/>
                    </a:lnTo>
                    <a:lnTo>
                      <a:pt x="849" y="686"/>
                    </a:lnTo>
                    <a:lnTo>
                      <a:pt x="841" y="683"/>
                    </a:lnTo>
                    <a:lnTo>
                      <a:pt x="841" y="683"/>
                    </a:lnTo>
                    <a:lnTo>
                      <a:pt x="841" y="719"/>
                    </a:lnTo>
                    <a:lnTo>
                      <a:pt x="841" y="719"/>
                    </a:lnTo>
                    <a:lnTo>
                      <a:pt x="845" y="718"/>
                    </a:lnTo>
                    <a:lnTo>
                      <a:pt x="851" y="717"/>
                    </a:lnTo>
                    <a:lnTo>
                      <a:pt x="858" y="716"/>
                    </a:lnTo>
                    <a:lnTo>
                      <a:pt x="864" y="715"/>
                    </a:lnTo>
                    <a:lnTo>
                      <a:pt x="869" y="716"/>
                    </a:lnTo>
                    <a:lnTo>
                      <a:pt x="874" y="718"/>
                    </a:lnTo>
                    <a:lnTo>
                      <a:pt x="875" y="719"/>
                    </a:lnTo>
                    <a:lnTo>
                      <a:pt x="876" y="723"/>
                    </a:lnTo>
                    <a:lnTo>
                      <a:pt x="877" y="731"/>
                    </a:lnTo>
                    <a:lnTo>
                      <a:pt x="877" y="731"/>
                    </a:lnTo>
                    <a:lnTo>
                      <a:pt x="877" y="734"/>
                    </a:lnTo>
                    <a:lnTo>
                      <a:pt x="876" y="739"/>
                    </a:lnTo>
                    <a:lnTo>
                      <a:pt x="872" y="749"/>
                    </a:lnTo>
                    <a:lnTo>
                      <a:pt x="866" y="760"/>
                    </a:lnTo>
                    <a:lnTo>
                      <a:pt x="858" y="770"/>
                    </a:lnTo>
                    <a:lnTo>
                      <a:pt x="841" y="790"/>
                    </a:lnTo>
                    <a:lnTo>
                      <a:pt x="826" y="805"/>
                    </a:lnTo>
                    <a:lnTo>
                      <a:pt x="826" y="805"/>
                    </a:lnTo>
                    <a:lnTo>
                      <a:pt x="823" y="810"/>
                    </a:lnTo>
                    <a:lnTo>
                      <a:pt x="821" y="816"/>
                    </a:lnTo>
                    <a:lnTo>
                      <a:pt x="820" y="831"/>
                    </a:lnTo>
                    <a:lnTo>
                      <a:pt x="819" y="839"/>
                    </a:lnTo>
                    <a:lnTo>
                      <a:pt x="816" y="846"/>
                    </a:lnTo>
                    <a:lnTo>
                      <a:pt x="813" y="853"/>
                    </a:lnTo>
                    <a:lnTo>
                      <a:pt x="808" y="859"/>
                    </a:lnTo>
                    <a:lnTo>
                      <a:pt x="808" y="859"/>
                    </a:lnTo>
                    <a:lnTo>
                      <a:pt x="793" y="867"/>
                    </a:lnTo>
                    <a:lnTo>
                      <a:pt x="776" y="874"/>
                    </a:lnTo>
                    <a:lnTo>
                      <a:pt x="760" y="883"/>
                    </a:lnTo>
                    <a:lnTo>
                      <a:pt x="753" y="889"/>
                    </a:lnTo>
                    <a:lnTo>
                      <a:pt x="745" y="895"/>
                    </a:lnTo>
                    <a:lnTo>
                      <a:pt x="745" y="895"/>
                    </a:lnTo>
                    <a:lnTo>
                      <a:pt x="740" y="903"/>
                    </a:lnTo>
                    <a:lnTo>
                      <a:pt x="733" y="916"/>
                    </a:lnTo>
                    <a:lnTo>
                      <a:pt x="725" y="929"/>
                    </a:lnTo>
                    <a:lnTo>
                      <a:pt x="721" y="935"/>
                    </a:lnTo>
                    <a:lnTo>
                      <a:pt x="716" y="939"/>
                    </a:lnTo>
                    <a:lnTo>
                      <a:pt x="716" y="939"/>
                    </a:lnTo>
                    <a:lnTo>
                      <a:pt x="709" y="944"/>
                    </a:lnTo>
                    <a:lnTo>
                      <a:pt x="704" y="946"/>
                    </a:lnTo>
                    <a:lnTo>
                      <a:pt x="694" y="949"/>
                    </a:lnTo>
                    <a:lnTo>
                      <a:pt x="691" y="952"/>
                    </a:lnTo>
                    <a:lnTo>
                      <a:pt x="689" y="955"/>
                    </a:lnTo>
                    <a:lnTo>
                      <a:pt x="687" y="960"/>
                    </a:lnTo>
                    <a:lnTo>
                      <a:pt x="686" y="969"/>
                    </a:lnTo>
                    <a:lnTo>
                      <a:pt x="686" y="969"/>
                    </a:lnTo>
                    <a:lnTo>
                      <a:pt x="686" y="1009"/>
                    </a:lnTo>
                    <a:lnTo>
                      <a:pt x="686" y="1009"/>
                    </a:lnTo>
                    <a:lnTo>
                      <a:pt x="686" y="1020"/>
                    </a:lnTo>
                    <a:lnTo>
                      <a:pt x="683" y="1030"/>
                    </a:lnTo>
                    <a:lnTo>
                      <a:pt x="679" y="1040"/>
                    </a:lnTo>
                    <a:lnTo>
                      <a:pt x="674" y="1050"/>
                    </a:lnTo>
                    <a:lnTo>
                      <a:pt x="668" y="1059"/>
                    </a:lnTo>
                    <a:lnTo>
                      <a:pt x="660" y="1067"/>
                    </a:lnTo>
                    <a:lnTo>
                      <a:pt x="652" y="1075"/>
                    </a:lnTo>
                    <a:lnTo>
                      <a:pt x="643" y="1083"/>
                    </a:lnTo>
                    <a:lnTo>
                      <a:pt x="632" y="1090"/>
                    </a:lnTo>
                    <a:lnTo>
                      <a:pt x="622" y="1096"/>
                    </a:lnTo>
                    <a:lnTo>
                      <a:pt x="610" y="1101"/>
                    </a:lnTo>
                    <a:lnTo>
                      <a:pt x="599" y="1106"/>
                    </a:lnTo>
                    <a:lnTo>
                      <a:pt x="576" y="1115"/>
                    </a:lnTo>
                    <a:lnTo>
                      <a:pt x="553" y="1120"/>
                    </a:lnTo>
                    <a:lnTo>
                      <a:pt x="553" y="1120"/>
                    </a:lnTo>
                    <a:lnTo>
                      <a:pt x="556" y="1131"/>
                    </a:lnTo>
                    <a:lnTo>
                      <a:pt x="557" y="1138"/>
                    </a:lnTo>
                    <a:lnTo>
                      <a:pt x="557" y="1145"/>
                    </a:lnTo>
                    <a:lnTo>
                      <a:pt x="557" y="1145"/>
                    </a:lnTo>
                    <a:lnTo>
                      <a:pt x="551" y="1150"/>
                    </a:lnTo>
                    <a:lnTo>
                      <a:pt x="542" y="1154"/>
                    </a:lnTo>
                    <a:lnTo>
                      <a:pt x="526" y="1161"/>
                    </a:lnTo>
                    <a:lnTo>
                      <a:pt x="519" y="1166"/>
                    </a:lnTo>
                    <a:lnTo>
                      <a:pt x="514" y="1172"/>
                    </a:lnTo>
                    <a:lnTo>
                      <a:pt x="509" y="1180"/>
                    </a:lnTo>
                    <a:lnTo>
                      <a:pt x="508" y="1184"/>
                    </a:lnTo>
                    <a:lnTo>
                      <a:pt x="507" y="1189"/>
                    </a:lnTo>
                    <a:lnTo>
                      <a:pt x="507" y="1189"/>
                    </a:lnTo>
                    <a:lnTo>
                      <a:pt x="500" y="1188"/>
                    </a:lnTo>
                    <a:lnTo>
                      <a:pt x="496" y="1185"/>
                    </a:lnTo>
                    <a:lnTo>
                      <a:pt x="495" y="1182"/>
                    </a:lnTo>
                    <a:lnTo>
                      <a:pt x="495" y="1178"/>
                    </a:lnTo>
                    <a:lnTo>
                      <a:pt x="496" y="1170"/>
                    </a:lnTo>
                    <a:lnTo>
                      <a:pt x="495" y="1165"/>
                    </a:lnTo>
                    <a:lnTo>
                      <a:pt x="492" y="1160"/>
                    </a:lnTo>
                    <a:lnTo>
                      <a:pt x="492" y="1160"/>
                    </a:lnTo>
                    <a:lnTo>
                      <a:pt x="487" y="1151"/>
                    </a:lnTo>
                    <a:lnTo>
                      <a:pt x="481" y="1144"/>
                    </a:lnTo>
                    <a:lnTo>
                      <a:pt x="477" y="1141"/>
                    </a:lnTo>
                    <a:lnTo>
                      <a:pt x="472" y="1139"/>
                    </a:lnTo>
                    <a:lnTo>
                      <a:pt x="467" y="1139"/>
                    </a:lnTo>
                    <a:lnTo>
                      <a:pt x="461" y="1141"/>
                    </a:lnTo>
                    <a:lnTo>
                      <a:pt x="453" y="1141"/>
                    </a:lnTo>
                    <a:lnTo>
                      <a:pt x="445" y="1142"/>
                    </a:lnTo>
                    <a:lnTo>
                      <a:pt x="445" y="1142"/>
                    </a:lnTo>
                    <a:lnTo>
                      <a:pt x="437" y="1141"/>
                    </a:lnTo>
                    <a:lnTo>
                      <a:pt x="431" y="1138"/>
                    </a:lnTo>
                    <a:lnTo>
                      <a:pt x="427" y="1134"/>
                    </a:lnTo>
                    <a:lnTo>
                      <a:pt x="424" y="1128"/>
                    </a:lnTo>
                    <a:lnTo>
                      <a:pt x="419" y="1116"/>
                    </a:lnTo>
                    <a:lnTo>
                      <a:pt x="415" y="1105"/>
                    </a:lnTo>
                    <a:lnTo>
                      <a:pt x="415" y="1105"/>
                    </a:lnTo>
                    <a:lnTo>
                      <a:pt x="411" y="1099"/>
                    </a:lnTo>
                    <a:lnTo>
                      <a:pt x="407" y="1093"/>
                    </a:lnTo>
                    <a:lnTo>
                      <a:pt x="399" y="1085"/>
                    </a:lnTo>
                    <a:lnTo>
                      <a:pt x="388" y="1078"/>
                    </a:lnTo>
                    <a:lnTo>
                      <a:pt x="378" y="1073"/>
                    </a:lnTo>
                    <a:lnTo>
                      <a:pt x="368" y="1068"/>
                    </a:lnTo>
                    <a:lnTo>
                      <a:pt x="358" y="1061"/>
                    </a:lnTo>
                    <a:lnTo>
                      <a:pt x="349" y="1053"/>
                    </a:lnTo>
                    <a:lnTo>
                      <a:pt x="346" y="1047"/>
                    </a:lnTo>
                    <a:lnTo>
                      <a:pt x="341" y="1042"/>
                    </a:lnTo>
                    <a:lnTo>
                      <a:pt x="341" y="1042"/>
                    </a:lnTo>
                    <a:lnTo>
                      <a:pt x="337" y="1044"/>
                    </a:lnTo>
                    <a:lnTo>
                      <a:pt x="332" y="1045"/>
                    </a:lnTo>
                    <a:lnTo>
                      <a:pt x="327" y="1045"/>
                    </a:lnTo>
                    <a:lnTo>
                      <a:pt x="324" y="1045"/>
                    </a:lnTo>
                    <a:lnTo>
                      <a:pt x="318" y="1043"/>
                    </a:lnTo>
                    <a:lnTo>
                      <a:pt x="312" y="1042"/>
                    </a:lnTo>
                    <a:lnTo>
                      <a:pt x="312" y="1042"/>
                    </a:lnTo>
                    <a:lnTo>
                      <a:pt x="305" y="1042"/>
                    </a:lnTo>
                    <a:lnTo>
                      <a:pt x="299" y="1040"/>
                    </a:lnTo>
                    <a:lnTo>
                      <a:pt x="287" y="1037"/>
                    </a:lnTo>
                    <a:lnTo>
                      <a:pt x="277" y="1032"/>
                    </a:lnTo>
                    <a:lnTo>
                      <a:pt x="269" y="1025"/>
                    </a:lnTo>
                    <a:lnTo>
                      <a:pt x="249" y="1010"/>
                    </a:lnTo>
                    <a:lnTo>
                      <a:pt x="238" y="1004"/>
                    </a:lnTo>
                    <a:lnTo>
                      <a:pt x="224" y="998"/>
                    </a:lnTo>
                    <a:lnTo>
                      <a:pt x="224" y="998"/>
                    </a:lnTo>
                    <a:lnTo>
                      <a:pt x="213" y="994"/>
                    </a:lnTo>
                    <a:lnTo>
                      <a:pt x="202" y="992"/>
                    </a:lnTo>
                    <a:lnTo>
                      <a:pt x="181" y="987"/>
                    </a:lnTo>
                    <a:lnTo>
                      <a:pt x="172" y="985"/>
                    </a:lnTo>
                    <a:lnTo>
                      <a:pt x="163" y="981"/>
                    </a:lnTo>
                    <a:lnTo>
                      <a:pt x="155" y="976"/>
                    </a:lnTo>
                    <a:lnTo>
                      <a:pt x="147" y="969"/>
                    </a:lnTo>
                    <a:lnTo>
                      <a:pt x="147" y="969"/>
                    </a:lnTo>
                    <a:lnTo>
                      <a:pt x="144" y="966"/>
                    </a:lnTo>
                    <a:lnTo>
                      <a:pt x="142" y="962"/>
                    </a:lnTo>
                    <a:lnTo>
                      <a:pt x="140" y="953"/>
                    </a:lnTo>
                    <a:lnTo>
                      <a:pt x="135" y="933"/>
                    </a:lnTo>
                    <a:lnTo>
                      <a:pt x="133" y="924"/>
                    </a:lnTo>
                    <a:lnTo>
                      <a:pt x="129" y="917"/>
                    </a:lnTo>
                    <a:lnTo>
                      <a:pt x="126" y="914"/>
                    </a:lnTo>
                    <a:lnTo>
                      <a:pt x="122" y="912"/>
                    </a:lnTo>
                    <a:lnTo>
                      <a:pt x="118" y="910"/>
                    </a:lnTo>
                    <a:lnTo>
                      <a:pt x="113" y="909"/>
                    </a:lnTo>
                    <a:lnTo>
                      <a:pt x="113" y="909"/>
                    </a:lnTo>
                    <a:lnTo>
                      <a:pt x="105" y="910"/>
                    </a:lnTo>
                    <a:lnTo>
                      <a:pt x="97" y="914"/>
                    </a:lnTo>
                    <a:lnTo>
                      <a:pt x="91" y="920"/>
                    </a:lnTo>
                    <a:lnTo>
                      <a:pt x="84" y="926"/>
                    </a:lnTo>
                    <a:lnTo>
                      <a:pt x="80" y="933"/>
                    </a:lnTo>
                    <a:lnTo>
                      <a:pt x="74" y="943"/>
                    </a:lnTo>
                    <a:lnTo>
                      <a:pt x="64" y="961"/>
                    </a:lnTo>
                    <a:lnTo>
                      <a:pt x="53" y="978"/>
                    </a:lnTo>
                    <a:lnTo>
                      <a:pt x="48" y="985"/>
                    </a:lnTo>
                    <a:lnTo>
                      <a:pt x="42" y="992"/>
                    </a:lnTo>
                    <a:lnTo>
                      <a:pt x="35" y="997"/>
                    </a:lnTo>
                    <a:lnTo>
                      <a:pt x="27" y="999"/>
                    </a:lnTo>
                    <a:lnTo>
                      <a:pt x="18" y="1000"/>
                    </a:lnTo>
                    <a:lnTo>
                      <a:pt x="7" y="998"/>
                    </a:lnTo>
                    <a:lnTo>
                      <a:pt x="7" y="998"/>
                    </a:lnTo>
                    <a:lnTo>
                      <a:pt x="6" y="1004"/>
                    </a:lnTo>
                    <a:lnTo>
                      <a:pt x="9" y="1009"/>
                    </a:lnTo>
                    <a:lnTo>
                      <a:pt x="12" y="1021"/>
                    </a:lnTo>
                    <a:lnTo>
                      <a:pt x="14" y="1027"/>
                    </a:lnTo>
                    <a:lnTo>
                      <a:pt x="14" y="1031"/>
                    </a:lnTo>
                    <a:lnTo>
                      <a:pt x="13" y="1033"/>
                    </a:lnTo>
                    <a:lnTo>
                      <a:pt x="12" y="1035"/>
                    </a:lnTo>
                    <a:lnTo>
                      <a:pt x="7" y="1038"/>
                    </a:lnTo>
                    <a:lnTo>
                      <a:pt x="7" y="1038"/>
                    </a:lnTo>
                    <a:lnTo>
                      <a:pt x="6" y="1044"/>
                    </a:lnTo>
                    <a:lnTo>
                      <a:pt x="4" y="1051"/>
                    </a:lnTo>
                    <a:lnTo>
                      <a:pt x="0" y="1058"/>
                    </a:lnTo>
                    <a:lnTo>
                      <a:pt x="0" y="1068"/>
                    </a:lnTo>
                    <a:lnTo>
                      <a:pt x="0" y="1068"/>
                    </a:lnTo>
                    <a:lnTo>
                      <a:pt x="2" y="1077"/>
                    </a:lnTo>
                    <a:lnTo>
                      <a:pt x="5" y="1085"/>
                    </a:lnTo>
                    <a:lnTo>
                      <a:pt x="10" y="1092"/>
                    </a:lnTo>
                    <a:lnTo>
                      <a:pt x="15" y="1099"/>
                    </a:lnTo>
                    <a:lnTo>
                      <a:pt x="28" y="1111"/>
                    </a:lnTo>
                    <a:lnTo>
                      <a:pt x="33" y="1115"/>
                    </a:lnTo>
                    <a:lnTo>
                      <a:pt x="36" y="1119"/>
                    </a:lnTo>
                    <a:lnTo>
                      <a:pt x="36" y="1119"/>
                    </a:lnTo>
                    <a:lnTo>
                      <a:pt x="72" y="1127"/>
                    </a:lnTo>
                    <a:lnTo>
                      <a:pt x="109" y="1135"/>
                    </a:lnTo>
                    <a:lnTo>
                      <a:pt x="187" y="1151"/>
                    </a:lnTo>
                    <a:lnTo>
                      <a:pt x="263" y="1167"/>
                    </a:lnTo>
                    <a:lnTo>
                      <a:pt x="300" y="1176"/>
                    </a:lnTo>
                    <a:lnTo>
                      <a:pt x="334" y="1185"/>
                    </a:lnTo>
                    <a:lnTo>
                      <a:pt x="334" y="1185"/>
                    </a:lnTo>
                    <a:lnTo>
                      <a:pt x="340" y="1188"/>
                    </a:lnTo>
                    <a:lnTo>
                      <a:pt x="345" y="1190"/>
                    </a:lnTo>
                    <a:lnTo>
                      <a:pt x="354" y="1197"/>
                    </a:lnTo>
                    <a:lnTo>
                      <a:pt x="361" y="1205"/>
                    </a:lnTo>
                    <a:lnTo>
                      <a:pt x="368" y="1215"/>
                    </a:lnTo>
                    <a:lnTo>
                      <a:pt x="373" y="1227"/>
                    </a:lnTo>
                    <a:lnTo>
                      <a:pt x="378" y="1238"/>
                    </a:lnTo>
                    <a:lnTo>
                      <a:pt x="388" y="1264"/>
                    </a:lnTo>
                    <a:lnTo>
                      <a:pt x="394" y="1276"/>
                    </a:lnTo>
                    <a:lnTo>
                      <a:pt x="401" y="1288"/>
                    </a:lnTo>
                    <a:lnTo>
                      <a:pt x="408" y="1299"/>
                    </a:lnTo>
                    <a:lnTo>
                      <a:pt x="417" y="1309"/>
                    </a:lnTo>
                    <a:lnTo>
                      <a:pt x="429" y="1317"/>
                    </a:lnTo>
                    <a:lnTo>
                      <a:pt x="434" y="1320"/>
                    </a:lnTo>
                    <a:lnTo>
                      <a:pt x="441" y="1323"/>
                    </a:lnTo>
                    <a:lnTo>
                      <a:pt x="448" y="1326"/>
                    </a:lnTo>
                    <a:lnTo>
                      <a:pt x="456" y="1327"/>
                    </a:lnTo>
                    <a:lnTo>
                      <a:pt x="464" y="1328"/>
                    </a:lnTo>
                    <a:lnTo>
                      <a:pt x="473" y="1328"/>
                    </a:lnTo>
                    <a:lnTo>
                      <a:pt x="473" y="1328"/>
                    </a:lnTo>
                    <a:lnTo>
                      <a:pt x="495" y="1327"/>
                    </a:lnTo>
                    <a:lnTo>
                      <a:pt x="515" y="1325"/>
                    </a:lnTo>
                    <a:lnTo>
                      <a:pt x="532" y="1320"/>
                    </a:lnTo>
                    <a:lnTo>
                      <a:pt x="547" y="1314"/>
                    </a:lnTo>
                    <a:lnTo>
                      <a:pt x="562" y="1307"/>
                    </a:lnTo>
                    <a:lnTo>
                      <a:pt x="575" y="1300"/>
                    </a:lnTo>
                    <a:lnTo>
                      <a:pt x="600" y="1284"/>
                    </a:lnTo>
                    <a:lnTo>
                      <a:pt x="613" y="1276"/>
                    </a:lnTo>
                    <a:lnTo>
                      <a:pt x="625" y="1268"/>
                    </a:lnTo>
                    <a:lnTo>
                      <a:pt x="640" y="1260"/>
                    </a:lnTo>
                    <a:lnTo>
                      <a:pt x="655" y="1254"/>
                    </a:lnTo>
                    <a:lnTo>
                      <a:pt x="674" y="1249"/>
                    </a:lnTo>
                    <a:lnTo>
                      <a:pt x="693" y="1244"/>
                    </a:lnTo>
                    <a:lnTo>
                      <a:pt x="716" y="1241"/>
                    </a:lnTo>
                    <a:lnTo>
                      <a:pt x="742" y="1241"/>
                    </a:lnTo>
                    <a:lnTo>
                      <a:pt x="742" y="1241"/>
                    </a:lnTo>
                    <a:lnTo>
                      <a:pt x="752" y="1241"/>
                    </a:lnTo>
                    <a:lnTo>
                      <a:pt x="762" y="1242"/>
                    </a:lnTo>
                    <a:lnTo>
                      <a:pt x="771" y="1244"/>
                    </a:lnTo>
                    <a:lnTo>
                      <a:pt x="781" y="1246"/>
                    </a:lnTo>
                    <a:lnTo>
                      <a:pt x="798" y="1253"/>
                    </a:lnTo>
                    <a:lnTo>
                      <a:pt x="814" y="1261"/>
                    </a:lnTo>
                    <a:lnTo>
                      <a:pt x="829" y="1268"/>
                    </a:lnTo>
                    <a:lnTo>
                      <a:pt x="843" y="1273"/>
                    </a:lnTo>
                    <a:lnTo>
                      <a:pt x="849" y="1274"/>
                    </a:lnTo>
                    <a:lnTo>
                      <a:pt x="855" y="1275"/>
                    </a:lnTo>
                    <a:lnTo>
                      <a:pt x="861" y="1275"/>
                    </a:lnTo>
                    <a:lnTo>
                      <a:pt x="867" y="1274"/>
                    </a:lnTo>
                    <a:lnTo>
                      <a:pt x="867" y="1274"/>
                    </a:lnTo>
                    <a:lnTo>
                      <a:pt x="873" y="1272"/>
                    </a:lnTo>
                    <a:lnTo>
                      <a:pt x="877" y="1271"/>
                    </a:lnTo>
                    <a:lnTo>
                      <a:pt x="884" y="1269"/>
                    </a:lnTo>
                    <a:lnTo>
                      <a:pt x="889" y="1266"/>
                    </a:lnTo>
                    <a:lnTo>
                      <a:pt x="889" y="1269"/>
                    </a:lnTo>
                    <a:lnTo>
                      <a:pt x="889" y="1269"/>
                    </a:lnTo>
                    <a:lnTo>
                      <a:pt x="891" y="1261"/>
                    </a:lnTo>
                    <a:lnTo>
                      <a:pt x="893" y="1254"/>
                    </a:lnTo>
                    <a:lnTo>
                      <a:pt x="897" y="1248"/>
                    </a:lnTo>
                    <a:lnTo>
                      <a:pt x="901" y="1241"/>
                    </a:lnTo>
                    <a:lnTo>
                      <a:pt x="911" y="1229"/>
                    </a:lnTo>
                    <a:lnTo>
                      <a:pt x="921" y="1219"/>
                    </a:lnTo>
                    <a:lnTo>
                      <a:pt x="931" y="1208"/>
                    </a:lnTo>
                    <a:lnTo>
                      <a:pt x="941" y="1197"/>
                    </a:lnTo>
                    <a:lnTo>
                      <a:pt x="945" y="1191"/>
                    </a:lnTo>
                    <a:lnTo>
                      <a:pt x="948" y="1185"/>
                    </a:lnTo>
                    <a:lnTo>
                      <a:pt x="950" y="1178"/>
                    </a:lnTo>
                    <a:lnTo>
                      <a:pt x="951" y="1170"/>
                    </a:lnTo>
                    <a:lnTo>
                      <a:pt x="951" y="1170"/>
                    </a:lnTo>
                    <a:lnTo>
                      <a:pt x="938" y="1168"/>
                    </a:lnTo>
                    <a:lnTo>
                      <a:pt x="929" y="1167"/>
                    </a:lnTo>
                    <a:lnTo>
                      <a:pt x="920" y="1165"/>
                    </a:lnTo>
                    <a:lnTo>
                      <a:pt x="911" y="1161"/>
                    </a:lnTo>
                    <a:lnTo>
                      <a:pt x="903" y="1157"/>
                    </a:lnTo>
                    <a:lnTo>
                      <a:pt x="900" y="1153"/>
                    </a:lnTo>
                    <a:lnTo>
                      <a:pt x="898" y="1150"/>
                    </a:lnTo>
                    <a:lnTo>
                      <a:pt x="897" y="1146"/>
                    </a:lnTo>
                    <a:lnTo>
                      <a:pt x="896" y="1142"/>
                    </a:lnTo>
                    <a:lnTo>
                      <a:pt x="896" y="1142"/>
                    </a:lnTo>
                    <a:lnTo>
                      <a:pt x="897" y="1132"/>
                    </a:lnTo>
                    <a:lnTo>
                      <a:pt x="899" y="1124"/>
                    </a:lnTo>
                    <a:lnTo>
                      <a:pt x="903" y="1116"/>
                    </a:lnTo>
                    <a:lnTo>
                      <a:pt x="906" y="1109"/>
                    </a:lnTo>
                    <a:lnTo>
                      <a:pt x="916" y="1096"/>
                    </a:lnTo>
                    <a:lnTo>
                      <a:pt x="926" y="1083"/>
                    </a:lnTo>
                    <a:lnTo>
                      <a:pt x="926" y="1083"/>
                    </a:lnTo>
                    <a:lnTo>
                      <a:pt x="919" y="1077"/>
                    </a:lnTo>
                    <a:lnTo>
                      <a:pt x="912" y="1070"/>
                    </a:lnTo>
                    <a:lnTo>
                      <a:pt x="908" y="1066"/>
                    </a:lnTo>
                    <a:lnTo>
                      <a:pt x="906" y="1061"/>
                    </a:lnTo>
                    <a:lnTo>
                      <a:pt x="904" y="1057"/>
                    </a:lnTo>
                    <a:lnTo>
                      <a:pt x="904" y="1050"/>
                    </a:lnTo>
                    <a:lnTo>
                      <a:pt x="904" y="1050"/>
                    </a:lnTo>
                    <a:lnTo>
                      <a:pt x="904" y="1046"/>
                    </a:lnTo>
                    <a:lnTo>
                      <a:pt x="905" y="1043"/>
                    </a:lnTo>
                    <a:lnTo>
                      <a:pt x="907" y="1039"/>
                    </a:lnTo>
                    <a:lnTo>
                      <a:pt x="911" y="1036"/>
                    </a:lnTo>
                    <a:lnTo>
                      <a:pt x="918" y="1031"/>
                    </a:lnTo>
                    <a:lnTo>
                      <a:pt x="927" y="1029"/>
                    </a:lnTo>
                    <a:lnTo>
                      <a:pt x="938" y="1027"/>
                    </a:lnTo>
                    <a:lnTo>
                      <a:pt x="950" y="1024"/>
                    </a:lnTo>
                    <a:lnTo>
                      <a:pt x="973" y="1024"/>
                    </a:lnTo>
                    <a:lnTo>
                      <a:pt x="973" y="1024"/>
                    </a:lnTo>
                    <a:lnTo>
                      <a:pt x="979" y="1023"/>
                    </a:lnTo>
                    <a:lnTo>
                      <a:pt x="984" y="1022"/>
                    </a:lnTo>
                    <a:lnTo>
                      <a:pt x="989" y="1020"/>
                    </a:lnTo>
                    <a:lnTo>
                      <a:pt x="992" y="1017"/>
                    </a:lnTo>
                    <a:lnTo>
                      <a:pt x="999" y="1009"/>
                    </a:lnTo>
                    <a:lnTo>
                      <a:pt x="1005" y="1001"/>
                    </a:lnTo>
                    <a:lnTo>
                      <a:pt x="1011" y="993"/>
                    </a:lnTo>
                    <a:lnTo>
                      <a:pt x="1018" y="986"/>
                    </a:lnTo>
                    <a:lnTo>
                      <a:pt x="1022" y="984"/>
                    </a:lnTo>
                    <a:lnTo>
                      <a:pt x="1027" y="982"/>
                    </a:lnTo>
                    <a:lnTo>
                      <a:pt x="1033" y="981"/>
                    </a:lnTo>
                    <a:lnTo>
                      <a:pt x="1040" y="979"/>
                    </a:lnTo>
                    <a:lnTo>
                      <a:pt x="1040" y="979"/>
                    </a:lnTo>
                    <a:lnTo>
                      <a:pt x="1057" y="981"/>
                    </a:lnTo>
                    <a:lnTo>
                      <a:pt x="1073" y="979"/>
                    </a:lnTo>
                    <a:lnTo>
                      <a:pt x="1081" y="978"/>
                    </a:lnTo>
                    <a:lnTo>
                      <a:pt x="1089" y="976"/>
                    </a:lnTo>
                    <a:lnTo>
                      <a:pt x="1096" y="974"/>
                    </a:lnTo>
                    <a:lnTo>
                      <a:pt x="1102" y="969"/>
                    </a:lnTo>
                    <a:lnTo>
                      <a:pt x="1102" y="969"/>
                    </a:lnTo>
                    <a:lnTo>
                      <a:pt x="1105" y="964"/>
                    </a:lnTo>
                    <a:lnTo>
                      <a:pt x="1106" y="960"/>
                    </a:lnTo>
                    <a:lnTo>
                      <a:pt x="1107" y="954"/>
                    </a:lnTo>
                    <a:lnTo>
                      <a:pt x="1107" y="949"/>
                    </a:lnTo>
                    <a:lnTo>
                      <a:pt x="1107" y="944"/>
                    </a:lnTo>
                    <a:lnTo>
                      <a:pt x="1109" y="939"/>
                    </a:lnTo>
                    <a:lnTo>
                      <a:pt x="1110" y="933"/>
                    </a:lnTo>
                    <a:lnTo>
                      <a:pt x="1113" y="928"/>
                    </a:lnTo>
                    <a:lnTo>
                      <a:pt x="1113" y="928"/>
                    </a:lnTo>
                    <a:lnTo>
                      <a:pt x="1137" y="905"/>
                    </a:lnTo>
                    <a:lnTo>
                      <a:pt x="1149" y="893"/>
                    </a:lnTo>
                    <a:lnTo>
                      <a:pt x="1158" y="883"/>
                    </a:lnTo>
                    <a:lnTo>
                      <a:pt x="1166" y="870"/>
                    </a:lnTo>
                    <a:lnTo>
                      <a:pt x="1174" y="856"/>
                    </a:lnTo>
                    <a:lnTo>
                      <a:pt x="1181" y="839"/>
                    </a:lnTo>
                    <a:lnTo>
                      <a:pt x="1187" y="818"/>
                    </a:lnTo>
                    <a:lnTo>
                      <a:pt x="1187" y="818"/>
                    </a:lnTo>
                    <a:lnTo>
                      <a:pt x="1194" y="817"/>
                    </a:lnTo>
                    <a:lnTo>
                      <a:pt x="1202" y="816"/>
                    </a:lnTo>
                    <a:lnTo>
                      <a:pt x="1209" y="814"/>
                    </a:lnTo>
                    <a:lnTo>
                      <a:pt x="1216" y="811"/>
                    </a:lnTo>
                    <a:lnTo>
                      <a:pt x="1229" y="805"/>
                    </a:lnTo>
                    <a:lnTo>
                      <a:pt x="1242" y="795"/>
                    </a:lnTo>
                    <a:lnTo>
                      <a:pt x="1255" y="785"/>
                    </a:lnTo>
                    <a:lnTo>
                      <a:pt x="1266" y="773"/>
                    </a:lnTo>
                    <a:lnTo>
                      <a:pt x="1285" y="753"/>
                    </a:lnTo>
                    <a:lnTo>
                      <a:pt x="1285" y="753"/>
                    </a:lnTo>
                    <a:lnTo>
                      <a:pt x="1303" y="738"/>
                    </a:lnTo>
                    <a:lnTo>
                      <a:pt x="1312" y="731"/>
                    </a:lnTo>
                    <a:lnTo>
                      <a:pt x="1319" y="723"/>
                    </a:lnTo>
                    <a:lnTo>
                      <a:pt x="1325" y="715"/>
                    </a:lnTo>
                    <a:lnTo>
                      <a:pt x="1330" y="704"/>
                    </a:lnTo>
                    <a:lnTo>
                      <a:pt x="1333" y="693"/>
                    </a:lnTo>
                    <a:lnTo>
                      <a:pt x="1333" y="679"/>
                    </a:lnTo>
                    <a:lnTo>
                      <a:pt x="1333" y="679"/>
                    </a:lnTo>
                    <a:lnTo>
                      <a:pt x="1333" y="670"/>
                    </a:lnTo>
                    <a:lnTo>
                      <a:pt x="1331" y="662"/>
                    </a:lnTo>
                    <a:lnTo>
                      <a:pt x="1327" y="655"/>
                    </a:lnTo>
                    <a:lnTo>
                      <a:pt x="1323" y="649"/>
                    </a:lnTo>
                    <a:lnTo>
                      <a:pt x="1318" y="643"/>
                    </a:lnTo>
                    <a:lnTo>
                      <a:pt x="1312" y="638"/>
                    </a:lnTo>
                    <a:lnTo>
                      <a:pt x="1301" y="628"/>
                    </a:lnTo>
                    <a:lnTo>
                      <a:pt x="1288" y="619"/>
                    </a:lnTo>
                    <a:lnTo>
                      <a:pt x="1282" y="615"/>
                    </a:lnTo>
                    <a:lnTo>
                      <a:pt x="1278" y="610"/>
                    </a:lnTo>
                    <a:lnTo>
                      <a:pt x="1273" y="604"/>
                    </a:lnTo>
                    <a:lnTo>
                      <a:pt x="1270" y="599"/>
                    </a:lnTo>
                    <a:lnTo>
                      <a:pt x="1267" y="592"/>
                    </a:lnTo>
                    <a:lnTo>
                      <a:pt x="1267" y="584"/>
                    </a:lnTo>
                    <a:lnTo>
                      <a:pt x="1267" y="584"/>
                    </a:lnTo>
                    <a:lnTo>
                      <a:pt x="1267" y="579"/>
                    </a:lnTo>
                    <a:lnTo>
                      <a:pt x="1269" y="574"/>
                    </a:lnTo>
                    <a:lnTo>
                      <a:pt x="1270" y="571"/>
                    </a:lnTo>
                    <a:lnTo>
                      <a:pt x="1272" y="569"/>
                    </a:lnTo>
                    <a:lnTo>
                      <a:pt x="1278" y="563"/>
                    </a:lnTo>
                    <a:lnTo>
                      <a:pt x="1285" y="558"/>
                    </a:lnTo>
                    <a:lnTo>
                      <a:pt x="1300" y="550"/>
                    </a:lnTo>
                    <a:lnTo>
                      <a:pt x="1307" y="546"/>
                    </a:lnTo>
                    <a:lnTo>
                      <a:pt x="1311" y="540"/>
                    </a:lnTo>
                    <a:lnTo>
                      <a:pt x="1311" y="540"/>
                    </a:lnTo>
                    <a:lnTo>
                      <a:pt x="1319" y="520"/>
                    </a:lnTo>
                    <a:lnTo>
                      <a:pt x="1328" y="498"/>
                    </a:lnTo>
                    <a:lnTo>
                      <a:pt x="1338" y="477"/>
                    </a:lnTo>
                    <a:lnTo>
                      <a:pt x="1347" y="454"/>
                    </a:lnTo>
                    <a:lnTo>
                      <a:pt x="1358" y="433"/>
                    </a:lnTo>
                    <a:lnTo>
                      <a:pt x="1370" y="413"/>
                    </a:lnTo>
                    <a:lnTo>
                      <a:pt x="1377" y="405"/>
                    </a:lnTo>
                    <a:lnTo>
                      <a:pt x="1384" y="397"/>
                    </a:lnTo>
                    <a:lnTo>
                      <a:pt x="1392" y="390"/>
                    </a:lnTo>
                    <a:lnTo>
                      <a:pt x="1400" y="386"/>
                    </a:lnTo>
                    <a:lnTo>
                      <a:pt x="1400" y="386"/>
                    </a:lnTo>
                    <a:lnTo>
                      <a:pt x="1408" y="380"/>
                    </a:lnTo>
                    <a:lnTo>
                      <a:pt x="1417" y="375"/>
                    </a:lnTo>
                    <a:lnTo>
                      <a:pt x="1425" y="371"/>
                    </a:lnTo>
                    <a:lnTo>
                      <a:pt x="1433" y="365"/>
                    </a:lnTo>
                    <a:lnTo>
                      <a:pt x="1441" y="358"/>
                    </a:lnTo>
                    <a:lnTo>
                      <a:pt x="1446" y="349"/>
                    </a:lnTo>
                    <a:lnTo>
                      <a:pt x="1448" y="344"/>
                    </a:lnTo>
                    <a:lnTo>
                      <a:pt x="1449" y="337"/>
                    </a:lnTo>
                    <a:lnTo>
                      <a:pt x="1450" y="330"/>
                    </a:lnTo>
                    <a:lnTo>
                      <a:pt x="1452" y="324"/>
                    </a:lnTo>
                    <a:lnTo>
                      <a:pt x="1452" y="324"/>
                    </a:lnTo>
                    <a:lnTo>
                      <a:pt x="1450" y="313"/>
                    </a:lnTo>
                    <a:lnTo>
                      <a:pt x="1447" y="305"/>
                    </a:lnTo>
                    <a:lnTo>
                      <a:pt x="1442" y="298"/>
                    </a:lnTo>
                    <a:lnTo>
                      <a:pt x="1438" y="291"/>
                    </a:lnTo>
                    <a:lnTo>
                      <a:pt x="1431" y="287"/>
                    </a:lnTo>
                    <a:lnTo>
                      <a:pt x="1423" y="281"/>
                    </a:lnTo>
                    <a:lnTo>
                      <a:pt x="1407" y="272"/>
                    </a:lnTo>
                    <a:lnTo>
                      <a:pt x="1407" y="27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6" name="Freeform 111"/>
              <p:cNvSpPr>
                <a:spLocks noChangeAspect="1"/>
              </p:cNvSpPr>
              <p:nvPr/>
            </p:nvSpPr>
            <p:spPr bwMode="auto">
              <a:xfrm>
                <a:off x="5076374" y="2025410"/>
                <a:ext cx="2114535" cy="2301675"/>
              </a:xfrm>
              <a:custGeom>
                <a:avLst/>
                <a:gdLst/>
                <a:ahLst/>
                <a:cxnLst>
                  <a:cxn ang="0">
                    <a:pos x="2493" y="1466"/>
                  </a:cxn>
                  <a:cxn ang="0">
                    <a:pos x="2473" y="1235"/>
                  </a:cxn>
                  <a:cxn ang="0">
                    <a:pos x="2466" y="1160"/>
                  </a:cxn>
                  <a:cxn ang="0">
                    <a:pos x="2562" y="1080"/>
                  </a:cxn>
                  <a:cxn ang="0">
                    <a:pos x="2636" y="943"/>
                  </a:cxn>
                  <a:cxn ang="0">
                    <a:pos x="2569" y="794"/>
                  </a:cxn>
                  <a:cxn ang="0">
                    <a:pos x="2530" y="702"/>
                  </a:cxn>
                  <a:cxn ang="0">
                    <a:pos x="2600" y="590"/>
                  </a:cxn>
                  <a:cxn ang="0">
                    <a:pos x="2666" y="489"/>
                  </a:cxn>
                  <a:cxn ang="0">
                    <a:pos x="2554" y="396"/>
                  </a:cxn>
                  <a:cxn ang="0">
                    <a:pos x="2434" y="339"/>
                  </a:cxn>
                  <a:cxn ang="0">
                    <a:pos x="2475" y="157"/>
                  </a:cxn>
                  <a:cxn ang="0">
                    <a:pos x="2391" y="7"/>
                  </a:cxn>
                  <a:cxn ang="0">
                    <a:pos x="2428" y="141"/>
                  </a:cxn>
                  <a:cxn ang="0">
                    <a:pos x="2236" y="98"/>
                  </a:cxn>
                  <a:cxn ang="0">
                    <a:pos x="2011" y="72"/>
                  </a:cxn>
                  <a:cxn ang="0">
                    <a:pos x="1886" y="320"/>
                  </a:cxn>
                  <a:cxn ang="0">
                    <a:pos x="1690" y="354"/>
                  </a:cxn>
                  <a:cxn ang="0">
                    <a:pos x="1559" y="350"/>
                  </a:cxn>
                  <a:cxn ang="0">
                    <a:pos x="1537" y="418"/>
                  </a:cxn>
                  <a:cxn ang="0">
                    <a:pos x="1510" y="389"/>
                  </a:cxn>
                  <a:cxn ang="0">
                    <a:pos x="1311" y="532"/>
                  </a:cxn>
                  <a:cxn ang="0">
                    <a:pos x="1324" y="616"/>
                  </a:cxn>
                  <a:cxn ang="0">
                    <a:pos x="1315" y="733"/>
                  </a:cxn>
                  <a:cxn ang="0">
                    <a:pos x="1223" y="808"/>
                  </a:cxn>
                  <a:cxn ang="0">
                    <a:pos x="1073" y="890"/>
                  </a:cxn>
                  <a:cxn ang="0">
                    <a:pos x="1055" y="1063"/>
                  </a:cxn>
                  <a:cxn ang="0">
                    <a:pos x="892" y="900"/>
                  </a:cxn>
                  <a:cxn ang="0">
                    <a:pos x="725" y="798"/>
                  </a:cxn>
                  <a:cxn ang="0">
                    <a:pos x="563" y="853"/>
                  </a:cxn>
                  <a:cxn ang="0">
                    <a:pos x="567" y="1004"/>
                  </a:cxn>
                  <a:cxn ang="0">
                    <a:pos x="372" y="972"/>
                  </a:cxn>
                  <a:cxn ang="0">
                    <a:pos x="137" y="1022"/>
                  </a:cxn>
                  <a:cxn ang="0">
                    <a:pos x="47" y="1150"/>
                  </a:cxn>
                  <a:cxn ang="0">
                    <a:pos x="183" y="1338"/>
                  </a:cxn>
                  <a:cxn ang="0">
                    <a:pos x="228" y="1472"/>
                  </a:cxn>
                  <a:cxn ang="0">
                    <a:pos x="136" y="1703"/>
                  </a:cxn>
                  <a:cxn ang="0">
                    <a:pos x="68" y="1924"/>
                  </a:cxn>
                  <a:cxn ang="0">
                    <a:pos x="52" y="2190"/>
                  </a:cxn>
                  <a:cxn ang="0">
                    <a:pos x="121" y="2315"/>
                  </a:cxn>
                  <a:cxn ang="0">
                    <a:pos x="152" y="2556"/>
                  </a:cxn>
                  <a:cxn ang="0">
                    <a:pos x="350" y="2595"/>
                  </a:cxn>
                  <a:cxn ang="0">
                    <a:pos x="437" y="2755"/>
                  </a:cxn>
                  <a:cxn ang="0">
                    <a:pos x="511" y="2908"/>
                  </a:cxn>
                  <a:cxn ang="0">
                    <a:pos x="583" y="3273"/>
                  </a:cxn>
                  <a:cxn ang="0">
                    <a:pos x="772" y="3188"/>
                  </a:cxn>
                  <a:cxn ang="0">
                    <a:pos x="896" y="3130"/>
                  </a:cxn>
                  <a:cxn ang="0">
                    <a:pos x="1057" y="2945"/>
                  </a:cxn>
                  <a:cxn ang="0">
                    <a:pos x="1220" y="3003"/>
                  </a:cxn>
                  <a:cxn ang="0">
                    <a:pos x="1365" y="3190"/>
                  </a:cxn>
                  <a:cxn ang="0">
                    <a:pos x="1712" y="3260"/>
                  </a:cxn>
                  <a:cxn ang="0">
                    <a:pos x="1885" y="3281"/>
                  </a:cxn>
                  <a:cxn ang="0">
                    <a:pos x="2116" y="3182"/>
                  </a:cxn>
                  <a:cxn ang="0">
                    <a:pos x="2317" y="3039"/>
                  </a:cxn>
                  <a:cxn ang="0">
                    <a:pos x="2241" y="2815"/>
                  </a:cxn>
                  <a:cxn ang="0">
                    <a:pos x="2218" y="2657"/>
                  </a:cxn>
                  <a:cxn ang="0">
                    <a:pos x="2284" y="2428"/>
                  </a:cxn>
                  <a:cxn ang="0">
                    <a:pos x="2389" y="2323"/>
                  </a:cxn>
                  <a:cxn ang="0">
                    <a:pos x="2445" y="2182"/>
                  </a:cxn>
                  <a:cxn ang="0">
                    <a:pos x="2346" y="1950"/>
                  </a:cxn>
                  <a:cxn ang="0">
                    <a:pos x="2345" y="1732"/>
                  </a:cxn>
                  <a:cxn ang="0">
                    <a:pos x="2530" y="1660"/>
                  </a:cxn>
                  <a:cxn ang="0">
                    <a:pos x="2568" y="1592"/>
                  </a:cxn>
                </a:cxnLst>
                <a:rect l="0" t="0" r="r" b="b"/>
                <a:pathLst>
                  <a:path w="2667" h="3308">
                    <a:moveTo>
                      <a:pt x="2568" y="1592"/>
                    </a:moveTo>
                    <a:lnTo>
                      <a:pt x="2568" y="1592"/>
                    </a:lnTo>
                    <a:lnTo>
                      <a:pt x="2567" y="1582"/>
                    </a:lnTo>
                    <a:lnTo>
                      <a:pt x="2565" y="1573"/>
                    </a:lnTo>
                    <a:lnTo>
                      <a:pt x="2561" y="1567"/>
                    </a:lnTo>
                    <a:lnTo>
                      <a:pt x="2557" y="1560"/>
                    </a:lnTo>
                    <a:lnTo>
                      <a:pt x="2550" y="1548"/>
                    </a:lnTo>
                    <a:lnTo>
                      <a:pt x="2548" y="1542"/>
                    </a:lnTo>
                    <a:lnTo>
                      <a:pt x="2546" y="1537"/>
                    </a:lnTo>
                    <a:lnTo>
                      <a:pt x="2546" y="1537"/>
                    </a:lnTo>
                    <a:lnTo>
                      <a:pt x="2546" y="1511"/>
                    </a:lnTo>
                    <a:lnTo>
                      <a:pt x="2546" y="1511"/>
                    </a:lnTo>
                    <a:lnTo>
                      <a:pt x="2546" y="1506"/>
                    </a:lnTo>
                    <a:lnTo>
                      <a:pt x="2544" y="1502"/>
                    </a:lnTo>
                    <a:lnTo>
                      <a:pt x="2542" y="1498"/>
                    </a:lnTo>
                    <a:lnTo>
                      <a:pt x="2539" y="1494"/>
                    </a:lnTo>
                    <a:lnTo>
                      <a:pt x="2531" y="1489"/>
                    </a:lnTo>
                    <a:lnTo>
                      <a:pt x="2523" y="1485"/>
                    </a:lnTo>
                    <a:lnTo>
                      <a:pt x="2513" y="1480"/>
                    </a:lnTo>
                    <a:lnTo>
                      <a:pt x="2505" y="1476"/>
                    </a:lnTo>
                    <a:lnTo>
                      <a:pt x="2497" y="1470"/>
                    </a:lnTo>
                    <a:lnTo>
                      <a:pt x="2493" y="1466"/>
                    </a:lnTo>
                    <a:lnTo>
                      <a:pt x="2491" y="1463"/>
                    </a:lnTo>
                    <a:lnTo>
                      <a:pt x="2491" y="1463"/>
                    </a:lnTo>
                    <a:lnTo>
                      <a:pt x="2481" y="1446"/>
                    </a:lnTo>
                    <a:lnTo>
                      <a:pt x="2470" y="1432"/>
                    </a:lnTo>
                    <a:lnTo>
                      <a:pt x="2459" y="1417"/>
                    </a:lnTo>
                    <a:lnTo>
                      <a:pt x="2449" y="1402"/>
                    </a:lnTo>
                    <a:lnTo>
                      <a:pt x="2439" y="1387"/>
                    </a:lnTo>
                    <a:lnTo>
                      <a:pt x="2436" y="1378"/>
                    </a:lnTo>
                    <a:lnTo>
                      <a:pt x="2432" y="1369"/>
                    </a:lnTo>
                    <a:lnTo>
                      <a:pt x="2429" y="1358"/>
                    </a:lnTo>
                    <a:lnTo>
                      <a:pt x="2427" y="1347"/>
                    </a:lnTo>
                    <a:lnTo>
                      <a:pt x="2426" y="1334"/>
                    </a:lnTo>
                    <a:lnTo>
                      <a:pt x="2426" y="1320"/>
                    </a:lnTo>
                    <a:lnTo>
                      <a:pt x="2426" y="1320"/>
                    </a:lnTo>
                    <a:lnTo>
                      <a:pt x="2427" y="1308"/>
                    </a:lnTo>
                    <a:lnTo>
                      <a:pt x="2429" y="1294"/>
                    </a:lnTo>
                    <a:lnTo>
                      <a:pt x="2434" y="1281"/>
                    </a:lnTo>
                    <a:lnTo>
                      <a:pt x="2439" y="1270"/>
                    </a:lnTo>
                    <a:lnTo>
                      <a:pt x="2446" y="1258"/>
                    </a:lnTo>
                    <a:lnTo>
                      <a:pt x="2454" y="1249"/>
                    </a:lnTo>
                    <a:lnTo>
                      <a:pt x="2464" y="1241"/>
                    </a:lnTo>
                    <a:lnTo>
                      <a:pt x="2473" y="1235"/>
                    </a:lnTo>
                    <a:lnTo>
                      <a:pt x="2473" y="1235"/>
                    </a:lnTo>
                    <a:lnTo>
                      <a:pt x="2481" y="1233"/>
                    </a:lnTo>
                    <a:lnTo>
                      <a:pt x="2487" y="1233"/>
                    </a:lnTo>
                    <a:lnTo>
                      <a:pt x="2496" y="1231"/>
                    </a:lnTo>
                    <a:lnTo>
                      <a:pt x="2499" y="1229"/>
                    </a:lnTo>
                    <a:lnTo>
                      <a:pt x="2500" y="1226"/>
                    </a:lnTo>
                    <a:lnTo>
                      <a:pt x="2502" y="1221"/>
                    </a:lnTo>
                    <a:lnTo>
                      <a:pt x="2503" y="1213"/>
                    </a:lnTo>
                    <a:lnTo>
                      <a:pt x="2503" y="1213"/>
                    </a:lnTo>
                    <a:lnTo>
                      <a:pt x="2502" y="1208"/>
                    </a:lnTo>
                    <a:lnTo>
                      <a:pt x="2500" y="1203"/>
                    </a:lnTo>
                    <a:lnTo>
                      <a:pt x="2499" y="1199"/>
                    </a:lnTo>
                    <a:lnTo>
                      <a:pt x="2497" y="1196"/>
                    </a:lnTo>
                    <a:lnTo>
                      <a:pt x="2490" y="1190"/>
                    </a:lnTo>
                    <a:lnTo>
                      <a:pt x="2484" y="1185"/>
                    </a:lnTo>
                    <a:lnTo>
                      <a:pt x="2477" y="1181"/>
                    </a:lnTo>
                    <a:lnTo>
                      <a:pt x="2470" y="1176"/>
                    </a:lnTo>
                    <a:lnTo>
                      <a:pt x="2467" y="1172"/>
                    </a:lnTo>
                    <a:lnTo>
                      <a:pt x="2466" y="1168"/>
                    </a:lnTo>
                    <a:lnTo>
                      <a:pt x="2465" y="1165"/>
                    </a:lnTo>
                    <a:lnTo>
                      <a:pt x="2465" y="1165"/>
                    </a:lnTo>
                    <a:lnTo>
                      <a:pt x="2466" y="1160"/>
                    </a:lnTo>
                    <a:lnTo>
                      <a:pt x="2467" y="1156"/>
                    </a:lnTo>
                    <a:lnTo>
                      <a:pt x="2469" y="1151"/>
                    </a:lnTo>
                    <a:lnTo>
                      <a:pt x="2473" y="1148"/>
                    </a:lnTo>
                    <a:lnTo>
                      <a:pt x="2480" y="1141"/>
                    </a:lnTo>
                    <a:lnTo>
                      <a:pt x="2489" y="1134"/>
                    </a:lnTo>
                    <a:lnTo>
                      <a:pt x="2498" y="1128"/>
                    </a:lnTo>
                    <a:lnTo>
                      <a:pt x="2507" y="1121"/>
                    </a:lnTo>
                    <a:lnTo>
                      <a:pt x="2515" y="1113"/>
                    </a:lnTo>
                    <a:lnTo>
                      <a:pt x="2518" y="1109"/>
                    </a:lnTo>
                    <a:lnTo>
                      <a:pt x="2521" y="1103"/>
                    </a:lnTo>
                    <a:lnTo>
                      <a:pt x="2521" y="1103"/>
                    </a:lnTo>
                    <a:lnTo>
                      <a:pt x="2522" y="1095"/>
                    </a:lnTo>
                    <a:lnTo>
                      <a:pt x="2525" y="1083"/>
                    </a:lnTo>
                    <a:lnTo>
                      <a:pt x="2527" y="1079"/>
                    </a:lnTo>
                    <a:lnTo>
                      <a:pt x="2529" y="1074"/>
                    </a:lnTo>
                    <a:lnTo>
                      <a:pt x="2531" y="1072"/>
                    </a:lnTo>
                    <a:lnTo>
                      <a:pt x="2535" y="1071"/>
                    </a:lnTo>
                    <a:lnTo>
                      <a:pt x="2535" y="1071"/>
                    </a:lnTo>
                    <a:lnTo>
                      <a:pt x="2542" y="1071"/>
                    </a:lnTo>
                    <a:lnTo>
                      <a:pt x="2546" y="1072"/>
                    </a:lnTo>
                    <a:lnTo>
                      <a:pt x="2554" y="1076"/>
                    </a:lnTo>
                    <a:lnTo>
                      <a:pt x="2562" y="1080"/>
                    </a:lnTo>
                    <a:lnTo>
                      <a:pt x="2568" y="1081"/>
                    </a:lnTo>
                    <a:lnTo>
                      <a:pt x="2576" y="1081"/>
                    </a:lnTo>
                    <a:lnTo>
                      <a:pt x="2576" y="1081"/>
                    </a:lnTo>
                    <a:lnTo>
                      <a:pt x="2586" y="1080"/>
                    </a:lnTo>
                    <a:lnTo>
                      <a:pt x="2592" y="1077"/>
                    </a:lnTo>
                    <a:lnTo>
                      <a:pt x="2598" y="1073"/>
                    </a:lnTo>
                    <a:lnTo>
                      <a:pt x="2603" y="1066"/>
                    </a:lnTo>
                    <a:lnTo>
                      <a:pt x="2607" y="1059"/>
                    </a:lnTo>
                    <a:lnTo>
                      <a:pt x="2610" y="1050"/>
                    </a:lnTo>
                    <a:lnTo>
                      <a:pt x="2613" y="1030"/>
                    </a:lnTo>
                    <a:lnTo>
                      <a:pt x="2617" y="1011"/>
                    </a:lnTo>
                    <a:lnTo>
                      <a:pt x="2619" y="1000"/>
                    </a:lnTo>
                    <a:lnTo>
                      <a:pt x="2622" y="991"/>
                    </a:lnTo>
                    <a:lnTo>
                      <a:pt x="2626" y="983"/>
                    </a:lnTo>
                    <a:lnTo>
                      <a:pt x="2632" y="975"/>
                    </a:lnTo>
                    <a:lnTo>
                      <a:pt x="2637" y="968"/>
                    </a:lnTo>
                    <a:lnTo>
                      <a:pt x="2645" y="964"/>
                    </a:lnTo>
                    <a:lnTo>
                      <a:pt x="2645" y="964"/>
                    </a:lnTo>
                    <a:lnTo>
                      <a:pt x="2645" y="960"/>
                    </a:lnTo>
                    <a:lnTo>
                      <a:pt x="2644" y="956"/>
                    </a:lnTo>
                    <a:lnTo>
                      <a:pt x="2641" y="950"/>
                    </a:lnTo>
                    <a:lnTo>
                      <a:pt x="2636" y="943"/>
                    </a:lnTo>
                    <a:lnTo>
                      <a:pt x="2635" y="941"/>
                    </a:lnTo>
                    <a:lnTo>
                      <a:pt x="2635" y="938"/>
                    </a:lnTo>
                    <a:lnTo>
                      <a:pt x="2635" y="938"/>
                    </a:lnTo>
                    <a:lnTo>
                      <a:pt x="2634" y="931"/>
                    </a:lnTo>
                    <a:lnTo>
                      <a:pt x="2633" y="926"/>
                    </a:lnTo>
                    <a:lnTo>
                      <a:pt x="2630" y="920"/>
                    </a:lnTo>
                    <a:lnTo>
                      <a:pt x="2627" y="915"/>
                    </a:lnTo>
                    <a:lnTo>
                      <a:pt x="2619" y="907"/>
                    </a:lnTo>
                    <a:lnTo>
                      <a:pt x="2610" y="901"/>
                    </a:lnTo>
                    <a:lnTo>
                      <a:pt x="2591" y="889"/>
                    </a:lnTo>
                    <a:lnTo>
                      <a:pt x="2584" y="883"/>
                    </a:lnTo>
                    <a:lnTo>
                      <a:pt x="2581" y="880"/>
                    </a:lnTo>
                    <a:lnTo>
                      <a:pt x="2580" y="876"/>
                    </a:lnTo>
                    <a:lnTo>
                      <a:pt x="2580" y="876"/>
                    </a:lnTo>
                    <a:lnTo>
                      <a:pt x="2580" y="858"/>
                    </a:lnTo>
                    <a:lnTo>
                      <a:pt x="2580" y="837"/>
                    </a:lnTo>
                    <a:lnTo>
                      <a:pt x="2579" y="825"/>
                    </a:lnTo>
                    <a:lnTo>
                      <a:pt x="2577" y="815"/>
                    </a:lnTo>
                    <a:lnTo>
                      <a:pt x="2575" y="806"/>
                    </a:lnTo>
                    <a:lnTo>
                      <a:pt x="2573" y="798"/>
                    </a:lnTo>
                    <a:lnTo>
                      <a:pt x="2573" y="798"/>
                    </a:lnTo>
                    <a:lnTo>
                      <a:pt x="2569" y="794"/>
                    </a:lnTo>
                    <a:lnTo>
                      <a:pt x="2567" y="792"/>
                    </a:lnTo>
                    <a:lnTo>
                      <a:pt x="2560" y="789"/>
                    </a:lnTo>
                    <a:lnTo>
                      <a:pt x="2546" y="783"/>
                    </a:lnTo>
                    <a:lnTo>
                      <a:pt x="2539" y="781"/>
                    </a:lnTo>
                    <a:lnTo>
                      <a:pt x="2534" y="776"/>
                    </a:lnTo>
                    <a:lnTo>
                      <a:pt x="2531" y="773"/>
                    </a:lnTo>
                    <a:lnTo>
                      <a:pt x="2529" y="768"/>
                    </a:lnTo>
                    <a:lnTo>
                      <a:pt x="2529" y="763"/>
                    </a:lnTo>
                    <a:lnTo>
                      <a:pt x="2528" y="758"/>
                    </a:lnTo>
                    <a:lnTo>
                      <a:pt x="2528" y="758"/>
                    </a:lnTo>
                    <a:lnTo>
                      <a:pt x="2529" y="753"/>
                    </a:lnTo>
                    <a:lnTo>
                      <a:pt x="2531" y="748"/>
                    </a:lnTo>
                    <a:lnTo>
                      <a:pt x="2538" y="738"/>
                    </a:lnTo>
                    <a:lnTo>
                      <a:pt x="2546" y="730"/>
                    </a:lnTo>
                    <a:lnTo>
                      <a:pt x="2553" y="724"/>
                    </a:lnTo>
                    <a:lnTo>
                      <a:pt x="2553" y="724"/>
                    </a:lnTo>
                    <a:lnTo>
                      <a:pt x="2552" y="721"/>
                    </a:lnTo>
                    <a:lnTo>
                      <a:pt x="2551" y="717"/>
                    </a:lnTo>
                    <a:lnTo>
                      <a:pt x="2546" y="713"/>
                    </a:lnTo>
                    <a:lnTo>
                      <a:pt x="2542" y="709"/>
                    </a:lnTo>
                    <a:lnTo>
                      <a:pt x="2536" y="706"/>
                    </a:lnTo>
                    <a:lnTo>
                      <a:pt x="2530" y="702"/>
                    </a:lnTo>
                    <a:lnTo>
                      <a:pt x="2526" y="698"/>
                    </a:lnTo>
                    <a:lnTo>
                      <a:pt x="2522" y="692"/>
                    </a:lnTo>
                    <a:lnTo>
                      <a:pt x="2521" y="689"/>
                    </a:lnTo>
                    <a:lnTo>
                      <a:pt x="2521" y="684"/>
                    </a:lnTo>
                    <a:lnTo>
                      <a:pt x="2521" y="684"/>
                    </a:lnTo>
                    <a:lnTo>
                      <a:pt x="2521" y="677"/>
                    </a:lnTo>
                    <a:lnTo>
                      <a:pt x="2523" y="671"/>
                    </a:lnTo>
                    <a:lnTo>
                      <a:pt x="2526" y="666"/>
                    </a:lnTo>
                    <a:lnTo>
                      <a:pt x="2529" y="661"/>
                    </a:lnTo>
                    <a:lnTo>
                      <a:pt x="2534" y="656"/>
                    </a:lnTo>
                    <a:lnTo>
                      <a:pt x="2539" y="652"/>
                    </a:lnTo>
                    <a:lnTo>
                      <a:pt x="2551" y="645"/>
                    </a:lnTo>
                    <a:lnTo>
                      <a:pt x="2562" y="638"/>
                    </a:lnTo>
                    <a:lnTo>
                      <a:pt x="2575" y="631"/>
                    </a:lnTo>
                    <a:lnTo>
                      <a:pt x="2581" y="626"/>
                    </a:lnTo>
                    <a:lnTo>
                      <a:pt x="2586" y="622"/>
                    </a:lnTo>
                    <a:lnTo>
                      <a:pt x="2590" y="617"/>
                    </a:lnTo>
                    <a:lnTo>
                      <a:pt x="2594" y="611"/>
                    </a:lnTo>
                    <a:lnTo>
                      <a:pt x="2594" y="611"/>
                    </a:lnTo>
                    <a:lnTo>
                      <a:pt x="2597" y="606"/>
                    </a:lnTo>
                    <a:lnTo>
                      <a:pt x="2599" y="600"/>
                    </a:lnTo>
                    <a:lnTo>
                      <a:pt x="2600" y="590"/>
                    </a:lnTo>
                    <a:lnTo>
                      <a:pt x="2602" y="585"/>
                    </a:lnTo>
                    <a:lnTo>
                      <a:pt x="2603" y="582"/>
                    </a:lnTo>
                    <a:lnTo>
                      <a:pt x="2606" y="579"/>
                    </a:lnTo>
                    <a:lnTo>
                      <a:pt x="2612" y="578"/>
                    </a:lnTo>
                    <a:lnTo>
                      <a:pt x="2612" y="578"/>
                    </a:lnTo>
                    <a:lnTo>
                      <a:pt x="2622" y="578"/>
                    </a:lnTo>
                    <a:lnTo>
                      <a:pt x="2632" y="579"/>
                    </a:lnTo>
                    <a:lnTo>
                      <a:pt x="2640" y="579"/>
                    </a:lnTo>
                    <a:lnTo>
                      <a:pt x="2645" y="578"/>
                    </a:lnTo>
                    <a:lnTo>
                      <a:pt x="2645" y="578"/>
                    </a:lnTo>
                    <a:lnTo>
                      <a:pt x="2645" y="538"/>
                    </a:lnTo>
                    <a:lnTo>
                      <a:pt x="2645" y="538"/>
                    </a:lnTo>
                    <a:lnTo>
                      <a:pt x="2646" y="531"/>
                    </a:lnTo>
                    <a:lnTo>
                      <a:pt x="2649" y="525"/>
                    </a:lnTo>
                    <a:lnTo>
                      <a:pt x="2652" y="521"/>
                    </a:lnTo>
                    <a:lnTo>
                      <a:pt x="2657" y="516"/>
                    </a:lnTo>
                    <a:lnTo>
                      <a:pt x="2660" y="510"/>
                    </a:lnTo>
                    <a:lnTo>
                      <a:pt x="2664" y="506"/>
                    </a:lnTo>
                    <a:lnTo>
                      <a:pt x="2666" y="500"/>
                    </a:lnTo>
                    <a:lnTo>
                      <a:pt x="2667" y="493"/>
                    </a:lnTo>
                    <a:lnTo>
                      <a:pt x="2667" y="493"/>
                    </a:lnTo>
                    <a:lnTo>
                      <a:pt x="2666" y="489"/>
                    </a:lnTo>
                    <a:lnTo>
                      <a:pt x="2664" y="485"/>
                    </a:lnTo>
                    <a:lnTo>
                      <a:pt x="2656" y="476"/>
                    </a:lnTo>
                    <a:lnTo>
                      <a:pt x="2648" y="466"/>
                    </a:lnTo>
                    <a:lnTo>
                      <a:pt x="2642" y="461"/>
                    </a:lnTo>
                    <a:lnTo>
                      <a:pt x="2642" y="461"/>
                    </a:lnTo>
                    <a:lnTo>
                      <a:pt x="2635" y="460"/>
                    </a:lnTo>
                    <a:lnTo>
                      <a:pt x="2629" y="456"/>
                    </a:lnTo>
                    <a:lnTo>
                      <a:pt x="2625" y="453"/>
                    </a:lnTo>
                    <a:lnTo>
                      <a:pt x="2621" y="448"/>
                    </a:lnTo>
                    <a:lnTo>
                      <a:pt x="2619" y="443"/>
                    </a:lnTo>
                    <a:lnTo>
                      <a:pt x="2617" y="438"/>
                    </a:lnTo>
                    <a:lnTo>
                      <a:pt x="2612" y="426"/>
                    </a:lnTo>
                    <a:lnTo>
                      <a:pt x="2606" y="414"/>
                    </a:lnTo>
                    <a:lnTo>
                      <a:pt x="2603" y="409"/>
                    </a:lnTo>
                    <a:lnTo>
                      <a:pt x="2599" y="404"/>
                    </a:lnTo>
                    <a:lnTo>
                      <a:pt x="2594" y="400"/>
                    </a:lnTo>
                    <a:lnTo>
                      <a:pt x="2587" y="396"/>
                    </a:lnTo>
                    <a:lnTo>
                      <a:pt x="2579" y="395"/>
                    </a:lnTo>
                    <a:lnTo>
                      <a:pt x="2568" y="394"/>
                    </a:lnTo>
                    <a:lnTo>
                      <a:pt x="2568" y="394"/>
                    </a:lnTo>
                    <a:lnTo>
                      <a:pt x="2561" y="394"/>
                    </a:lnTo>
                    <a:lnTo>
                      <a:pt x="2554" y="396"/>
                    </a:lnTo>
                    <a:lnTo>
                      <a:pt x="2543" y="400"/>
                    </a:lnTo>
                    <a:lnTo>
                      <a:pt x="2530" y="403"/>
                    </a:lnTo>
                    <a:lnTo>
                      <a:pt x="2523" y="404"/>
                    </a:lnTo>
                    <a:lnTo>
                      <a:pt x="2516" y="405"/>
                    </a:lnTo>
                    <a:lnTo>
                      <a:pt x="2516" y="405"/>
                    </a:lnTo>
                    <a:lnTo>
                      <a:pt x="2506" y="404"/>
                    </a:lnTo>
                    <a:lnTo>
                      <a:pt x="2496" y="402"/>
                    </a:lnTo>
                    <a:lnTo>
                      <a:pt x="2487" y="399"/>
                    </a:lnTo>
                    <a:lnTo>
                      <a:pt x="2478" y="395"/>
                    </a:lnTo>
                    <a:lnTo>
                      <a:pt x="2472" y="391"/>
                    </a:lnTo>
                    <a:lnTo>
                      <a:pt x="2466" y="385"/>
                    </a:lnTo>
                    <a:lnTo>
                      <a:pt x="2462" y="380"/>
                    </a:lnTo>
                    <a:lnTo>
                      <a:pt x="2461" y="376"/>
                    </a:lnTo>
                    <a:lnTo>
                      <a:pt x="2461" y="376"/>
                    </a:lnTo>
                    <a:lnTo>
                      <a:pt x="2462" y="358"/>
                    </a:lnTo>
                    <a:lnTo>
                      <a:pt x="2461" y="349"/>
                    </a:lnTo>
                    <a:lnTo>
                      <a:pt x="2460" y="344"/>
                    </a:lnTo>
                    <a:lnTo>
                      <a:pt x="2458" y="339"/>
                    </a:lnTo>
                    <a:lnTo>
                      <a:pt x="2458" y="339"/>
                    </a:lnTo>
                    <a:lnTo>
                      <a:pt x="2449" y="340"/>
                    </a:lnTo>
                    <a:lnTo>
                      <a:pt x="2441" y="340"/>
                    </a:lnTo>
                    <a:lnTo>
                      <a:pt x="2434" y="339"/>
                    </a:lnTo>
                    <a:lnTo>
                      <a:pt x="2428" y="336"/>
                    </a:lnTo>
                    <a:lnTo>
                      <a:pt x="2423" y="333"/>
                    </a:lnTo>
                    <a:lnTo>
                      <a:pt x="2420" y="327"/>
                    </a:lnTo>
                    <a:lnTo>
                      <a:pt x="2419" y="319"/>
                    </a:lnTo>
                    <a:lnTo>
                      <a:pt x="2418" y="309"/>
                    </a:lnTo>
                    <a:lnTo>
                      <a:pt x="2418" y="309"/>
                    </a:lnTo>
                    <a:lnTo>
                      <a:pt x="2419" y="300"/>
                    </a:lnTo>
                    <a:lnTo>
                      <a:pt x="2420" y="292"/>
                    </a:lnTo>
                    <a:lnTo>
                      <a:pt x="2422" y="284"/>
                    </a:lnTo>
                    <a:lnTo>
                      <a:pt x="2424" y="275"/>
                    </a:lnTo>
                    <a:lnTo>
                      <a:pt x="2432" y="262"/>
                    </a:lnTo>
                    <a:lnTo>
                      <a:pt x="2442" y="248"/>
                    </a:lnTo>
                    <a:lnTo>
                      <a:pt x="2461" y="221"/>
                    </a:lnTo>
                    <a:lnTo>
                      <a:pt x="2469" y="208"/>
                    </a:lnTo>
                    <a:lnTo>
                      <a:pt x="2474" y="201"/>
                    </a:lnTo>
                    <a:lnTo>
                      <a:pt x="2476" y="193"/>
                    </a:lnTo>
                    <a:lnTo>
                      <a:pt x="2476" y="193"/>
                    </a:lnTo>
                    <a:lnTo>
                      <a:pt x="2477" y="187"/>
                    </a:lnTo>
                    <a:lnTo>
                      <a:pt x="2477" y="182"/>
                    </a:lnTo>
                    <a:lnTo>
                      <a:pt x="2475" y="172"/>
                    </a:lnTo>
                    <a:lnTo>
                      <a:pt x="2474" y="163"/>
                    </a:lnTo>
                    <a:lnTo>
                      <a:pt x="2475" y="157"/>
                    </a:lnTo>
                    <a:lnTo>
                      <a:pt x="2476" y="152"/>
                    </a:lnTo>
                    <a:lnTo>
                      <a:pt x="2476" y="152"/>
                    </a:lnTo>
                    <a:lnTo>
                      <a:pt x="2478" y="145"/>
                    </a:lnTo>
                    <a:lnTo>
                      <a:pt x="2482" y="141"/>
                    </a:lnTo>
                    <a:lnTo>
                      <a:pt x="2491" y="132"/>
                    </a:lnTo>
                    <a:lnTo>
                      <a:pt x="2495" y="126"/>
                    </a:lnTo>
                    <a:lnTo>
                      <a:pt x="2499" y="118"/>
                    </a:lnTo>
                    <a:lnTo>
                      <a:pt x="2502" y="109"/>
                    </a:lnTo>
                    <a:lnTo>
                      <a:pt x="2503" y="96"/>
                    </a:lnTo>
                    <a:lnTo>
                      <a:pt x="2503" y="96"/>
                    </a:lnTo>
                    <a:lnTo>
                      <a:pt x="2502" y="88"/>
                    </a:lnTo>
                    <a:lnTo>
                      <a:pt x="2498" y="80"/>
                    </a:lnTo>
                    <a:lnTo>
                      <a:pt x="2493" y="72"/>
                    </a:lnTo>
                    <a:lnTo>
                      <a:pt x="2488" y="64"/>
                    </a:lnTo>
                    <a:lnTo>
                      <a:pt x="2481" y="56"/>
                    </a:lnTo>
                    <a:lnTo>
                      <a:pt x="2473" y="48"/>
                    </a:lnTo>
                    <a:lnTo>
                      <a:pt x="2464" y="41"/>
                    </a:lnTo>
                    <a:lnTo>
                      <a:pt x="2453" y="34"/>
                    </a:lnTo>
                    <a:lnTo>
                      <a:pt x="2432" y="22"/>
                    </a:lnTo>
                    <a:lnTo>
                      <a:pt x="2411" y="13"/>
                    </a:lnTo>
                    <a:lnTo>
                      <a:pt x="2400" y="10"/>
                    </a:lnTo>
                    <a:lnTo>
                      <a:pt x="2391" y="7"/>
                    </a:lnTo>
                    <a:lnTo>
                      <a:pt x="2382" y="5"/>
                    </a:lnTo>
                    <a:lnTo>
                      <a:pt x="2374" y="5"/>
                    </a:lnTo>
                    <a:lnTo>
                      <a:pt x="2374" y="5"/>
                    </a:lnTo>
                    <a:lnTo>
                      <a:pt x="2369" y="4"/>
                    </a:lnTo>
                    <a:lnTo>
                      <a:pt x="2363" y="2"/>
                    </a:lnTo>
                    <a:lnTo>
                      <a:pt x="2355" y="0"/>
                    </a:lnTo>
                    <a:lnTo>
                      <a:pt x="2351" y="0"/>
                    </a:lnTo>
                    <a:lnTo>
                      <a:pt x="2344" y="2"/>
                    </a:lnTo>
                    <a:lnTo>
                      <a:pt x="2344" y="2"/>
                    </a:lnTo>
                    <a:lnTo>
                      <a:pt x="2350" y="18"/>
                    </a:lnTo>
                    <a:lnTo>
                      <a:pt x="2358" y="35"/>
                    </a:lnTo>
                    <a:lnTo>
                      <a:pt x="2367" y="51"/>
                    </a:lnTo>
                    <a:lnTo>
                      <a:pt x="2377" y="66"/>
                    </a:lnTo>
                    <a:lnTo>
                      <a:pt x="2388" y="80"/>
                    </a:lnTo>
                    <a:lnTo>
                      <a:pt x="2399" y="92"/>
                    </a:lnTo>
                    <a:lnTo>
                      <a:pt x="2408" y="103"/>
                    </a:lnTo>
                    <a:lnTo>
                      <a:pt x="2418" y="111"/>
                    </a:lnTo>
                    <a:lnTo>
                      <a:pt x="2418" y="111"/>
                    </a:lnTo>
                    <a:lnTo>
                      <a:pt x="2426" y="127"/>
                    </a:lnTo>
                    <a:lnTo>
                      <a:pt x="2429" y="136"/>
                    </a:lnTo>
                    <a:lnTo>
                      <a:pt x="2429" y="139"/>
                    </a:lnTo>
                    <a:lnTo>
                      <a:pt x="2428" y="141"/>
                    </a:lnTo>
                    <a:lnTo>
                      <a:pt x="2426" y="141"/>
                    </a:lnTo>
                    <a:lnTo>
                      <a:pt x="2423" y="141"/>
                    </a:lnTo>
                    <a:lnTo>
                      <a:pt x="2415" y="136"/>
                    </a:lnTo>
                    <a:lnTo>
                      <a:pt x="2405" y="130"/>
                    </a:lnTo>
                    <a:lnTo>
                      <a:pt x="2377" y="112"/>
                    </a:lnTo>
                    <a:lnTo>
                      <a:pt x="2361" y="102"/>
                    </a:lnTo>
                    <a:lnTo>
                      <a:pt x="2344" y="92"/>
                    </a:lnTo>
                    <a:lnTo>
                      <a:pt x="2328" y="83"/>
                    </a:lnTo>
                    <a:lnTo>
                      <a:pt x="2310" y="78"/>
                    </a:lnTo>
                    <a:lnTo>
                      <a:pt x="2302" y="74"/>
                    </a:lnTo>
                    <a:lnTo>
                      <a:pt x="2294" y="73"/>
                    </a:lnTo>
                    <a:lnTo>
                      <a:pt x="2287" y="72"/>
                    </a:lnTo>
                    <a:lnTo>
                      <a:pt x="2279" y="73"/>
                    </a:lnTo>
                    <a:lnTo>
                      <a:pt x="2274" y="74"/>
                    </a:lnTo>
                    <a:lnTo>
                      <a:pt x="2267" y="76"/>
                    </a:lnTo>
                    <a:lnTo>
                      <a:pt x="2261" y="80"/>
                    </a:lnTo>
                    <a:lnTo>
                      <a:pt x="2256" y="86"/>
                    </a:lnTo>
                    <a:lnTo>
                      <a:pt x="2256" y="86"/>
                    </a:lnTo>
                    <a:lnTo>
                      <a:pt x="2250" y="92"/>
                    </a:lnTo>
                    <a:lnTo>
                      <a:pt x="2244" y="96"/>
                    </a:lnTo>
                    <a:lnTo>
                      <a:pt x="2239" y="98"/>
                    </a:lnTo>
                    <a:lnTo>
                      <a:pt x="2236" y="98"/>
                    </a:lnTo>
                    <a:lnTo>
                      <a:pt x="2233" y="97"/>
                    </a:lnTo>
                    <a:lnTo>
                      <a:pt x="2230" y="94"/>
                    </a:lnTo>
                    <a:lnTo>
                      <a:pt x="2223" y="82"/>
                    </a:lnTo>
                    <a:lnTo>
                      <a:pt x="2218" y="76"/>
                    </a:lnTo>
                    <a:lnTo>
                      <a:pt x="2212" y="69"/>
                    </a:lnTo>
                    <a:lnTo>
                      <a:pt x="2205" y="61"/>
                    </a:lnTo>
                    <a:lnTo>
                      <a:pt x="2194" y="55"/>
                    </a:lnTo>
                    <a:lnTo>
                      <a:pt x="2183" y="48"/>
                    </a:lnTo>
                    <a:lnTo>
                      <a:pt x="2169" y="41"/>
                    </a:lnTo>
                    <a:lnTo>
                      <a:pt x="2152" y="35"/>
                    </a:lnTo>
                    <a:lnTo>
                      <a:pt x="2131" y="30"/>
                    </a:lnTo>
                    <a:lnTo>
                      <a:pt x="2131" y="30"/>
                    </a:lnTo>
                    <a:lnTo>
                      <a:pt x="2121" y="29"/>
                    </a:lnTo>
                    <a:lnTo>
                      <a:pt x="2111" y="29"/>
                    </a:lnTo>
                    <a:lnTo>
                      <a:pt x="2101" y="29"/>
                    </a:lnTo>
                    <a:lnTo>
                      <a:pt x="2092" y="30"/>
                    </a:lnTo>
                    <a:lnTo>
                      <a:pt x="2083" y="32"/>
                    </a:lnTo>
                    <a:lnTo>
                      <a:pt x="2073" y="34"/>
                    </a:lnTo>
                    <a:lnTo>
                      <a:pt x="2056" y="41"/>
                    </a:lnTo>
                    <a:lnTo>
                      <a:pt x="2040" y="50"/>
                    </a:lnTo>
                    <a:lnTo>
                      <a:pt x="2025" y="60"/>
                    </a:lnTo>
                    <a:lnTo>
                      <a:pt x="2011" y="72"/>
                    </a:lnTo>
                    <a:lnTo>
                      <a:pt x="1999" y="86"/>
                    </a:lnTo>
                    <a:lnTo>
                      <a:pt x="1987" y="99"/>
                    </a:lnTo>
                    <a:lnTo>
                      <a:pt x="1977" y="113"/>
                    </a:lnTo>
                    <a:lnTo>
                      <a:pt x="1968" y="128"/>
                    </a:lnTo>
                    <a:lnTo>
                      <a:pt x="1961" y="143"/>
                    </a:lnTo>
                    <a:lnTo>
                      <a:pt x="1955" y="157"/>
                    </a:lnTo>
                    <a:lnTo>
                      <a:pt x="1951" y="170"/>
                    </a:lnTo>
                    <a:lnTo>
                      <a:pt x="1949" y="182"/>
                    </a:lnTo>
                    <a:lnTo>
                      <a:pt x="1948" y="193"/>
                    </a:lnTo>
                    <a:lnTo>
                      <a:pt x="1948" y="193"/>
                    </a:lnTo>
                    <a:lnTo>
                      <a:pt x="1947" y="208"/>
                    </a:lnTo>
                    <a:lnTo>
                      <a:pt x="1943" y="231"/>
                    </a:lnTo>
                    <a:lnTo>
                      <a:pt x="1941" y="244"/>
                    </a:lnTo>
                    <a:lnTo>
                      <a:pt x="1937" y="257"/>
                    </a:lnTo>
                    <a:lnTo>
                      <a:pt x="1932" y="271"/>
                    </a:lnTo>
                    <a:lnTo>
                      <a:pt x="1926" y="284"/>
                    </a:lnTo>
                    <a:lnTo>
                      <a:pt x="1918" y="295"/>
                    </a:lnTo>
                    <a:lnTo>
                      <a:pt x="1909" y="305"/>
                    </a:lnTo>
                    <a:lnTo>
                      <a:pt x="1904" y="310"/>
                    </a:lnTo>
                    <a:lnTo>
                      <a:pt x="1899" y="315"/>
                    </a:lnTo>
                    <a:lnTo>
                      <a:pt x="1893" y="317"/>
                    </a:lnTo>
                    <a:lnTo>
                      <a:pt x="1886" y="320"/>
                    </a:lnTo>
                    <a:lnTo>
                      <a:pt x="1879" y="321"/>
                    </a:lnTo>
                    <a:lnTo>
                      <a:pt x="1871" y="323"/>
                    </a:lnTo>
                    <a:lnTo>
                      <a:pt x="1864" y="323"/>
                    </a:lnTo>
                    <a:lnTo>
                      <a:pt x="1855" y="323"/>
                    </a:lnTo>
                    <a:lnTo>
                      <a:pt x="1846" y="320"/>
                    </a:lnTo>
                    <a:lnTo>
                      <a:pt x="1836" y="318"/>
                    </a:lnTo>
                    <a:lnTo>
                      <a:pt x="1826" y="315"/>
                    </a:lnTo>
                    <a:lnTo>
                      <a:pt x="1816" y="309"/>
                    </a:lnTo>
                    <a:lnTo>
                      <a:pt x="1816" y="309"/>
                    </a:lnTo>
                    <a:lnTo>
                      <a:pt x="1798" y="313"/>
                    </a:lnTo>
                    <a:lnTo>
                      <a:pt x="1783" y="318"/>
                    </a:lnTo>
                    <a:lnTo>
                      <a:pt x="1770" y="323"/>
                    </a:lnTo>
                    <a:lnTo>
                      <a:pt x="1757" y="328"/>
                    </a:lnTo>
                    <a:lnTo>
                      <a:pt x="1735" y="339"/>
                    </a:lnTo>
                    <a:lnTo>
                      <a:pt x="1718" y="349"/>
                    </a:lnTo>
                    <a:lnTo>
                      <a:pt x="1705" y="357"/>
                    </a:lnTo>
                    <a:lnTo>
                      <a:pt x="1697" y="362"/>
                    </a:lnTo>
                    <a:lnTo>
                      <a:pt x="1694" y="362"/>
                    </a:lnTo>
                    <a:lnTo>
                      <a:pt x="1691" y="361"/>
                    </a:lnTo>
                    <a:lnTo>
                      <a:pt x="1690" y="358"/>
                    </a:lnTo>
                    <a:lnTo>
                      <a:pt x="1690" y="354"/>
                    </a:lnTo>
                    <a:lnTo>
                      <a:pt x="1690" y="354"/>
                    </a:lnTo>
                    <a:lnTo>
                      <a:pt x="1691" y="341"/>
                    </a:lnTo>
                    <a:lnTo>
                      <a:pt x="1694" y="326"/>
                    </a:lnTo>
                    <a:lnTo>
                      <a:pt x="1695" y="312"/>
                    </a:lnTo>
                    <a:lnTo>
                      <a:pt x="1695" y="305"/>
                    </a:lnTo>
                    <a:lnTo>
                      <a:pt x="1694" y="300"/>
                    </a:lnTo>
                    <a:lnTo>
                      <a:pt x="1690" y="295"/>
                    </a:lnTo>
                    <a:lnTo>
                      <a:pt x="1685" y="292"/>
                    </a:lnTo>
                    <a:lnTo>
                      <a:pt x="1678" y="289"/>
                    </a:lnTo>
                    <a:lnTo>
                      <a:pt x="1668" y="289"/>
                    </a:lnTo>
                    <a:lnTo>
                      <a:pt x="1657" y="290"/>
                    </a:lnTo>
                    <a:lnTo>
                      <a:pt x="1642" y="294"/>
                    </a:lnTo>
                    <a:lnTo>
                      <a:pt x="1624" y="301"/>
                    </a:lnTo>
                    <a:lnTo>
                      <a:pt x="1602" y="309"/>
                    </a:lnTo>
                    <a:lnTo>
                      <a:pt x="1602" y="309"/>
                    </a:lnTo>
                    <a:lnTo>
                      <a:pt x="1594" y="312"/>
                    </a:lnTo>
                    <a:lnTo>
                      <a:pt x="1586" y="317"/>
                    </a:lnTo>
                    <a:lnTo>
                      <a:pt x="1579" y="321"/>
                    </a:lnTo>
                    <a:lnTo>
                      <a:pt x="1573" y="326"/>
                    </a:lnTo>
                    <a:lnTo>
                      <a:pt x="1568" y="332"/>
                    </a:lnTo>
                    <a:lnTo>
                      <a:pt x="1564" y="338"/>
                    </a:lnTo>
                    <a:lnTo>
                      <a:pt x="1561" y="344"/>
                    </a:lnTo>
                    <a:lnTo>
                      <a:pt x="1559" y="350"/>
                    </a:lnTo>
                    <a:lnTo>
                      <a:pt x="1557" y="365"/>
                    </a:lnTo>
                    <a:lnTo>
                      <a:pt x="1557" y="380"/>
                    </a:lnTo>
                    <a:lnTo>
                      <a:pt x="1558" y="395"/>
                    </a:lnTo>
                    <a:lnTo>
                      <a:pt x="1561" y="410"/>
                    </a:lnTo>
                    <a:lnTo>
                      <a:pt x="1567" y="441"/>
                    </a:lnTo>
                    <a:lnTo>
                      <a:pt x="1571" y="455"/>
                    </a:lnTo>
                    <a:lnTo>
                      <a:pt x="1572" y="468"/>
                    </a:lnTo>
                    <a:lnTo>
                      <a:pt x="1573" y="479"/>
                    </a:lnTo>
                    <a:lnTo>
                      <a:pt x="1572" y="484"/>
                    </a:lnTo>
                    <a:lnTo>
                      <a:pt x="1571" y="488"/>
                    </a:lnTo>
                    <a:lnTo>
                      <a:pt x="1568" y="492"/>
                    </a:lnTo>
                    <a:lnTo>
                      <a:pt x="1566" y="495"/>
                    </a:lnTo>
                    <a:lnTo>
                      <a:pt x="1563" y="499"/>
                    </a:lnTo>
                    <a:lnTo>
                      <a:pt x="1558" y="500"/>
                    </a:lnTo>
                    <a:lnTo>
                      <a:pt x="1558" y="500"/>
                    </a:lnTo>
                    <a:lnTo>
                      <a:pt x="1557" y="502"/>
                    </a:lnTo>
                    <a:lnTo>
                      <a:pt x="1556" y="500"/>
                    </a:lnTo>
                    <a:lnTo>
                      <a:pt x="1553" y="491"/>
                    </a:lnTo>
                    <a:lnTo>
                      <a:pt x="1548" y="457"/>
                    </a:lnTo>
                    <a:lnTo>
                      <a:pt x="1544" y="439"/>
                    </a:lnTo>
                    <a:lnTo>
                      <a:pt x="1540" y="424"/>
                    </a:lnTo>
                    <a:lnTo>
                      <a:pt x="1537" y="418"/>
                    </a:lnTo>
                    <a:lnTo>
                      <a:pt x="1535" y="415"/>
                    </a:lnTo>
                    <a:lnTo>
                      <a:pt x="1531" y="415"/>
                    </a:lnTo>
                    <a:lnTo>
                      <a:pt x="1528" y="416"/>
                    </a:lnTo>
                    <a:lnTo>
                      <a:pt x="1528" y="416"/>
                    </a:lnTo>
                    <a:lnTo>
                      <a:pt x="1517" y="426"/>
                    </a:lnTo>
                    <a:lnTo>
                      <a:pt x="1504" y="437"/>
                    </a:lnTo>
                    <a:lnTo>
                      <a:pt x="1491" y="446"/>
                    </a:lnTo>
                    <a:lnTo>
                      <a:pt x="1477" y="456"/>
                    </a:lnTo>
                    <a:lnTo>
                      <a:pt x="1477" y="456"/>
                    </a:lnTo>
                    <a:lnTo>
                      <a:pt x="1473" y="453"/>
                    </a:lnTo>
                    <a:lnTo>
                      <a:pt x="1470" y="449"/>
                    </a:lnTo>
                    <a:lnTo>
                      <a:pt x="1470" y="446"/>
                    </a:lnTo>
                    <a:lnTo>
                      <a:pt x="1473" y="442"/>
                    </a:lnTo>
                    <a:lnTo>
                      <a:pt x="1475" y="438"/>
                    </a:lnTo>
                    <a:lnTo>
                      <a:pt x="1479" y="434"/>
                    </a:lnTo>
                    <a:lnTo>
                      <a:pt x="1488" y="425"/>
                    </a:lnTo>
                    <a:lnTo>
                      <a:pt x="1498" y="416"/>
                    </a:lnTo>
                    <a:lnTo>
                      <a:pt x="1503" y="411"/>
                    </a:lnTo>
                    <a:lnTo>
                      <a:pt x="1506" y="405"/>
                    </a:lnTo>
                    <a:lnTo>
                      <a:pt x="1508" y="401"/>
                    </a:lnTo>
                    <a:lnTo>
                      <a:pt x="1510" y="395"/>
                    </a:lnTo>
                    <a:lnTo>
                      <a:pt x="1510" y="389"/>
                    </a:lnTo>
                    <a:lnTo>
                      <a:pt x="1507" y="382"/>
                    </a:lnTo>
                    <a:lnTo>
                      <a:pt x="1507" y="382"/>
                    </a:lnTo>
                    <a:lnTo>
                      <a:pt x="1493" y="387"/>
                    </a:lnTo>
                    <a:lnTo>
                      <a:pt x="1481" y="393"/>
                    </a:lnTo>
                    <a:lnTo>
                      <a:pt x="1467" y="400"/>
                    </a:lnTo>
                    <a:lnTo>
                      <a:pt x="1453" y="408"/>
                    </a:lnTo>
                    <a:lnTo>
                      <a:pt x="1426" y="428"/>
                    </a:lnTo>
                    <a:lnTo>
                      <a:pt x="1397" y="449"/>
                    </a:lnTo>
                    <a:lnTo>
                      <a:pt x="1382" y="460"/>
                    </a:lnTo>
                    <a:lnTo>
                      <a:pt x="1367" y="469"/>
                    </a:lnTo>
                    <a:lnTo>
                      <a:pt x="1352" y="477"/>
                    </a:lnTo>
                    <a:lnTo>
                      <a:pt x="1337" y="485"/>
                    </a:lnTo>
                    <a:lnTo>
                      <a:pt x="1322" y="489"/>
                    </a:lnTo>
                    <a:lnTo>
                      <a:pt x="1307" y="493"/>
                    </a:lnTo>
                    <a:lnTo>
                      <a:pt x="1291" y="495"/>
                    </a:lnTo>
                    <a:lnTo>
                      <a:pt x="1283" y="494"/>
                    </a:lnTo>
                    <a:lnTo>
                      <a:pt x="1275" y="493"/>
                    </a:lnTo>
                    <a:lnTo>
                      <a:pt x="1275" y="493"/>
                    </a:lnTo>
                    <a:lnTo>
                      <a:pt x="1289" y="506"/>
                    </a:lnTo>
                    <a:lnTo>
                      <a:pt x="1299" y="516"/>
                    </a:lnTo>
                    <a:lnTo>
                      <a:pt x="1306" y="525"/>
                    </a:lnTo>
                    <a:lnTo>
                      <a:pt x="1311" y="532"/>
                    </a:lnTo>
                    <a:lnTo>
                      <a:pt x="1312" y="539"/>
                    </a:lnTo>
                    <a:lnTo>
                      <a:pt x="1311" y="546"/>
                    </a:lnTo>
                    <a:lnTo>
                      <a:pt x="1308" y="552"/>
                    </a:lnTo>
                    <a:lnTo>
                      <a:pt x="1305" y="557"/>
                    </a:lnTo>
                    <a:lnTo>
                      <a:pt x="1293" y="571"/>
                    </a:lnTo>
                    <a:lnTo>
                      <a:pt x="1288" y="579"/>
                    </a:lnTo>
                    <a:lnTo>
                      <a:pt x="1281" y="588"/>
                    </a:lnTo>
                    <a:lnTo>
                      <a:pt x="1275" y="599"/>
                    </a:lnTo>
                    <a:lnTo>
                      <a:pt x="1270" y="611"/>
                    </a:lnTo>
                    <a:lnTo>
                      <a:pt x="1267" y="626"/>
                    </a:lnTo>
                    <a:lnTo>
                      <a:pt x="1265" y="644"/>
                    </a:lnTo>
                    <a:lnTo>
                      <a:pt x="1265" y="644"/>
                    </a:lnTo>
                    <a:lnTo>
                      <a:pt x="1276" y="644"/>
                    </a:lnTo>
                    <a:lnTo>
                      <a:pt x="1286" y="641"/>
                    </a:lnTo>
                    <a:lnTo>
                      <a:pt x="1294" y="637"/>
                    </a:lnTo>
                    <a:lnTo>
                      <a:pt x="1301" y="632"/>
                    </a:lnTo>
                    <a:lnTo>
                      <a:pt x="1306" y="628"/>
                    </a:lnTo>
                    <a:lnTo>
                      <a:pt x="1311" y="623"/>
                    </a:lnTo>
                    <a:lnTo>
                      <a:pt x="1317" y="615"/>
                    </a:lnTo>
                    <a:lnTo>
                      <a:pt x="1320" y="613"/>
                    </a:lnTo>
                    <a:lnTo>
                      <a:pt x="1322" y="613"/>
                    </a:lnTo>
                    <a:lnTo>
                      <a:pt x="1324" y="616"/>
                    </a:lnTo>
                    <a:lnTo>
                      <a:pt x="1327" y="622"/>
                    </a:lnTo>
                    <a:lnTo>
                      <a:pt x="1334" y="644"/>
                    </a:lnTo>
                    <a:lnTo>
                      <a:pt x="1345" y="684"/>
                    </a:lnTo>
                    <a:lnTo>
                      <a:pt x="1345" y="684"/>
                    </a:lnTo>
                    <a:lnTo>
                      <a:pt x="1360" y="690"/>
                    </a:lnTo>
                    <a:lnTo>
                      <a:pt x="1373" y="695"/>
                    </a:lnTo>
                    <a:lnTo>
                      <a:pt x="1382" y="701"/>
                    </a:lnTo>
                    <a:lnTo>
                      <a:pt x="1388" y="707"/>
                    </a:lnTo>
                    <a:lnTo>
                      <a:pt x="1392" y="712"/>
                    </a:lnTo>
                    <a:lnTo>
                      <a:pt x="1395" y="717"/>
                    </a:lnTo>
                    <a:lnTo>
                      <a:pt x="1393" y="722"/>
                    </a:lnTo>
                    <a:lnTo>
                      <a:pt x="1391" y="725"/>
                    </a:lnTo>
                    <a:lnTo>
                      <a:pt x="1388" y="729"/>
                    </a:lnTo>
                    <a:lnTo>
                      <a:pt x="1382" y="732"/>
                    </a:lnTo>
                    <a:lnTo>
                      <a:pt x="1374" y="733"/>
                    </a:lnTo>
                    <a:lnTo>
                      <a:pt x="1366" y="735"/>
                    </a:lnTo>
                    <a:lnTo>
                      <a:pt x="1355" y="735"/>
                    </a:lnTo>
                    <a:lnTo>
                      <a:pt x="1344" y="735"/>
                    </a:lnTo>
                    <a:lnTo>
                      <a:pt x="1332" y="732"/>
                    </a:lnTo>
                    <a:lnTo>
                      <a:pt x="1320" y="729"/>
                    </a:lnTo>
                    <a:lnTo>
                      <a:pt x="1320" y="729"/>
                    </a:lnTo>
                    <a:lnTo>
                      <a:pt x="1315" y="733"/>
                    </a:lnTo>
                    <a:lnTo>
                      <a:pt x="1312" y="738"/>
                    </a:lnTo>
                    <a:lnTo>
                      <a:pt x="1308" y="743"/>
                    </a:lnTo>
                    <a:lnTo>
                      <a:pt x="1307" y="747"/>
                    </a:lnTo>
                    <a:lnTo>
                      <a:pt x="1306" y="752"/>
                    </a:lnTo>
                    <a:lnTo>
                      <a:pt x="1306" y="756"/>
                    </a:lnTo>
                    <a:lnTo>
                      <a:pt x="1308" y="766"/>
                    </a:lnTo>
                    <a:lnTo>
                      <a:pt x="1313" y="775"/>
                    </a:lnTo>
                    <a:lnTo>
                      <a:pt x="1317" y="784"/>
                    </a:lnTo>
                    <a:lnTo>
                      <a:pt x="1330" y="799"/>
                    </a:lnTo>
                    <a:lnTo>
                      <a:pt x="1338" y="811"/>
                    </a:lnTo>
                    <a:lnTo>
                      <a:pt x="1340" y="815"/>
                    </a:lnTo>
                    <a:lnTo>
                      <a:pt x="1340" y="816"/>
                    </a:lnTo>
                    <a:lnTo>
                      <a:pt x="1339" y="817"/>
                    </a:lnTo>
                    <a:lnTo>
                      <a:pt x="1335" y="817"/>
                    </a:lnTo>
                    <a:lnTo>
                      <a:pt x="1325" y="817"/>
                    </a:lnTo>
                    <a:lnTo>
                      <a:pt x="1313" y="814"/>
                    </a:lnTo>
                    <a:lnTo>
                      <a:pt x="1293" y="809"/>
                    </a:lnTo>
                    <a:lnTo>
                      <a:pt x="1293" y="809"/>
                    </a:lnTo>
                    <a:lnTo>
                      <a:pt x="1260" y="808"/>
                    </a:lnTo>
                    <a:lnTo>
                      <a:pt x="1238" y="808"/>
                    </a:lnTo>
                    <a:lnTo>
                      <a:pt x="1230" y="808"/>
                    </a:lnTo>
                    <a:lnTo>
                      <a:pt x="1223" y="808"/>
                    </a:lnTo>
                    <a:lnTo>
                      <a:pt x="1218" y="811"/>
                    </a:lnTo>
                    <a:lnTo>
                      <a:pt x="1215" y="813"/>
                    </a:lnTo>
                    <a:lnTo>
                      <a:pt x="1210" y="816"/>
                    </a:lnTo>
                    <a:lnTo>
                      <a:pt x="1207" y="821"/>
                    </a:lnTo>
                    <a:lnTo>
                      <a:pt x="1200" y="836"/>
                    </a:lnTo>
                    <a:lnTo>
                      <a:pt x="1187" y="858"/>
                    </a:lnTo>
                    <a:lnTo>
                      <a:pt x="1169" y="890"/>
                    </a:lnTo>
                    <a:lnTo>
                      <a:pt x="1169" y="890"/>
                    </a:lnTo>
                    <a:lnTo>
                      <a:pt x="1157" y="898"/>
                    </a:lnTo>
                    <a:lnTo>
                      <a:pt x="1148" y="904"/>
                    </a:lnTo>
                    <a:lnTo>
                      <a:pt x="1138" y="906"/>
                    </a:lnTo>
                    <a:lnTo>
                      <a:pt x="1129" y="906"/>
                    </a:lnTo>
                    <a:lnTo>
                      <a:pt x="1121" y="904"/>
                    </a:lnTo>
                    <a:lnTo>
                      <a:pt x="1113" y="901"/>
                    </a:lnTo>
                    <a:lnTo>
                      <a:pt x="1106" y="898"/>
                    </a:lnTo>
                    <a:lnTo>
                      <a:pt x="1099" y="893"/>
                    </a:lnTo>
                    <a:lnTo>
                      <a:pt x="1088" y="886"/>
                    </a:lnTo>
                    <a:lnTo>
                      <a:pt x="1084" y="883"/>
                    </a:lnTo>
                    <a:lnTo>
                      <a:pt x="1080" y="882"/>
                    </a:lnTo>
                    <a:lnTo>
                      <a:pt x="1077" y="882"/>
                    </a:lnTo>
                    <a:lnTo>
                      <a:pt x="1076" y="884"/>
                    </a:lnTo>
                    <a:lnTo>
                      <a:pt x="1073" y="890"/>
                    </a:lnTo>
                    <a:lnTo>
                      <a:pt x="1073" y="897"/>
                    </a:lnTo>
                    <a:lnTo>
                      <a:pt x="1073" y="897"/>
                    </a:lnTo>
                    <a:lnTo>
                      <a:pt x="1075" y="907"/>
                    </a:lnTo>
                    <a:lnTo>
                      <a:pt x="1077" y="919"/>
                    </a:lnTo>
                    <a:lnTo>
                      <a:pt x="1086" y="946"/>
                    </a:lnTo>
                    <a:lnTo>
                      <a:pt x="1097" y="976"/>
                    </a:lnTo>
                    <a:lnTo>
                      <a:pt x="1101" y="992"/>
                    </a:lnTo>
                    <a:lnTo>
                      <a:pt x="1106" y="1007"/>
                    </a:lnTo>
                    <a:lnTo>
                      <a:pt x="1108" y="1022"/>
                    </a:lnTo>
                    <a:lnTo>
                      <a:pt x="1109" y="1035"/>
                    </a:lnTo>
                    <a:lnTo>
                      <a:pt x="1108" y="1046"/>
                    </a:lnTo>
                    <a:lnTo>
                      <a:pt x="1107" y="1051"/>
                    </a:lnTo>
                    <a:lnTo>
                      <a:pt x="1105" y="1056"/>
                    </a:lnTo>
                    <a:lnTo>
                      <a:pt x="1101" y="1059"/>
                    </a:lnTo>
                    <a:lnTo>
                      <a:pt x="1098" y="1063"/>
                    </a:lnTo>
                    <a:lnTo>
                      <a:pt x="1093" y="1064"/>
                    </a:lnTo>
                    <a:lnTo>
                      <a:pt x="1087" y="1066"/>
                    </a:lnTo>
                    <a:lnTo>
                      <a:pt x="1080" y="1066"/>
                    </a:lnTo>
                    <a:lnTo>
                      <a:pt x="1073" y="1066"/>
                    </a:lnTo>
                    <a:lnTo>
                      <a:pt x="1064" y="1065"/>
                    </a:lnTo>
                    <a:lnTo>
                      <a:pt x="1055" y="1063"/>
                    </a:lnTo>
                    <a:lnTo>
                      <a:pt x="1055" y="1063"/>
                    </a:lnTo>
                    <a:lnTo>
                      <a:pt x="1029" y="1054"/>
                    </a:lnTo>
                    <a:lnTo>
                      <a:pt x="1016" y="1050"/>
                    </a:lnTo>
                    <a:lnTo>
                      <a:pt x="1004" y="1045"/>
                    </a:lnTo>
                    <a:lnTo>
                      <a:pt x="993" y="1040"/>
                    </a:lnTo>
                    <a:lnTo>
                      <a:pt x="983" y="1033"/>
                    </a:lnTo>
                    <a:lnTo>
                      <a:pt x="973" y="1026"/>
                    </a:lnTo>
                    <a:lnTo>
                      <a:pt x="965" y="1018"/>
                    </a:lnTo>
                    <a:lnTo>
                      <a:pt x="957" y="1008"/>
                    </a:lnTo>
                    <a:lnTo>
                      <a:pt x="950" y="999"/>
                    </a:lnTo>
                    <a:lnTo>
                      <a:pt x="945" y="988"/>
                    </a:lnTo>
                    <a:lnTo>
                      <a:pt x="939" y="976"/>
                    </a:lnTo>
                    <a:lnTo>
                      <a:pt x="935" y="964"/>
                    </a:lnTo>
                    <a:lnTo>
                      <a:pt x="932" y="951"/>
                    </a:lnTo>
                    <a:lnTo>
                      <a:pt x="931" y="936"/>
                    </a:lnTo>
                    <a:lnTo>
                      <a:pt x="930" y="920"/>
                    </a:lnTo>
                    <a:lnTo>
                      <a:pt x="930" y="920"/>
                    </a:lnTo>
                    <a:lnTo>
                      <a:pt x="929" y="915"/>
                    </a:lnTo>
                    <a:lnTo>
                      <a:pt x="925" y="911"/>
                    </a:lnTo>
                    <a:lnTo>
                      <a:pt x="920" y="908"/>
                    </a:lnTo>
                    <a:lnTo>
                      <a:pt x="916" y="906"/>
                    </a:lnTo>
                    <a:lnTo>
                      <a:pt x="904" y="903"/>
                    </a:lnTo>
                    <a:lnTo>
                      <a:pt x="892" y="900"/>
                    </a:lnTo>
                    <a:lnTo>
                      <a:pt x="879" y="897"/>
                    </a:lnTo>
                    <a:lnTo>
                      <a:pt x="874" y="893"/>
                    </a:lnTo>
                    <a:lnTo>
                      <a:pt x="870" y="890"/>
                    </a:lnTo>
                    <a:lnTo>
                      <a:pt x="866" y="886"/>
                    </a:lnTo>
                    <a:lnTo>
                      <a:pt x="864" y="881"/>
                    </a:lnTo>
                    <a:lnTo>
                      <a:pt x="863" y="873"/>
                    </a:lnTo>
                    <a:lnTo>
                      <a:pt x="864" y="865"/>
                    </a:lnTo>
                    <a:lnTo>
                      <a:pt x="864" y="865"/>
                    </a:lnTo>
                    <a:lnTo>
                      <a:pt x="858" y="858"/>
                    </a:lnTo>
                    <a:lnTo>
                      <a:pt x="854" y="852"/>
                    </a:lnTo>
                    <a:lnTo>
                      <a:pt x="849" y="838"/>
                    </a:lnTo>
                    <a:lnTo>
                      <a:pt x="843" y="825"/>
                    </a:lnTo>
                    <a:lnTo>
                      <a:pt x="841" y="819"/>
                    </a:lnTo>
                    <a:lnTo>
                      <a:pt x="836" y="813"/>
                    </a:lnTo>
                    <a:lnTo>
                      <a:pt x="832" y="808"/>
                    </a:lnTo>
                    <a:lnTo>
                      <a:pt x="824" y="804"/>
                    </a:lnTo>
                    <a:lnTo>
                      <a:pt x="815" y="800"/>
                    </a:lnTo>
                    <a:lnTo>
                      <a:pt x="803" y="798"/>
                    </a:lnTo>
                    <a:lnTo>
                      <a:pt x="789" y="796"/>
                    </a:lnTo>
                    <a:lnTo>
                      <a:pt x="771" y="796"/>
                    </a:lnTo>
                    <a:lnTo>
                      <a:pt x="750" y="796"/>
                    </a:lnTo>
                    <a:lnTo>
                      <a:pt x="725" y="798"/>
                    </a:lnTo>
                    <a:lnTo>
                      <a:pt x="725" y="798"/>
                    </a:lnTo>
                    <a:lnTo>
                      <a:pt x="724" y="805"/>
                    </a:lnTo>
                    <a:lnTo>
                      <a:pt x="721" y="812"/>
                    </a:lnTo>
                    <a:lnTo>
                      <a:pt x="719" y="816"/>
                    </a:lnTo>
                    <a:lnTo>
                      <a:pt x="717" y="822"/>
                    </a:lnTo>
                    <a:lnTo>
                      <a:pt x="713" y="825"/>
                    </a:lnTo>
                    <a:lnTo>
                      <a:pt x="710" y="829"/>
                    </a:lnTo>
                    <a:lnTo>
                      <a:pt x="705" y="831"/>
                    </a:lnTo>
                    <a:lnTo>
                      <a:pt x="701" y="834"/>
                    </a:lnTo>
                    <a:lnTo>
                      <a:pt x="690" y="837"/>
                    </a:lnTo>
                    <a:lnTo>
                      <a:pt x="679" y="838"/>
                    </a:lnTo>
                    <a:lnTo>
                      <a:pt x="666" y="838"/>
                    </a:lnTo>
                    <a:lnTo>
                      <a:pt x="652" y="837"/>
                    </a:lnTo>
                    <a:lnTo>
                      <a:pt x="626" y="835"/>
                    </a:lnTo>
                    <a:lnTo>
                      <a:pt x="613" y="834"/>
                    </a:lnTo>
                    <a:lnTo>
                      <a:pt x="601" y="835"/>
                    </a:lnTo>
                    <a:lnTo>
                      <a:pt x="589" y="836"/>
                    </a:lnTo>
                    <a:lnTo>
                      <a:pt x="579" y="839"/>
                    </a:lnTo>
                    <a:lnTo>
                      <a:pt x="574" y="842"/>
                    </a:lnTo>
                    <a:lnTo>
                      <a:pt x="569" y="845"/>
                    </a:lnTo>
                    <a:lnTo>
                      <a:pt x="566" y="849"/>
                    </a:lnTo>
                    <a:lnTo>
                      <a:pt x="563" y="853"/>
                    </a:lnTo>
                    <a:lnTo>
                      <a:pt x="563" y="853"/>
                    </a:lnTo>
                    <a:lnTo>
                      <a:pt x="559" y="857"/>
                    </a:lnTo>
                    <a:lnTo>
                      <a:pt x="557" y="860"/>
                    </a:lnTo>
                    <a:lnTo>
                      <a:pt x="556" y="866"/>
                    </a:lnTo>
                    <a:lnTo>
                      <a:pt x="557" y="870"/>
                    </a:lnTo>
                    <a:lnTo>
                      <a:pt x="558" y="876"/>
                    </a:lnTo>
                    <a:lnTo>
                      <a:pt x="561" y="883"/>
                    </a:lnTo>
                    <a:lnTo>
                      <a:pt x="568" y="896"/>
                    </a:lnTo>
                    <a:lnTo>
                      <a:pt x="578" y="909"/>
                    </a:lnTo>
                    <a:lnTo>
                      <a:pt x="587" y="922"/>
                    </a:lnTo>
                    <a:lnTo>
                      <a:pt x="595" y="933"/>
                    </a:lnTo>
                    <a:lnTo>
                      <a:pt x="599" y="942"/>
                    </a:lnTo>
                    <a:lnTo>
                      <a:pt x="599" y="942"/>
                    </a:lnTo>
                    <a:lnTo>
                      <a:pt x="604" y="954"/>
                    </a:lnTo>
                    <a:lnTo>
                      <a:pt x="606" y="965"/>
                    </a:lnTo>
                    <a:lnTo>
                      <a:pt x="605" y="970"/>
                    </a:lnTo>
                    <a:lnTo>
                      <a:pt x="605" y="975"/>
                    </a:lnTo>
                    <a:lnTo>
                      <a:pt x="601" y="982"/>
                    </a:lnTo>
                    <a:lnTo>
                      <a:pt x="595" y="989"/>
                    </a:lnTo>
                    <a:lnTo>
                      <a:pt x="588" y="995"/>
                    </a:lnTo>
                    <a:lnTo>
                      <a:pt x="579" y="999"/>
                    </a:lnTo>
                    <a:lnTo>
                      <a:pt x="567" y="1004"/>
                    </a:lnTo>
                    <a:lnTo>
                      <a:pt x="543" y="1010"/>
                    </a:lnTo>
                    <a:lnTo>
                      <a:pt x="515" y="1015"/>
                    </a:lnTo>
                    <a:lnTo>
                      <a:pt x="489" y="1021"/>
                    </a:lnTo>
                    <a:lnTo>
                      <a:pt x="475" y="1026"/>
                    </a:lnTo>
                    <a:lnTo>
                      <a:pt x="464" y="1029"/>
                    </a:lnTo>
                    <a:lnTo>
                      <a:pt x="464" y="1029"/>
                    </a:lnTo>
                    <a:lnTo>
                      <a:pt x="444" y="1036"/>
                    </a:lnTo>
                    <a:lnTo>
                      <a:pt x="429" y="1040"/>
                    </a:lnTo>
                    <a:lnTo>
                      <a:pt x="422" y="1041"/>
                    </a:lnTo>
                    <a:lnTo>
                      <a:pt x="416" y="1041"/>
                    </a:lnTo>
                    <a:lnTo>
                      <a:pt x="411" y="1040"/>
                    </a:lnTo>
                    <a:lnTo>
                      <a:pt x="406" y="1038"/>
                    </a:lnTo>
                    <a:lnTo>
                      <a:pt x="401" y="1036"/>
                    </a:lnTo>
                    <a:lnTo>
                      <a:pt x="398" y="1034"/>
                    </a:lnTo>
                    <a:lnTo>
                      <a:pt x="392" y="1027"/>
                    </a:lnTo>
                    <a:lnTo>
                      <a:pt x="388" y="1020"/>
                    </a:lnTo>
                    <a:lnTo>
                      <a:pt x="385" y="1012"/>
                    </a:lnTo>
                    <a:lnTo>
                      <a:pt x="381" y="995"/>
                    </a:lnTo>
                    <a:lnTo>
                      <a:pt x="378" y="981"/>
                    </a:lnTo>
                    <a:lnTo>
                      <a:pt x="376" y="975"/>
                    </a:lnTo>
                    <a:lnTo>
                      <a:pt x="374" y="973"/>
                    </a:lnTo>
                    <a:lnTo>
                      <a:pt x="372" y="972"/>
                    </a:lnTo>
                    <a:lnTo>
                      <a:pt x="369" y="972"/>
                    </a:lnTo>
                    <a:lnTo>
                      <a:pt x="365" y="974"/>
                    </a:lnTo>
                    <a:lnTo>
                      <a:pt x="365" y="974"/>
                    </a:lnTo>
                    <a:lnTo>
                      <a:pt x="247" y="1000"/>
                    </a:lnTo>
                    <a:lnTo>
                      <a:pt x="247" y="1000"/>
                    </a:lnTo>
                    <a:lnTo>
                      <a:pt x="247" y="1000"/>
                    </a:lnTo>
                    <a:lnTo>
                      <a:pt x="225" y="1018"/>
                    </a:lnTo>
                    <a:lnTo>
                      <a:pt x="212" y="1027"/>
                    </a:lnTo>
                    <a:lnTo>
                      <a:pt x="198" y="1035"/>
                    </a:lnTo>
                    <a:lnTo>
                      <a:pt x="185" y="1042"/>
                    </a:lnTo>
                    <a:lnTo>
                      <a:pt x="178" y="1043"/>
                    </a:lnTo>
                    <a:lnTo>
                      <a:pt x="172" y="1045"/>
                    </a:lnTo>
                    <a:lnTo>
                      <a:pt x="167" y="1045"/>
                    </a:lnTo>
                    <a:lnTo>
                      <a:pt x="162" y="1044"/>
                    </a:lnTo>
                    <a:lnTo>
                      <a:pt x="159" y="1042"/>
                    </a:lnTo>
                    <a:lnTo>
                      <a:pt x="155" y="1037"/>
                    </a:lnTo>
                    <a:lnTo>
                      <a:pt x="155" y="1037"/>
                    </a:lnTo>
                    <a:lnTo>
                      <a:pt x="151" y="1029"/>
                    </a:lnTo>
                    <a:lnTo>
                      <a:pt x="147" y="1025"/>
                    </a:lnTo>
                    <a:lnTo>
                      <a:pt x="144" y="1022"/>
                    </a:lnTo>
                    <a:lnTo>
                      <a:pt x="140" y="1021"/>
                    </a:lnTo>
                    <a:lnTo>
                      <a:pt x="137" y="1022"/>
                    </a:lnTo>
                    <a:lnTo>
                      <a:pt x="133" y="1025"/>
                    </a:lnTo>
                    <a:lnTo>
                      <a:pt x="126" y="1031"/>
                    </a:lnTo>
                    <a:lnTo>
                      <a:pt x="116" y="1040"/>
                    </a:lnTo>
                    <a:lnTo>
                      <a:pt x="110" y="1044"/>
                    </a:lnTo>
                    <a:lnTo>
                      <a:pt x="103" y="1048"/>
                    </a:lnTo>
                    <a:lnTo>
                      <a:pt x="94" y="1050"/>
                    </a:lnTo>
                    <a:lnTo>
                      <a:pt x="84" y="1051"/>
                    </a:lnTo>
                    <a:lnTo>
                      <a:pt x="72" y="1050"/>
                    </a:lnTo>
                    <a:lnTo>
                      <a:pt x="60" y="1048"/>
                    </a:lnTo>
                    <a:lnTo>
                      <a:pt x="60" y="1048"/>
                    </a:lnTo>
                    <a:lnTo>
                      <a:pt x="59" y="1066"/>
                    </a:lnTo>
                    <a:lnTo>
                      <a:pt x="56" y="1077"/>
                    </a:lnTo>
                    <a:lnTo>
                      <a:pt x="53" y="1084"/>
                    </a:lnTo>
                    <a:lnTo>
                      <a:pt x="52" y="1092"/>
                    </a:lnTo>
                    <a:lnTo>
                      <a:pt x="52" y="1092"/>
                    </a:lnTo>
                    <a:lnTo>
                      <a:pt x="52" y="1097"/>
                    </a:lnTo>
                    <a:lnTo>
                      <a:pt x="51" y="1103"/>
                    </a:lnTo>
                    <a:lnTo>
                      <a:pt x="46" y="1113"/>
                    </a:lnTo>
                    <a:lnTo>
                      <a:pt x="39" y="1127"/>
                    </a:lnTo>
                    <a:lnTo>
                      <a:pt x="33" y="1144"/>
                    </a:lnTo>
                    <a:lnTo>
                      <a:pt x="33" y="1144"/>
                    </a:lnTo>
                    <a:lnTo>
                      <a:pt x="47" y="1150"/>
                    </a:lnTo>
                    <a:lnTo>
                      <a:pt x="53" y="1152"/>
                    </a:lnTo>
                    <a:lnTo>
                      <a:pt x="56" y="1156"/>
                    </a:lnTo>
                    <a:lnTo>
                      <a:pt x="60" y="1160"/>
                    </a:lnTo>
                    <a:lnTo>
                      <a:pt x="62" y="1164"/>
                    </a:lnTo>
                    <a:lnTo>
                      <a:pt x="65" y="1172"/>
                    </a:lnTo>
                    <a:lnTo>
                      <a:pt x="71" y="1193"/>
                    </a:lnTo>
                    <a:lnTo>
                      <a:pt x="75" y="1204"/>
                    </a:lnTo>
                    <a:lnTo>
                      <a:pt x="82" y="1217"/>
                    </a:lnTo>
                    <a:lnTo>
                      <a:pt x="82" y="1217"/>
                    </a:lnTo>
                    <a:lnTo>
                      <a:pt x="86" y="1225"/>
                    </a:lnTo>
                    <a:lnTo>
                      <a:pt x="91" y="1232"/>
                    </a:lnTo>
                    <a:lnTo>
                      <a:pt x="100" y="1244"/>
                    </a:lnTo>
                    <a:lnTo>
                      <a:pt x="112" y="1255"/>
                    </a:lnTo>
                    <a:lnTo>
                      <a:pt x="123" y="1264"/>
                    </a:lnTo>
                    <a:lnTo>
                      <a:pt x="147" y="1282"/>
                    </a:lnTo>
                    <a:lnTo>
                      <a:pt x="159" y="1293"/>
                    </a:lnTo>
                    <a:lnTo>
                      <a:pt x="170" y="1305"/>
                    </a:lnTo>
                    <a:lnTo>
                      <a:pt x="170" y="1305"/>
                    </a:lnTo>
                    <a:lnTo>
                      <a:pt x="174" y="1310"/>
                    </a:lnTo>
                    <a:lnTo>
                      <a:pt x="176" y="1316"/>
                    </a:lnTo>
                    <a:lnTo>
                      <a:pt x="181" y="1326"/>
                    </a:lnTo>
                    <a:lnTo>
                      <a:pt x="183" y="1338"/>
                    </a:lnTo>
                    <a:lnTo>
                      <a:pt x="184" y="1350"/>
                    </a:lnTo>
                    <a:lnTo>
                      <a:pt x="185" y="1362"/>
                    </a:lnTo>
                    <a:lnTo>
                      <a:pt x="186" y="1374"/>
                    </a:lnTo>
                    <a:lnTo>
                      <a:pt x="190" y="1386"/>
                    </a:lnTo>
                    <a:lnTo>
                      <a:pt x="192" y="1392"/>
                    </a:lnTo>
                    <a:lnTo>
                      <a:pt x="196" y="1397"/>
                    </a:lnTo>
                    <a:lnTo>
                      <a:pt x="196" y="1397"/>
                    </a:lnTo>
                    <a:lnTo>
                      <a:pt x="200" y="1402"/>
                    </a:lnTo>
                    <a:lnTo>
                      <a:pt x="207" y="1407"/>
                    </a:lnTo>
                    <a:lnTo>
                      <a:pt x="221" y="1416"/>
                    </a:lnTo>
                    <a:lnTo>
                      <a:pt x="228" y="1420"/>
                    </a:lnTo>
                    <a:lnTo>
                      <a:pt x="233" y="1427"/>
                    </a:lnTo>
                    <a:lnTo>
                      <a:pt x="236" y="1431"/>
                    </a:lnTo>
                    <a:lnTo>
                      <a:pt x="238" y="1435"/>
                    </a:lnTo>
                    <a:lnTo>
                      <a:pt x="239" y="1440"/>
                    </a:lnTo>
                    <a:lnTo>
                      <a:pt x="239" y="1445"/>
                    </a:lnTo>
                    <a:lnTo>
                      <a:pt x="239" y="1445"/>
                    </a:lnTo>
                    <a:lnTo>
                      <a:pt x="238" y="1451"/>
                    </a:lnTo>
                    <a:lnTo>
                      <a:pt x="237" y="1457"/>
                    </a:lnTo>
                    <a:lnTo>
                      <a:pt x="235" y="1463"/>
                    </a:lnTo>
                    <a:lnTo>
                      <a:pt x="231" y="1468"/>
                    </a:lnTo>
                    <a:lnTo>
                      <a:pt x="228" y="1472"/>
                    </a:lnTo>
                    <a:lnTo>
                      <a:pt x="223" y="1476"/>
                    </a:lnTo>
                    <a:lnTo>
                      <a:pt x="214" y="1483"/>
                    </a:lnTo>
                    <a:lnTo>
                      <a:pt x="204" y="1488"/>
                    </a:lnTo>
                    <a:lnTo>
                      <a:pt x="193" y="1493"/>
                    </a:lnTo>
                    <a:lnTo>
                      <a:pt x="184" y="1499"/>
                    </a:lnTo>
                    <a:lnTo>
                      <a:pt x="177" y="1503"/>
                    </a:lnTo>
                    <a:lnTo>
                      <a:pt x="177" y="1503"/>
                    </a:lnTo>
                    <a:lnTo>
                      <a:pt x="125" y="1636"/>
                    </a:lnTo>
                    <a:lnTo>
                      <a:pt x="125" y="1636"/>
                    </a:lnTo>
                    <a:lnTo>
                      <a:pt x="125" y="1636"/>
                    </a:lnTo>
                    <a:lnTo>
                      <a:pt x="126" y="1642"/>
                    </a:lnTo>
                    <a:lnTo>
                      <a:pt x="129" y="1648"/>
                    </a:lnTo>
                    <a:lnTo>
                      <a:pt x="135" y="1660"/>
                    </a:lnTo>
                    <a:lnTo>
                      <a:pt x="141" y="1671"/>
                    </a:lnTo>
                    <a:lnTo>
                      <a:pt x="144" y="1677"/>
                    </a:lnTo>
                    <a:lnTo>
                      <a:pt x="144" y="1684"/>
                    </a:lnTo>
                    <a:lnTo>
                      <a:pt x="144" y="1684"/>
                    </a:lnTo>
                    <a:lnTo>
                      <a:pt x="144" y="1690"/>
                    </a:lnTo>
                    <a:lnTo>
                      <a:pt x="143" y="1694"/>
                    </a:lnTo>
                    <a:lnTo>
                      <a:pt x="140" y="1699"/>
                    </a:lnTo>
                    <a:lnTo>
                      <a:pt x="138" y="1701"/>
                    </a:lnTo>
                    <a:lnTo>
                      <a:pt x="136" y="1703"/>
                    </a:lnTo>
                    <a:lnTo>
                      <a:pt x="132" y="1705"/>
                    </a:lnTo>
                    <a:lnTo>
                      <a:pt x="124" y="1706"/>
                    </a:lnTo>
                    <a:lnTo>
                      <a:pt x="106" y="1706"/>
                    </a:lnTo>
                    <a:lnTo>
                      <a:pt x="95" y="1707"/>
                    </a:lnTo>
                    <a:lnTo>
                      <a:pt x="90" y="1708"/>
                    </a:lnTo>
                    <a:lnTo>
                      <a:pt x="85" y="1709"/>
                    </a:lnTo>
                    <a:lnTo>
                      <a:pt x="85" y="1709"/>
                    </a:lnTo>
                    <a:lnTo>
                      <a:pt x="80" y="1712"/>
                    </a:lnTo>
                    <a:lnTo>
                      <a:pt x="77" y="1714"/>
                    </a:lnTo>
                    <a:lnTo>
                      <a:pt x="67" y="1723"/>
                    </a:lnTo>
                    <a:lnTo>
                      <a:pt x="57" y="1735"/>
                    </a:lnTo>
                    <a:lnTo>
                      <a:pt x="47" y="1747"/>
                    </a:lnTo>
                    <a:lnTo>
                      <a:pt x="36" y="1760"/>
                    </a:lnTo>
                    <a:lnTo>
                      <a:pt x="24" y="1773"/>
                    </a:lnTo>
                    <a:lnTo>
                      <a:pt x="13" y="1783"/>
                    </a:lnTo>
                    <a:lnTo>
                      <a:pt x="7" y="1786"/>
                    </a:lnTo>
                    <a:lnTo>
                      <a:pt x="0" y="1790"/>
                    </a:lnTo>
                    <a:lnTo>
                      <a:pt x="0" y="1790"/>
                    </a:lnTo>
                    <a:lnTo>
                      <a:pt x="22" y="1827"/>
                    </a:lnTo>
                    <a:lnTo>
                      <a:pt x="41" y="1865"/>
                    </a:lnTo>
                    <a:lnTo>
                      <a:pt x="60" y="1904"/>
                    </a:lnTo>
                    <a:lnTo>
                      <a:pt x="68" y="1924"/>
                    </a:lnTo>
                    <a:lnTo>
                      <a:pt x="76" y="1944"/>
                    </a:lnTo>
                    <a:lnTo>
                      <a:pt x="83" y="1965"/>
                    </a:lnTo>
                    <a:lnTo>
                      <a:pt x="88" y="1987"/>
                    </a:lnTo>
                    <a:lnTo>
                      <a:pt x="94" y="2008"/>
                    </a:lnTo>
                    <a:lnTo>
                      <a:pt x="99" y="2030"/>
                    </a:lnTo>
                    <a:lnTo>
                      <a:pt x="102" y="2052"/>
                    </a:lnTo>
                    <a:lnTo>
                      <a:pt x="105" y="2075"/>
                    </a:lnTo>
                    <a:lnTo>
                      <a:pt x="106" y="2098"/>
                    </a:lnTo>
                    <a:lnTo>
                      <a:pt x="107" y="2121"/>
                    </a:lnTo>
                    <a:lnTo>
                      <a:pt x="107" y="2121"/>
                    </a:lnTo>
                    <a:lnTo>
                      <a:pt x="106" y="2127"/>
                    </a:lnTo>
                    <a:lnTo>
                      <a:pt x="105" y="2133"/>
                    </a:lnTo>
                    <a:lnTo>
                      <a:pt x="102" y="2137"/>
                    </a:lnTo>
                    <a:lnTo>
                      <a:pt x="99" y="2142"/>
                    </a:lnTo>
                    <a:lnTo>
                      <a:pt x="92" y="2149"/>
                    </a:lnTo>
                    <a:lnTo>
                      <a:pt x="83" y="2156"/>
                    </a:lnTo>
                    <a:lnTo>
                      <a:pt x="72" y="2161"/>
                    </a:lnTo>
                    <a:lnTo>
                      <a:pt x="63" y="2170"/>
                    </a:lnTo>
                    <a:lnTo>
                      <a:pt x="60" y="2173"/>
                    </a:lnTo>
                    <a:lnTo>
                      <a:pt x="56" y="2179"/>
                    </a:lnTo>
                    <a:lnTo>
                      <a:pt x="54" y="2183"/>
                    </a:lnTo>
                    <a:lnTo>
                      <a:pt x="52" y="2190"/>
                    </a:lnTo>
                    <a:lnTo>
                      <a:pt x="52" y="2190"/>
                    </a:lnTo>
                    <a:lnTo>
                      <a:pt x="70" y="2194"/>
                    </a:lnTo>
                    <a:lnTo>
                      <a:pt x="88" y="2198"/>
                    </a:lnTo>
                    <a:lnTo>
                      <a:pt x="97" y="2201"/>
                    </a:lnTo>
                    <a:lnTo>
                      <a:pt x="103" y="2205"/>
                    </a:lnTo>
                    <a:lnTo>
                      <a:pt x="108" y="2210"/>
                    </a:lnTo>
                    <a:lnTo>
                      <a:pt x="110" y="2213"/>
                    </a:lnTo>
                    <a:lnTo>
                      <a:pt x="112" y="2217"/>
                    </a:lnTo>
                    <a:lnTo>
                      <a:pt x="112" y="2217"/>
                    </a:lnTo>
                    <a:lnTo>
                      <a:pt x="113" y="2225"/>
                    </a:lnTo>
                    <a:lnTo>
                      <a:pt x="113" y="2233"/>
                    </a:lnTo>
                    <a:lnTo>
                      <a:pt x="112" y="2240"/>
                    </a:lnTo>
                    <a:lnTo>
                      <a:pt x="109" y="2248"/>
                    </a:lnTo>
                    <a:lnTo>
                      <a:pt x="107" y="2256"/>
                    </a:lnTo>
                    <a:lnTo>
                      <a:pt x="106" y="2265"/>
                    </a:lnTo>
                    <a:lnTo>
                      <a:pt x="106" y="2273"/>
                    </a:lnTo>
                    <a:lnTo>
                      <a:pt x="107" y="2282"/>
                    </a:lnTo>
                    <a:lnTo>
                      <a:pt x="107" y="2282"/>
                    </a:lnTo>
                    <a:lnTo>
                      <a:pt x="109" y="2291"/>
                    </a:lnTo>
                    <a:lnTo>
                      <a:pt x="112" y="2300"/>
                    </a:lnTo>
                    <a:lnTo>
                      <a:pt x="116" y="2308"/>
                    </a:lnTo>
                    <a:lnTo>
                      <a:pt x="121" y="2315"/>
                    </a:lnTo>
                    <a:lnTo>
                      <a:pt x="132" y="2329"/>
                    </a:lnTo>
                    <a:lnTo>
                      <a:pt x="145" y="2343"/>
                    </a:lnTo>
                    <a:lnTo>
                      <a:pt x="156" y="2357"/>
                    </a:lnTo>
                    <a:lnTo>
                      <a:pt x="167" y="2371"/>
                    </a:lnTo>
                    <a:lnTo>
                      <a:pt x="171" y="2379"/>
                    </a:lnTo>
                    <a:lnTo>
                      <a:pt x="174" y="2387"/>
                    </a:lnTo>
                    <a:lnTo>
                      <a:pt x="176" y="2395"/>
                    </a:lnTo>
                    <a:lnTo>
                      <a:pt x="177" y="2404"/>
                    </a:lnTo>
                    <a:lnTo>
                      <a:pt x="177" y="2404"/>
                    </a:lnTo>
                    <a:lnTo>
                      <a:pt x="176" y="2407"/>
                    </a:lnTo>
                    <a:lnTo>
                      <a:pt x="176" y="2410"/>
                    </a:lnTo>
                    <a:lnTo>
                      <a:pt x="171" y="2417"/>
                    </a:lnTo>
                    <a:lnTo>
                      <a:pt x="160" y="2431"/>
                    </a:lnTo>
                    <a:lnTo>
                      <a:pt x="154" y="2439"/>
                    </a:lnTo>
                    <a:lnTo>
                      <a:pt x="149" y="2448"/>
                    </a:lnTo>
                    <a:lnTo>
                      <a:pt x="145" y="2458"/>
                    </a:lnTo>
                    <a:lnTo>
                      <a:pt x="145" y="2464"/>
                    </a:lnTo>
                    <a:lnTo>
                      <a:pt x="144" y="2470"/>
                    </a:lnTo>
                    <a:lnTo>
                      <a:pt x="144" y="2470"/>
                    </a:lnTo>
                    <a:lnTo>
                      <a:pt x="144" y="2554"/>
                    </a:lnTo>
                    <a:lnTo>
                      <a:pt x="144" y="2554"/>
                    </a:lnTo>
                    <a:lnTo>
                      <a:pt x="152" y="2556"/>
                    </a:lnTo>
                    <a:lnTo>
                      <a:pt x="160" y="2557"/>
                    </a:lnTo>
                    <a:lnTo>
                      <a:pt x="177" y="2557"/>
                    </a:lnTo>
                    <a:lnTo>
                      <a:pt x="193" y="2555"/>
                    </a:lnTo>
                    <a:lnTo>
                      <a:pt x="209" y="2554"/>
                    </a:lnTo>
                    <a:lnTo>
                      <a:pt x="209" y="2554"/>
                    </a:lnTo>
                    <a:lnTo>
                      <a:pt x="220" y="2555"/>
                    </a:lnTo>
                    <a:lnTo>
                      <a:pt x="229" y="2558"/>
                    </a:lnTo>
                    <a:lnTo>
                      <a:pt x="240" y="2563"/>
                    </a:lnTo>
                    <a:lnTo>
                      <a:pt x="254" y="2569"/>
                    </a:lnTo>
                    <a:lnTo>
                      <a:pt x="254" y="2569"/>
                    </a:lnTo>
                    <a:lnTo>
                      <a:pt x="261" y="2571"/>
                    </a:lnTo>
                    <a:lnTo>
                      <a:pt x="269" y="2571"/>
                    </a:lnTo>
                    <a:lnTo>
                      <a:pt x="284" y="2572"/>
                    </a:lnTo>
                    <a:lnTo>
                      <a:pt x="315" y="2571"/>
                    </a:lnTo>
                    <a:lnTo>
                      <a:pt x="329" y="2572"/>
                    </a:lnTo>
                    <a:lnTo>
                      <a:pt x="335" y="2573"/>
                    </a:lnTo>
                    <a:lnTo>
                      <a:pt x="341" y="2576"/>
                    </a:lnTo>
                    <a:lnTo>
                      <a:pt x="344" y="2578"/>
                    </a:lnTo>
                    <a:lnTo>
                      <a:pt x="347" y="2583"/>
                    </a:lnTo>
                    <a:lnTo>
                      <a:pt x="349" y="2588"/>
                    </a:lnTo>
                    <a:lnTo>
                      <a:pt x="350" y="2595"/>
                    </a:lnTo>
                    <a:lnTo>
                      <a:pt x="350" y="2595"/>
                    </a:lnTo>
                    <a:lnTo>
                      <a:pt x="349" y="2602"/>
                    </a:lnTo>
                    <a:lnTo>
                      <a:pt x="347" y="2608"/>
                    </a:lnTo>
                    <a:lnTo>
                      <a:pt x="345" y="2614"/>
                    </a:lnTo>
                    <a:lnTo>
                      <a:pt x="342" y="2618"/>
                    </a:lnTo>
                    <a:lnTo>
                      <a:pt x="336" y="2627"/>
                    </a:lnTo>
                    <a:lnTo>
                      <a:pt x="332" y="2632"/>
                    </a:lnTo>
                    <a:lnTo>
                      <a:pt x="331" y="2639"/>
                    </a:lnTo>
                    <a:lnTo>
                      <a:pt x="331" y="2639"/>
                    </a:lnTo>
                    <a:lnTo>
                      <a:pt x="349" y="2642"/>
                    </a:lnTo>
                    <a:lnTo>
                      <a:pt x="365" y="2646"/>
                    </a:lnTo>
                    <a:lnTo>
                      <a:pt x="378" y="2651"/>
                    </a:lnTo>
                    <a:lnTo>
                      <a:pt x="391" y="2657"/>
                    </a:lnTo>
                    <a:lnTo>
                      <a:pt x="401" y="2665"/>
                    </a:lnTo>
                    <a:lnTo>
                      <a:pt x="410" y="2676"/>
                    </a:lnTo>
                    <a:lnTo>
                      <a:pt x="418" y="2687"/>
                    </a:lnTo>
                    <a:lnTo>
                      <a:pt x="423" y="2701"/>
                    </a:lnTo>
                    <a:lnTo>
                      <a:pt x="423" y="2701"/>
                    </a:lnTo>
                    <a:lnTo>
                      <a:pt x="429" y="2713"/>
                    </a:lnTo>
                    <a:lnTo>
                      <a:pt x="433" y="2723"/>
                    </a:lnTo>
                    <a:lnTo>
                      <a:pt x="435" y="2733"/>
                    </a:lnTo>
                    <a:lnTo>
                      <a:pt x="436" y="2744"/>
                    </a:lnTo>
                    <a:lnTo>
                      <a:pt x="437" y="2755"/>
                    </a:lnTo>
                    <a:lnTo>
                      <a:pt x="439" y="2766"/>
                    </a:lnTo>
                    <a:lnTo>
                      <a:pt x="443" y="2777"/>
                    </a:lnTo>
                    <a:lnTo>
                      <a:pt x="449" y="2790"/>
                    </a:lnTo>
                    <a:lnTo>
                      <a:pt x="449" y="2790"/>
                    </a:lnTo>
                    <a:lnTo>
                      <a:pt x="451" y="2792"/>
                    </a:lnTo>
                    <a:lnTo>
                      <a:pt x="454" y="2795"/>
                    </a:lnTo>
                    <a:lnTo>
                      <a:pt x="461" y="2799"/>
                    </a:lnTo>
                    <a:lnTo>
                      <a:pt x="481" y="2806"/>
                    </a:lnTo>
                    <a:lnTo>
                      <a:pt x="489" y="2810"/>
                    </a:lnTo>
                    <a:lnTo>
                      <a:pt x="494" y="2813"/>
                    </a:lnTo>
                    <a:lnTo>
                      <a:pt x="497" y="2815"/>
                    </a:lnTo>
                    <a:lnTo>
                      <a:pt x="499" y="2819"/>
                    </a:lnTo>
                    <a:lnTo>
                      <a:pt x="502" y="2823"/>
                    </a:lnTo>
                    <a:lnTo>
                      <a:pt x="503" y="2828"/>
                    </a:lnTo>
                    <a:lnTo>
                      <a:pt x="504" y="2833"/>
                    </a:lnTo>
                    <a:lnTo>
                      <a:pt x="504" y="2833"/>
                    </a:lnTo>
                    <a:lnTo>
                      <a:pt x="504" y="2874"/>
                    </a:lnTo>
                    <a:lnTo>
                      <a:pt x="504" y="2874"/>
                    </a:lnTo>
                    <a:lnTo>
                      <a:pt x="504" y="2883"/>
                    </a:lnTo>
                    <a:lnTo>
                      <a:pt x="505" y="2892"/>
                    </a:lnTo>
                    <a:lnTo>
                      <a:pt x="507" y="2900"/>
                    </a:lnTo>
                    <a:lnTo>
                      <a:pt x="511" y="2908"/>
                    </a:lnTo>
                    <a:lnTo>
                      <a:pt x="514" y="2916"/>
                    </a:lnTo>
                    <a:lnTo>
                      <a:pt x="519" y="2923"/>
                    </a:lnTo>
                    <a:lnTo>
                      <a:pt x="523" y="2930"/>
                    </a:lnTo>
                    <a:lnTo>
                      <a:pt x="529" y="2937"/>
                    </a:lnTo>
                    <a:lnTo>
                      <a:pt x="543" y="2949"/>
                    </a:lnTo>
                    <a:lnTo>
                      <a:pt x="558" y="2960"/>
                    </a:lnTo>
                    <a:lnTo>
                      <a:pt x="576" y="2970"/>
                    </a:lnTo>
                    <a:lnTo>
                      <a:pt x="596" y="2981"/>
                    </a:lnTo>
                    <a:lnTo>
                      <a:pt x="596" y="2981"/>
                    </a:lnTo>
                    <a:lnTo>
                      <a:pt x="594" y="2991"/>
                    </a:lnTo>
                    <a:lnTo>
                      <a:pt x="591" y="3001"/>
                    </a:lnTo>
                    <a:lnTo>
                      <a:pt x="586" y="3020"/>
                    </a:lnTo>
                    <a:lnTo>
                      <a:pt x="582" y="3029"/>
                    </a:lnTo>
                    <a:lnTo>
                      <a:pt x="580" y="3038"/>
                    </a:lnTo>
                    <a:lnTo>
                      <a:pt x="578" y="3050"/>
                    </a:lnTo>
                    <a:lnTo>
                      <a:pt x="578" y="3061"/>
                    </a:lnTo>
                    <a:lnTo>
                      <a:pt x="578" y="3061"/>
                    </a:lnTo>
                    <a:lnTo>
                      <a:pt x="578" y="3234"/>
                    </a:lnTo>
                    <a:lnTo>
                      <a:pt x="578" y="3234"/>
                    </a:lnTo>
                    <a:lnTo>
                      <a:pt x="578" y="3255"/>
                    </a:lnTo>
                    <a:lnTo>
                      <a:pt x="580" y="3264"/>
                    </a:lnTo>
                    <a:lnTo>
                      <a:pt x="583" y="3273"/>
                    </a:lnTo>
                    <a:lnTo>
                      <a:pt x="586" y="3278"/>
                    </a:lnTo>
                    <a:lnTo>
                      <a:pt x="588" y="3281"/>
                    </a:lnTo>
                    <a:lnTo>
                      <a:pt x="591" y="3285"/>
                    </a:lnTo>
                    <a:lnTo>
                      <a:pt x="596" y="3287"/>
                    </a:lnTo>
                    <a:lnTo>
                      <a:pt x="601" y="3289"/>
                    </a:lnTo>
                    <a:lnTo>
                      <a:pt x="606" y="3291"/>
                    </a:lnTo>
                    <a:lnTo>
                      <a:pt x="613" y="3293"/>
                    </a:lnTo>
                    <a:lnTo>
                      <a:pt x="621" y="3293"/>
                    </a:lnTo>
                    <a:lnTo>
                      <a:pt x="621" y="3293"/>
                    </a:lnTo>
                    <a:lnTo>
                      <a:pt x="635" y="3291"/>
                    </a:lnTo>
                    <a:lnTo>
                      <a:pt x="648" y="3288"/>
                    </a:lnTo>
                    <a:lnTo>
                      <a:pt x="659" y="3283"/>
                    </a:lnTo>
                    <a:lnTo>
                      <a:pt x="671" y="3276"/>
                    </a:lnTo>
                    <a:lnTo>
                      <a:pt x="680" y="3268"/>
                    </a:lnTo>
                    <a:lnTo>
                      <a:pt x="690" y="3259"/>
                    </a:lnTo>
                    <a:lnTo>
                      <a:pt x="708" y="3240"/>
                    </a:lnTo>
                    <a:lnTo>
                      <a:pt x="725" y="3220"/>
                    </a:lnTo>
                    <a:lnTo>
                      <a:pt x="734" y="3211"/>
                    </a:lnTo>
                    <a:lnTo>
                      <a:pt x="742" y="3203"/>
                    </a:lnTo>
                    <a:lnTo>
                      <a:pt x="751" y="3196"/>
                    </a:lnTo>
                    <a:lnTo>
                      <a:pt x="762" y="3191"/>
                    </a:lnTo>
                    <a:lnTo>
                      <a:pt x="772" y="3188"/>
                    </a:lnTo>
                    <a:lnTo>
                      <a:pt x="784" y="3187"/>
                    </a:lnTo>
                    <a:lnTo>
                      <a:pt x="784" y="3187"/>
                    </a:lnTo>
                    <a:lnTo>
                      <a:pt x="786" y="3187"/>
                    </a:lnTo>
                    <a:lnTo>
                      <a:pt x="789" y="3188"/>
                    </a:lnTo>
                    <a:lnTo>
                      <a:pt x="795" y="3192"/>
                    </a:lnTo>
                    <a:lnTo>
                      <a:pt x="801" y="3199"/>
                    </a:lnTo>
                    <a:lnTo>
                      <a:pt x="807" y="3206"/>
                    </a:lnTo>
                    <a:lnTo>
                      <a:pt x="813" y="3213"/>
                    </a:lnTo>
                    <a:lnTo>
                      <a:pt x="821" y="3220"/>
                    </a:lnTo>
                    <a:lnTo>
                      <a:pt x="826" y="3222"/>
                    </a:lnTo>
                    <a:lnTo>
                      <a:pt x="831" y="3225"/>
                    </a:lnTo>
                    <a:lnTo>
                      <a:pt x="836" y="3226"/>
                    </a:lnTo>
                    <a:lnTo>
                      <a:pt x="842" y="3226"/>
                    </a:lnTo>
                    <a:lnTo>
                      <a:pt x="842" y="3226"/>
                    </a:lnTo>
                    <a:lnTo>
                      <a:pt x="843" y="3217"/>
                    </a:lnTo>
                    <a:lnTo>
                      <a:pt x="847" y="3209"/>
                    </a:lnTo>
                    <a:lnTo>
                      <a:pt x="849" y="3199"/>
                    </a:lnTo>
                    <a:lnTo>
                      <a:pt x="854" y="3191"/>
                    </a:lnTo>
                    <a:lnTo>
                      <a:pt x="863" y="3176"/>
                    </a:lnTo>
                    <a:lnTo>
                      <a:pt x="874" y="3161"/>
                    </a:lnTo>
                    <a:lnTo>
                      <a:pt x="885" y="3146"/>
                    </a:lnTo>
                    <a:lnTo>
                      <a:pt x="896" y="3130"/>
                    </a:lnTo>
                    <a:lnTo>
                      <a:pt x="905" y="3113"/>
                    </a:lnTo>
                    <a:lnTo>
                      <a:pt x="909" y="3104"/>
                    </a:lnTo>
                    <a:lnTo>
                      <a:pt x="912" y="3094"/>
                    </a:lnTo>
                    <a:lnTo>
                      <a:pt x="912" y="3094"/>
                    </a:lnTo>
                    <a:lnTo>
                      <a:pt x="916" y="3076"/>
                    </a:lnTo>
                    <a:lnTo>
                      <a:pt x="919" y="3059"/>
                    </a:lnTo>
                    <a:lnTo>
                      <a:pt x="923" y="3028"/>
                    </a:lnTo>
                    <a:lnTo>
                      <a:pt x="926" y="3000"/>
                    </a:lnTo>
                    <a:lnTo>
                      <a:pt x="929" y="2989"/>
                    </a:lnTo>
                    <a:lnTo>
                      <a:pt x="932" y="2978"/>
                    </a:lnTo>
                    <a:lnTo>
                      <a:pt x="937" y="2968"/>
                    </a:lnTo>
                    <a:lnTo>
                      <a:pt x="942" y="2960"/>
                    </a:lnTo>
                    <a:lnTo>
                      <a:pt x="949" y="2953"/>
                    </a:lnTo>
                    <a:lnTo>
                      <a:pt x="958" y="2947"/>
                    </a:lnTo>
                    <a:lnTo>
                      <a:pt x="970" y="2943"/>
                    </a:lnTo>
                    <a:lnTo>
                      <a:pt x="984" y="2939"/>
                    </a:lnTo>
                    <a:lnTo>
                      <a:pt x="1001" y="2937"/>
                    </a:lnTo>
                    <a:lnTo>
                      <a:pt x="1022" y="2937"/>
                    </a:lnTo>
                    <a:lnTo>
                      <a:pt x="1022" y="2937"/>
                    </a:lnTo>
                    <a:lnTo>
                      <a:pt x="1036" y="2937"/>
                    </a:lnTo>
                    <a:lnTo>
                      <a:pt x="1048" y="2940"/>
                    </a:lnTo>
                    <a:lnTo>
                      <a:pt x="1057" y="2945"/>
                    </a:lnTo>
                    <a:lnTo>
                      <a:pt x="1067" y="2952"/>
                    </a:lnTo>
                    <a:lnTo>
                      <a:pt x="1073" y="2959"/>
                    </a:lnTo>
                    <a:lnTo>
                      <a:pt x="1079" y="2968"/>
                    </a:lnTo>
                    <a:lnTo>
                      <a:pt x="1091" y="2985"/>
                    </a:lnTo>
                    <a:lnTo>
                      <a:pt x="1100" y="3004"/>
                    </a:lnTo>
                    <a:lnTo>
                      <a:pt x="1106" y="3012"/>
                    </a:lnTo>
                    <a:lnTo>
                      <a:pt x="1113" y="3020"/>
                    </a:lnTo>
                    <a:lnTo>
                      <a:pt x="1120" y="3026"/>
                    </a:lnTo>
                    <a:lnTo>
                      <a:pt x="1129" y="3031"/>
                    </a:lnTo>
                    <a:lnTo>
                      <a:pt x="1138" y="3034"/>
                    </a:lnTo>
                    <a:lnTo>
                      <a:pt x="1151" y="3035"/>
                    </a:lnTo>
                    <a:lnTo>
                      <a:pt x="1151" y="3035"/>
                    </a:lnTo>
                    <a:lnTo>
                      <a:pt x="1159" y="3035"/>
                    </a:lnTo>
                    <a:lnTo>
                      <a:pt x="1166" y="3034"/>
                    </a:lnTo>
                    <a:lnTo>
                      <a:pt x="1171" y="3030"/>
                    </a:lnTo>
                    <a:lnTo>
                      <a:pt x="1175" y="3027"/>
                    </a:lnTo>
                    <a:lnTo>
                      <a:pt x="1178" y="3022"/>
                    </a:lnTo>
                    <a:lnTo>
                      <a:pt x="1181" y="3016"/>
                    </a:lnTo>
                    <a:lnTo>
                      <a:pt x="1184" y="3003"/>
                    </a:lnTo>
                    <a:lnTo>
                      <a:pt x="1184" y="3003"/>
                    </a:lnTo>
                    <a:lnTo>
                      <a:pt x="1220" y="3003"/>
                    </a:lnTo>
                    <a:lnTo>
                      <a:pt x="1220" y="3003"/>
                    </a:lnTo>
                    <a:lnTo>
                      <a:pt x="1220" y="3003"/>
                    </a:lnTo>
                    <a:lnTo>
                      <a:pt x="1229" y="3010"/>
                    </a:lnTo>
                    <a:lnTo>
                      <a:pt x="1235" y="3016"/>
                    </a:lnTo>
                    <a:lnTo>
                      <a:pt x="1239" y="3024"/>
                    </a:lnTo>
                    <a:lnTo>
                      <a:pt x="1243" y="3034"/>
                    </a:lnTo>
                    <a:lnTo>
                      <a:pt x="1247" y="3053"/>
                    </a:lnTo>
                    <a:lnTo>
                      <a:pt x="1250" y="3064"/>
                    </a:lnTo>
                    <a:lnTo>
                      <a:pt x="1253" y="3076"/>
                    </a:lnTo>
                    <a:lnTo>
                      <a:pt x="1253" y="3076"/>
                    </a:lnTo>
                    <a:lnTo>
                      <a:pt x="1255" y="3081"/>
                    </a:lnTo>
                    <a:lnTo>
                      <a:pt x="1259" y="3085"/>
                    </a:lnTo>
                    <a:lnTo>
                      <a:pt x="1267" y="3095"/>
                    </a:lnTo>
                    <a:lnTo>
                      <a:pt x="1277" y="3103"/>
                    </a:lnTo>
                    <a:lnTo>
                      <a:pt x="1289" y="3112"/>
                    </a:lnTo>
                    <a:lnTo>
                      <a:pt x="1312" y="3128"/>
                    </a:lnTo>
                    <a:lnTo>
                      <a:pt x="1322" y="3135"/>
                    </a:lnTo>
                    <a:lnTo>
                      <a:pt x="1330" y="3142"/>
                    </a:lnTo>
                    <a:lnTo>
                      <a:pt x="1330" y="3142"/>
                    </a:lnTo>
                    <a:lnTo>
                      <a:pt x="1340" y="3152"/>
                    </a:lnTo>
                    <a:lnTo>
                      <a:pt x="1350" y="3164"/>
                    </a:lnTo>
                    <a:lnTo>
                      <a:pt x="1358" y="3176"/>
                    </a:lnTo>
                    <a:lnTo>
                      <a:pt x="1365" y="3190"/>
                    </a:lnTo>
                    <a:lnTo>
                      <a:pt x="1378" y="3217"/>
                    </a:lnTo>
                    <a:lnTo>
                      <a:pt x="1392" y="3244"/>
                    </a:lnTo>
                    <a:lnTo>
                      <a:pt x="1399" y="3257"/>
                    </a:lnTo>
                    <a:lnTo>
                      <a:pt x="1408" y="3268"/>
                    </a:lnTo>
                    <a:lnTo>
                      <a:pt x="1418" y="3280"/>
                    </a:lnTo>
                    <a:lnTo>
                      <a:pt x="1429" y="3289"/>
                    </a:lnTo>
                    <a:lnTo>
                      <a:pt x="1442" y="3296"/>
                    </a:lnTo>
                    <a:lnTo>
                      <a:pt x="1456" y="3303"/>
                    </a:lnTo>
                    <a:lnTo>
                      <a:pt x="1464" y="3304"/>
                    </a:lnTo>
                    <a:lnTo>
                      <a:pt x="1473" y="3306"/>
                    </a:lnTo>
                    <a:lnTo>
                      <a:pt x="1492" y="3308"/>
                    </a:lnTo>
                    <a:lnTo>
                      <a:pt x="1492" y="3308"/>
                    </a:lnTo>
                    <a:lnTo>
                      <a:pt x="1498" y="3300"/>
                    </a:lnTo>
                    <a:lnTo>
                      <a:pt x="1505" y="3290"/>
                    </a:lnTo>
                    <a:lnTo>
                      <a:pt x="1512" y="3282"/>
                    </a:lnTo>
                    <a:lnTo>
                      <a:pt x="1521" y="3275"/>
                    </a:lnTo>
                    <a:lnTo>
                      <a:pt x="1530" y="3270"/>
                    </a:lnTo>
                    <a:lnTo>
                      <a:pt x="1542" y="3264"/>
                    </a:lnTo>
                    <a:lnTo>
                      <a:pt x="1554" y="3262"/>
                    </a:lnTo>
                    <a:lnTo>
                      <a:pt x="1569" y="3260"/>
                    </a:lnTo>
                    <a:lnTo>
                      <a:pt x="1569" y="3260"/>
                    </a:lnTo>
                    <a:lnTo>
                      <a:pt x="1712" y="3260"/>
                    </a:lnTo>
                    <a:lnTo>
                      <a:pt x="1712" y="3260"/>
                    </a:lnTo>
                    <a:lnTo>
                      <a:pt x="1722" y="3259"/>
                    </a:lnTo>
                    <a:lnTo>
                      <a:pt x="1732" y="3257"/>
                    </a:lnTo>
                    <a:lnTo>
                      <a:pt x="1750" y="3250"/>
                    </a:lnTo>
                    <a:lnTo>
                      <a:pt x="1760" y="3247"/>
                    </a:lnTo>
                    <a:lnTo>
                      <a:pt x="1771" y="3244"/>
                    </a:lnTo>
                    <a:lnTo>
                      <a:pt x="1781" y="3242"/>
                    </a:lnTo>
                    <a:lnTo>
                      <a:pt x="1793" y="3241"/>
                    </a:lnTo>
                    <a:lnTo>
                      <a:pt x="1793" y="3241"/>
                    </a:lnTo>
                    <a:lnTo>
                      <a:pt x="1800" y="3242"/>
                    </a:lnTo>
                    <a:lnTo>
                      <a:pt x="1806" y="3243"/>
                    </a:lnTo>
                    <a:lnTo>
                      <a:pt x="1811" y="3244"/>
                    </a:lnTo>
                    <a:lnTo>
                      <a:pt x="1817" y="3248"/>
                    </a:lnTo>
                    <a:lnTo>
                      <a:pt x="1827" y="3253"/>
                    </a:lnTo>
                    <a:lnTo>
                      <a:pt x="1836" y="3262"/>
                    </a:lnTo>
                    <a:lnTo>
                      <a:pt x="1847" y="3268"/>
                    </a:lnTo>
                    <a:lnTo>
                      <a:pt x="1857" y="3275"/>
                    </a:lnTo>
                    <a:lnTo>
                      <a:pt x="1863" y="3278"/>
                    </a:lnTo>
                    <a:lnTo>
                      <a:pt x="1870" y="3280"/>
                    </a:lnTo>
                    <a:lnTo>
                      <a:pt x="1877" y="3281"/>
                    </a:lnTo>
                    <a:lnTo>
                      <a:pt x="1885" y="3281"/>
                    </a:lnTo>
                    <a:lnTo>
                      <a:pt x="1885" y="3281"/>
                    </a:lnTo>
                    <a:lnTo>
                      <a:pt x="1894" y="3281"/>
                    </a:lnTo>
                    <a:lnTo>
                      <a:pt x="1902" y="3280"/>
                    </a:lnTo>
                    <a:lnTo>
                      <a:pt x="1918" y="3276"/>
                    </a:lnTo>
                    <a:lnTo>
                      <a:pt x="1932" y="3271"/>
                    </a:lnTo>
                    <a:lnTo>
                      <a:pt x="1947" y="3265"/>
                    </a:lnTo>
                    <a:lnTo>
                      <a:pt x="1962" y="3259"/>
                    </a:lnTo>
                    <a:lnTo>
                      <a:pt x="1977" y="3253"/>
                    </a:lnTo>
                    <a:lnTo>
                      <a:pt x="1994" y="3250"/>
                    </a:lnTo>
                    <a:lnTo>
                      <a:pt x="2003" y="3249"/>
                    </a:lnTo>
                    <a:lnTo>
                      <a:pt x="2014" y="3249"/>
                    </a:lnTo>
                    <a:lnTo>
                      <a:pt x="2014" y="3249"/>
                    </a:lnTo>
                    <a:lnTo>
                      <a:pt x="2023" y="3248"/>
                    </a:lnTo>
                    <a:lnTo>
                      <a:pt x="2032" y="3247"/>
                    </a:lnTo>
                    <a:lnTo>
                      <a:pt x="2040" y="3244"/>
                    </a:lnTo>
                    <a:lnTo>
                      <a:pt x="2048" y="3242"/>
                    </a:lnTo>
                    <a:lnTo>
                      <a:pt x="2055" y="3239"/>
                    </a:lnTo>
                    <a:lnTo>
                      <a:pt x="2062" y="3234"/>
                    </a:lnTo>
                    <a:lnTo>
                      <a:pt x="2075" y="3225"/>
                    </a:lnTo>
                    <a:lnTo>
                      <a:pt x="2086" y="3214"/>
                    </a:lnTo>
                    <a:lnTo>
                      <a:pt x="2096" y="3204"/>
                    </a:lnTo>
                    <a:lnTo>
                      <a:pt x="2116" y="3182"/>
                    </a:lnTo>
                    <a:lnTo>
                      <a:pt x="2116" y="3182"/>
                    </a:lnTo>
                    <a:lnTo>
                      <a:pt x="2121" y="3179"/>
                    </a:lnTo>
                    <a:lnTo>
                      <a:pt x="2124" y="3176"/>
                    </a:lnTo>
                    <a:lnTo>
                      <a:pt x="2134" y="3173"/>
                    </a:lnTo>
                    <a:lnTo>
                      <a:pt x="2146" y="3169"/>
                    </a:lnTo>
                    <a:lnTo>
                      <a:pt x="2157" y="3167"/>
                    </a:lnTo>
                    <a:lnTo>
                      <a:pt x="2169" y="3166"/>
                    </a:lnTo>
                    <a:lnTo>
                      <a:pt x="2182" y="3163"/>
                    </a:lnTo>
                    <a:lnTo>
                      <a:pt x="2192" y="3159"/>
                    </a:lnTo>
                    <a:lnTo>
                      <a:pt x="2197" y="3156"/>
                    </a:lnTo>
                    <a:lnTo>
                      <a:pt x="2201" y="3152"/>
                    </a:lnTo>
                    <a:lnTo>
                      <a:pt x="2201" y="3152"/>
                    </a:lnTo>
                    <a:lnTo>
                      <a:pt x="2213" y="3145"/>
                    </a:lnTo>
                    <a:lnTo>
                      <a:pt x="2222" y="3137"/>
                    </a:lnTo>
                    <a:lnTo>
                      <a:pt x="2231" y="3129"/>
                    </a:lnTo>
                    <a:lnTo>
                      <a:pt x="2239" y="3120"/>
                    </a:lnTo>
                    <a:lnTo>
                      <a:pt x="2254" y="3103"/>
                    </a:lnTo>
                    <a:lnTo>
                      <a:pt x="2268" y="3085"/>
                    </a:lnTo>
                    <a:lnTo>
                      <a:pt x="2282" y="3068"/>
                    </a:lnTo>
                    <a:lnTo>
                      <a:pt x="2290" y="3060"/>
                    </a:lnTo>
                    <a:lnTo>
                      <a:pt x="2298" y="3053"/>
                    </a:lnTo>
                    <a:lnTo>
                      <a:pt x="2307" y="3046"/>
                    </a:lnTo>
                    <a:lnTo>
                      <a:pt x="2317" y="3039"/>
                    </a:lnTo>
                    <a:lnTo>
                      <a:pt x="2328" y="3034"/>
                    </a:lnTo>
                    <a:lnTo>
                      <a:pt x="2340" y="3028"/>
                    </a:lnTo>
                    <a:lnTo>
                      <a:pt x="2340" y="3028"/>
                    </a:lnTo>
                    <a:lnTo>
                      <a:pt x="2336" y="2988"/>
                    </a:lnTo>
                    <a:lnTo>
                      <a:pt x="2332" y="2950"/>
                    </a:lnTo>
                    <a:lnTo>
                      <a:pt x="2330" y="2914"/>
                    </a:lnTo>
                    <a:lnTo>
                      <a:pt x="2329" y="2881"/>
                    </a:lnTo>
                    <a:lnTo>
                      <a:pt x="2329" y="2881"/>
                    </a:lnTo>
                    <a:lnTo>
                      <a:pt x="2329" y="2873"/>
                    </a:lnTo>
                    <a:lnTo>
                      <a:pt x="2325" y="2865"/>
                    </a:lnTo>
                    <a:lnTo>
                      <a:pt x="2321" y="2859"/>
                    </a:lnTo>
                    <a:lnTo>
                      <a:pt x="2315" y="2854"/>
                    </a:lnTo>
                    <a:lnTo>
                      <a:pt x="2309" y="2850"/>
                    </a:lnTo>
                    <a:lnTo>
                      <a:pt x="2301" y="2846"/>
                    </a:lnTo>
                    <a:lnTo>
                      <a:pt x="2285" y="2842"/>
                    </a:lnTo>
                    <a:lnTo>
                      <a:pt x="2269" y="2837"/>
                    </a:lnTo>
                    <a:lnTo>
                      <a:pt x="2255" y="2832"/>
                    </a:lnTo>
                    <a:lnTo>
                      <a:pt x="2250" y="2829"/>
                    </a:lnTo>
                    <a:lnTo>
                      <a:pt x="2245" y="2825"/>
                    </a:lnTo>
                    <a:lnTo>
                      <a:pt x="2243" y="2821"/>
                    </a:lnTo>
                    <a:lnTo>
                      <a:pt x="2241" y="2815"/>
                    </a:lnTo>
                    <a:lnTo>
                      <a:pt x="2241" y="2815"/>
                    </a:lnTo>
                    <a:lnTo>
                      <a:pt x="2241" y="2810"/>
                    </a:lnTo>
                    <a:lnTo>
                      <a:pt x="2243" y="2806"/>
                    </a:lnTo>
                    <a:lnTo>
                      <a:pt x="2247" y="2798"/>
                    </a:lnTo>
                    <a:lnTo>
                      <a:pt x="2254" y="2790"/>
                    </a:lnTo>
                    <a:lnTo>
                      <a:pt x="2260" y="2782"/>
                    </a:lnTo>
                    <a:lnTo>
                      <a:pt x="2260" y="2782"/>
                    </a:lnTo>
                    <a:lnTo>
                      <a:pt x="2260" y="2728"/>
                    </a:lnTo>
                    <a:lnTo>
                      <a:pt x="2260" y="2728"/>
                    </a:lnTo>
                    <a:lnTo>
                      <a:pt x="2260" y="2728"/>
                    </a:lnTo>
                    <a:lnTo>
                      <a:pt x="2232" y="2723"/>
                    </a:lnTo>
                    <a:lnTo>
                      <a:pt x="2222" y="2721"/>
                    </a:lnTo>
                    <a:lnTo>
                      <a:pt x="2213" y="2718"/>
                    </a:lnTo>
                    <a:lnTo>
                      <a:pt x="2205" y="2715"/>
                    </a:lnTo>
                    <a:lnTo>
                      <a:pt x="2198" y="2710"/>
                    </a:lnTo>
                    <a:lnTo>
                      <a:pt x="2191" y="2703"/>
                    </a:lnTo>
                    <a:lnTo>
                      <a:pt x="2183" y="2693"/>
                    </a:lnTo>
                    <a:lnTo>
                      <a:pt x="2183" y="2693"/>
                    </a:lnTo>
                    <a:lnTo>
                      <a:pt x="2193" y="2685"/>
                    </a:lnTo>
                    <a:lnTo>
                      <a:pt x="2205" y="2676"/>
                    </a:lnTo>
                    <a:lnTo>
                      <a:pt x="2210" y="2670"/>
                    </a:lnTo>
                    <a:lnTo>
                      <a:pt x="2215" y="2664"/>
                    </a:lnTo>
                    <a:lnTo>
                      <a:pt x="2218" y="2657"/>
                    </a:lnTo>
                    <a:lnTo>
                      <a:pt x="2220" y="2649"/>
                    </a:lnTo>
                    <a:lnTo>
                      <a:pt x="2220" y="2649"/>
                    </a:lnTo>
                    <a:lnTo>
                      <a:pt x="2218" y="2636"/>
                    </a:lnTo>
                    <a:lnTo>
                      <a:pt x="2216" y="2623"/>
                    </a:lnTo>
                    <a:lnTo>
                      <a:pt x="2210" y="2598"/>
                    </a:lnTo>
                    <a:lnTo>
                      <a:pt x="2205" y="2572"/>
                    </a:lnTo>
                    <a:lnTo>
                      <a:pt x="2202" y="2557"/>
                    </a:lnTo>
                    <a:lnTo>
                      <a:pt x="2201" y="2543"/>
                    </a:lnTo>
                    <a:lnTo>
                      <a:pt x="2201" y="2543"/>
                    </a:lnTo>
                    <a:lnTo>
                      <a:pt x="2201" y="2531"/>
                    </a:lnTo>
                    <a:lnTo>
                      <a:pt x="2202" y="2520"/>
                    </a:lnTo>
                    <a:lnTo>
                      <a:pt x="2205" y="2510"/>
                    </a:lnTo>
                    <a:lnTo>
                      <a:pt x="2207" y="2502"/>
                    </a:lnTo>
                    <a:lnTo>
                      <a:pt x="2209" y="2493"/>
                    </a:lnTo>
                    <a:lnTo>
                      <a:pt x="2213" y="2486"/>
                    </a:lnTo>
                    <a:lnTo>
                      <a:pt x="2216" y="2479"/>
                    </a:lnTo>
                    <a:lnTo>
                      <a:pt x="2221" y="2473"/>
                    </a:lnTo>
                    <a:lnTo>
                      <a:pt x="2230" y="2463"/>
                    </a:lnTo>
                    <a:lnTo>
                      <a:pt x="2239" y="2455"/>
                    </a:lnTo>
                    <a:lnTo>
                      <a:pt x="2251" y="2448"/>
                    </a:lnTo>
                    <a:lnTo>
                      <a:pt x="2262" y="2441"/>
                    </a:lnTo>
                    <a:lnTo>
                      <a:pt x="2284" y="2428"/>
                    </a:lnTo>
                    <a:lnTo>
                      <a:pt x="2294" y="2422"/>
                    </a:lnTo>
                    <a:lnTo>
                      <a:pt x="2304" y="2413"/>
                    </a:lnTo>
                    <a:lnTo>
                      <a:pt x="2312" y="2403"/>
                    </a:lnTo>
                    <a:lnTo>
                      <a:pt x="2314" y="2397"/>
                    </a:lnTo>
                    <a:lnTo>
                      <a:pt x="2317" y="2390"/>
                    </a:lnTo>
                    <a:lnTo>
                      <a:pt x="2320" y="2384"/>
                    </a:lnTo>
                    <a:lnTo>
                      <a:pt x="2321" y="2374"/>
                    </a:lnTo>
                    <a:lnTo>
                      <a:pt x="2322" y="2366"/>
                    </a:lnTo>
                    <a:lnTo>
                      <a:pt x="2322" y="2356"/>
                    </a:lnTo>
                    <a:lnTo>
                      <a:pt x="2322" y="2356"/>
                    </a:lnTo>
                    <a:lnTo>
                      <a:pt x="2323" y="2349"/>
                    </a:lnTo>
                    <a:lnTo>
                      <a:pt x="2324" y="2343"/>
                    </a:lnTo>
                    <a:lnTo>
                      <a:pt x="2327" y="2339"/>
                    </a:lnTo>
                    <a:lnTo>
                      <a:pt x="2329" y="2335"/>
                    </a:lnTo>
                    <a:lnTo>
                      <a:pt x="2332" y="2333"/>
                    </a:lnTo>
                    <a:lnTo>
                      <a:pt x="2337" y="2331"/>
                    </a:lnTo>
                    <a:lnTo>
                      <a:pt x="2346" y="2328"/>
                    </a:lnTo>
                    <a:lnTo>
                      <a:pt x="2357" y="2327"/>
                    </a:lnTo>
                    <a:lnTo>
                      <a:pt x="2367" y="2327"/>
                    </a:lnTo>
                    <a:lnTo>
                      <a:pt x="2378" y="2326"/>
                    </a:lnTo>
                    <a:lnTo>
                      <a:pt x="2389" y="2323"/>
                    </a:lnTo>
                    <a:lnTo>
                      <a:pt x="2389" y="2323"/>
                    </a:lnTo>
                    <a:lnTo>
                      <a:pt x="2396" y="2319"/>
                    </a:lnTo>
                    <a:lnTo>
                      <a:pt x="2401" y="2316"/>
                    </a:lnTo>
                    <a:lnTo>
                      <a:pt x="2406" y="2312"/>
                    </a:lnTo>
                    <a:lnTo>
                      <a:pt x="2411" y="2308"/>
                    </a:lnTo>
                    <a:lnTo>
                      <a:pt x="2414" y="2302"/>
                    </a:lnTo>
                    <a:lnTo>
                      <a:pt x="2416" y="2297"/>
                    </a:lnTo>
                    <a:lnTo>
                      <a:pt x="2420" y="2285"/>
                    </a:lnTo>
                    <a:lnTo>
                      <a:pt x="2422" y="2272"/>
                    </a:lnTo>
                    <a:lnTo>
                      <a:pt x="2422" y="2259"/>
                    </a:lnTo>
                    <a:lnTo>
                      <a:pt x="2422" y="2231"/>
                    </a:lnTo>
                    <a:lnTo>
                      <a:pt x="2422" y="2231"/>
                    </a:lnTo>
                    <a:lnTo>
                      <a:pt x="2423" y="2225"/>
                    </a:lnTo>
                    <a:lnTo>
                      <a:pt x="2426" y="2220"/>
                    </a:lnTo>
                    <a:lnTo>
                      <a:pt x="2430" y="2217"/>
                    </a:lnTo>
                    <a:lnTo>
                      <a:pt x="2435" y="2213"/>
                    </a:lnTo>
                    <a:lnTo>
                      <a:pt x="2439" y="2210"/>
                    </a:lnTo>
                    <a:lnTo>
                      <a:pt x="2443" y="2206"/>
                    </a:lnTo>
                    <a:lnTo>
                      <a:pt x="2446" y="2203"/>
                    </a:lnTo>
                    <a:lnTo>
                      <a:pt x="2447" y="2198"/>
                    </a:lnTo>
                    <a:lnTo>
                      <a:pt x="2447" y="2198"/>
                    </a:lnTo>
                    <a:lnTo>
                      <a:pt x="2446" y="2190"/>
                    </a:lnTo>
                    <a:lnTo>
                      <a:pt x="2445" y="2182"/>
                    </a:lnTo>
                    <a:lnTo>
                      <a:pt x="2442" y="2168"/>
                    </a:lnTo>
                    <a:lnTo>
                      <a:pt x="2436" y="2156"/>
                    </a:lnTo>
                    <a:lnTo>
                      <a:pt x="2429" y="2144"/>
                    </a:lnTo>
                    <a:lnTo>
                      <a:pt x="2420" y="2133"/>
                    </a:lnTo>
                    <a:lnTo>
                      <a:pt x="2409" y="2123"/>
                    </a:lnTo>
                    <a:lnTo>
                      <a:pt x="2389" y="2105"/>
                    </a:lnTo>
                    <a:lnTo>
                      <a:pt x="2367" y="2086"/>
                    </a:lnTo>
                    <a:lnTo>
                      <a:pt x="2357" y="2076"/>
                    </a:lnTo>
                    <a:lnTo>
                      <a:pt x="2347" y="2066"/>
                    </a:lnTo>
                    <a:lnTo>
                      <a:pt x="2340" y="2054"/>
                    </a:lnTo>
                    <a:lnTo>
                      <a:pt x="2335" y="2043"/>
                    </a:lnTo>
                    <a:lnTo>
                      <a:pt x="2331" y="2029"/>
                    </a:lnTo>
                    <a:lnTo>
                      <a:pt x="2330" y="2021"/>
                    </a:lnTo>
                    <a:lnTo>
                      <a:pt x="2329" y="2014"/>
                    </a:lnTo>
                    <a:lnTo>
                      <a:pt x="2329" y="2014"/>
                    </a:lnTo>
                    <a:lnTo>
                      <a:pt x="2330" y="2006"/>
                    </a:lnTo>
                    <a:lnTo>
                      <a:pt x="2331" y="2000"/>
                    </a:lnTo>
                    <a:lnTo>
                      <a:pt x="2331" y="1995"/>
                    </a:lnTo>
                    <a:lnTo>
                      <a:pt x="2329" y="1989"/>
                    </a:lnTo>
                    <a:lnTo>
                      <a:pt x="2329" y="1989"/>
                    </a:lnTo>
                    <a:lnTo>
                      <a:pt x="2338" y="1968"/>
                    </a:lnTo>
                    <a:lnTo>
                      <a:pt x="2346" y="1950"/>
                    </a:lnTo>
                    <a:lnTo>
                      <a:pt x="2350" y="1941"/>
                    </a:lnTo>
                    <a:lnTo>
                      <a:pt x="2353" y="1930"/>
                    </a:lnTo>
                    <a:lnTo>
                      <a:pt x="2354" y="1920"/>
                    </a:lnTo>
                    <a:lnTo>
                      <a:pt x="2355" y="1907"/>
                    </a:lnTo>
                    <a:lnTo>
                      <a:pt x="2355" y="1907"/>
                    </a:lnTo>
                    <a:lnTo>
                      <a:pt x="2355" y="1899"/>
                    </a:lnTo>
                    <a:lnTo>
                      <a:pt x="2353" y="1890"/>
                    </a:lnTo>
                    <a:lnTo>
                      <a:pt x="2348" y="1870"/>
                    </a:lnTo>
                    <a:lnTo>
                      <a:pt x="2342" y="1851"/>
                    </a:lnTo>
                    <a:lnTo>
                      <a:pt x="2334" y="1830"/>
                    </a:lnTo>
                    <a:lnTo>
                      <a:pt x="2319" y="1793"/>
                    </a:lnTo>
                    <a:lnTo>
                      <a:pt x="2313" y="1777"/>
                    </a:lnTo>
                    <a:lnTo>
                      <a:pt x="2312" y="1770"/>
                    </a:lnTo>
                    <a:lnTo>
                      <a:pt x="2312" y="1764"/>
                    </a:lnTo>
                    <a:lnTo>
                      <a:pt x="2312" y="1764"/>
                    </a:lnTo>
                    <a:lnTo>
                      <a:pt x="2312" y="1760"/>
                    </a:lnTo>
                    <a:lnTo>
                      <a:pt x="2313" y="1755"/>
                    </a:lnTo>
                    <a:lnTo>
                      <a:pt x="2316" y="1748"/>
                    </a:lnTo>
                    <a:lnTo>
                      <a:pt x="2322" y="1743"/>
                    </a:lnTo>
                    <a:lnTo>
                      <a:pt x="2329" y="1738"/>
                    </a:lnTo>
                    <a:lnTo>
                      <a:pt x="2337" y="1735"/>
                    </a:lnTo>
                    <a:lnTo>
                      <a:pt x="2345" y="1732"/>
                    </a:lnTo>
                    <a:lnTo>
                      <a:pt x="2354" y="1731"/>
                    </a:lnTo>
                    <a:lnTo>
                      <a:pt x="2363" y="1731"/>
                    </a:lnTo>
                    <a:lnTo>
                      <a:pt x="2363" y="1731"/>
                    </a:lnTo>
                    <a:lnTo>
                      <a:pt x="2414" y="1731"/>
                    </a:lnTo>
                    <a:lnTo>
                      <a:pt x="2414" y="1731"/>
                    </a:lnTo>
                    <a:lnTo>
                      <a:pt x="2421" y="1733"/>
                    </a:lnTo>
                    <a:lnTo>
                      <a:pt x="2432" y="1737"/>
                    </a:lnTo>
                    <a:lnTo>
                      <a:pt x="2441" y="1738"/>
                    </a:lnTo>
                    <a:lnTo>
                      <a:pt x="2449" y="1739"/>
                    </a:lnTo>
                    <a:lnTo>
                      <a:pt x="2457" y="1738"/>
                    </a:lnTo>
                    <a:lnTo>
                      <a:pt x="2465" y="1736"/>
                    </a:lnTo>
                    <a:lnTo>
                      <a:pt x="2465" y="1736"/>
                    </a:lnTo>
                    <a:lnTo>
                      <a:pt x="2470" y="1732"/>
                    </a:lnTo>
                    <a:lnTo>
                      <a:pt x="2475" y="1728"/>
                    </a:lnTo>
                    <a:lnTo>
                      <a:pt x="2478" y="1723"/>
                    </a:lnTo>
                    <a:lnTo>
                      <a:pt x="2483" y="1717"/>
                    </a:lnTo>
                    <a:lnTo>
                      <a:pt x="2497" y="1691"/>
                    </a:lnTo>
                    <a:lnTo>
                      <a:pt x="2505" y="1678"/>
                    </a:lnTo>
                    <a:lnTo>
                      <a:pt x="2510" y="1672"/>
                    </a:lnTo>
                    <a:lnTo>
                      <a:pt x="2516" y="1668"/>
                    </a:lnTo>
                    <a:lnTo>
                      <a:pt x="2522" y="1663"/>
                    </a:lnTo>
                    <a:lnTo>
                      <a:pt x="2530" y="1660"/>
                    </a:lnTo>
                    <a:lnTo>
                      <a:pt x="2539" y="1659"/>
                    </a:lnTo>
                    <a:lnTo>
                      <a:pt x="2550" y="1657"/>
                    </a:lnTo>
                    <a:lnTo>
                      <a:pt x="2550" y="1657"/>
                    </a:lnTo>
                    <a:lnTo>
                      <a:pt x="2559" y="1657"/>
                    </a:lnTo>
                    <a:lnTo>
                      <a:pt x="2565" y="1659"/>
                    </a:lnTo>
                    <a:lnTo>
                      <a:pt x="2571" y="1662"/>
                    </a:lnTo>
                    <a:lnTo>
                      <a:pt x="2573" y="1662"/>
                    </a:lnTo>
                    <a:lnTo>
                      <a:pt x="2576" y="1662"/>
                    </a:lnTo>
                    <a:lnTo>
                      <a:pt x="2587" y="1657"/>
                    </a:lnTo>
                    <a:lnTo>
                      <a:pt x="2587" y="1657"/>
                    </a:lnTo>
                    <a:lnTo>
                      <a:pt x="2590" y="1655"/>
                    </a:lnTo>
                    <a:lnTo>
                      <a:pt x="2592" y="1653"/>
                    </a:lnTo>
                    <a:lnTo>
                      <a:pt x="2594" y="1649"/>
                    </a:lnTo>
                    <a:lnTo>
                      <a:pt x="2595" y="1645"/>
                    </a:lnTo>
                    <a:lnTo>
                      <a:pt x="2596" y="1633"/>
                    </a:lnTo>
                    <a:lnTo>
                      <a:pt x="2596" y="1622"/>
                    </a:lnTo>
                    <a:lnTo>
                      <a:pt x="2594" y="1601"/>
                    </a:lnTo>
                    <a:lnTo>
                      <a:pt x="2594" y="1594"/>
                    </a:lnTo>
                    <a:lnTo>
                      <a:pt x="2594" y="1592"/>
                    </a:lnTo>
                    <a:lnTo>
                      <a:pt x="2594" y="1592"/>
                    </a:lnTo>
                    <a:lnTo>
                      <a:pt x="2568" y="1592"/>
                    </a:lnTo>
                    <a:lnTo>
                      <a:pt x="2568" y="159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7" name="Freeform 112"/>
              <p:cNvSpPr>
                <a:spLocks noChangeAspect="1"/>
              </p:cNvSpPr>
              <p:nvPr/>
            </p:nvSpPr>
            <p:spPr bwMode="auto">
              <a:xfrm>
                <a:off x="5753215" y="2064374"/>
                <a:ext cx="236181" cy="210129"/>
              </a:xfrm>
              <a:custGeom>
                <a:avLst/>
                <a:gdLst/>
                <a:ahLst/>
                <a:cxnLst>
                  <a:cxn ang="0">
                    <a:pos x="298" y="77"/>
                  </a:cxn>
                  <a:cxn ang="0">
                    <a:pos x="290" y="40"/>
                  </a:cxn>
                  <a:cxn ang="0">
                    <a:pos x="276" y="27"/>
                  </a:cxn>
                  <a:cxn ang="0">
                    <a:pos x="263" y="2"/>
                  </a:cxn>
                  <a:cxn ang="0">
                    <a:pos x="226" y="1"/>
                  </a:cxn>
                  <a:cxn ang="0">
                    <a:pos x="192" y="8"/>
                  </a:cxn>
                  <a:cxn ang="0">
                    <a:pos x="162" y="33"/>
                  </a:cxn>
                  <a:cxn ang="0">
                    <a:pos x="138" y="36"/>
                  </a:cxn>
                  <a:cxn ang="0">
                    <a:pos x="118" y="30"/>
                  </a:cxn>
                  <a:cxn ang="0">
                    <a:pos x="108" y="33"/>
                  </a:cxn>
                  <a:cxn ang="0">
                    <a:pos x="103" y="48"/>
                  </a:cxn>
                  <a:cxn ang="0">
                    <a:pos x="112" y="84"/>
                  </a:cxn>
                  <a:cxn ang="0">
                    <a:pos x="132" y="103"/>
                  </a:cxn>
                  <a:cxn ang="0">
                    <a:pos x="127" y="115"/>
                  </a:cxn>
                  <a:cxn ang="0">
                    <a:pos x="103" y="108"/>
                  </a:cxn>
                  <a:cxn ang="0">
                    <a:pos x="88" y="107"/>
                  </a:cxn>
                  <a:cxn ang="0">
                    <a:pos x="39" y="94"/>
                  </a:cxn>
                  <a:cxn ang="0">
                    <a:pos x="19" y="93"/>
                  </a:cxn>
                  <a:cxn ang="0">
                    <a:pos x="6" y="116"/>
                  </a:cxn>
                  <a:cxn ang="0">
                    <a:pos x="1" y="152"/>
                  </a:cxn>
                  <a:cxn ang="0">
                    <a:pos x="15" y="175"/>
                  </a:cxn>
                  <a:cxn ang="0">
                    <a:pos x="11" y="190"/>
                  </a:cxn>
                  <a:cxn ang="0">
                    <a:pos x="8" y="207"/>
                  </a:cxn>
                  <a:cxn ang="0">
                    <a:pos x="32" y="222"/>
                  </a:cxn>
                  <a:cxn ang="0">
                    <a:pos x="47" y="231"/>
                  </a:cxn>
                  <a:cxn ang="0">
                    <a:pos x="51" y="257"/>
                  </a:cxn>
                  <a:cxn ang="0">
                    <a:pos x="78" y="280"/>
                  </a:cxn>
                  <a:cxn ang="0">
                    <a:pos x="135" y="291"/>
                  </a:cxn>
                  <a:cxn ang="0">
                    <a:pos x="143" y="299"/>
                  </a:cxn>
                  <a:cxn ang="0">
                    <a:pos x="165" y="301"/>
                  </a:cxn>
                  <a:cxn ang="0">
                    <a:pos x="181" y="294"/>
                  </a:cxn>
                  <a:cxn ang="0">
                    <a:pos x="184" y="276"/>
                  </a:cxn>
                  <a:cxn ang="0">
                    <a:pos x="180" y="246"/>
                  </a:cxn>
                  <a:cxn ang="0">
                    <a:pos x="180" y="236"/>
                  </a:cxn>
                  <a:cxn ang="0">
                    <a:pos x="199" y="230"/>
                  </a:cxn>
                  <a:cxn ang="0">
                    <a:pos x="218" y="200"/>
                  </a:cxn>
                  <a:cxn ang="0">
                    <a:pos x="231" y="175"/>
                  </a:cxn>
                  <a:cxn ang="0">
                    <a:pos x="261" y="164"/>
                  </a:cxn>
                  <a:cxn ang="0">
                    <a:pos x="284" y="153"/>
                  </a:cxn>
                  <a:cxn ang="0">
                    <a:pos x="286" y="137"/>
                  </a:cxn>
                  <a:cxn ang="0">
                    <a:pos x="286" y="122"/>
                  </a:cxn>
                  <a:cxn ang="0">
                    <a:pos x="258" y="125"/>
                  </a:cxn>
                  <a:cxn ang="0">
                    <a:pos x="240" y="129"/>
                  </a:cxn>
                  <a:cxn ang="0">
                    <a:pos x="202" y="109"/>
                  </a:cxn>
                  <a:cxn ang="0">
                    <a:pos x="180" y="78"/>
                  </a:cxn>
                  <a:cxn ang="0">
                    <a:pos x="180" y="48"/>
                  </a:cxn>
                  <a:cxn ang="0">
                    <a:pos x="203" y="70"/>
                  </a:cxn>
                  <a:cxn ang="0">
                    <a:pos x="226" y="104"/>
                  </a:cxn>
                  <a:cxn ang="0">
                    <a:pos x="246" y="110"/>
                  </a:cxn>
                  <a:cxn ang="0">
                    <a:pos x="272" y="107"/>
                  </a:cxn>
                  <a:cxn ang="0">
                    <a:pos x="298" y="85"/>
                  </a:cxn>
                </a:cxnLst>
                <a:rect l="0" t="0" r="r" b="b"/>
                <a:pathLst>
                  <a:path w="299" h="301">
                    <a:moveTo>
                      <a:pt x="298" y="85"/>
                    </a:moveTo>
                    <a:lnTo>
                      <a:pt x="298" y="85"/>
                    </a:lnTo>
                    <a:lnTo>
                      <a:pt x="299" y="83"/>
                    </a:lnTo>
                    <a:lnTo>
                      <a:pt x="298" y="77"/>
                    </a:lnTo>
                    <a:lnTo>
                      <a:pt x="295" y="64"/>
                    </a:lnTo>
                    <a:lnTo>
                      <a:pt x="292" y="50"/>
                    </a:lnTo>
                    <a:lnTo>
                      <a:pt x="290" y="40"/>
                    </a:lnTo>
                    <a:lnTo>
                      <a:pt x="290" y="40"/>
                    </a:lnTo>
                    <a:lnTo>
                      <a:pt x="287" y="40"/>
                    </a:lnTo>
                    <a:lnTo>
                      <a:pt x="284" y="39"/>
                    </a:lnTo>
                    <a:lnTo>
                      <a:pt x="279" y="34"/>
                    </a:lnTo>
                    <a:lnTo>
                      <a:pt x="276" y="27"/>
                    </a:lnTo>
                    <a:lnTo>
                      <a:pt x="273" y="20"/>
                    </a:lnTo>
                    <a:lnTo>
                      <a:pt x="271" y="12"/>
                    </a:lnTo>
                    <a:lnTo>
                      <a:pt x="268" y="7"/>
                    </a:lnTo>
                    <a:lnTo>
                      <a:pt x="263" y="2"/>
                    </a:lnTo>
                    <a:lnTo>
                      <a:pt x="260" y="1"/>
                    </a:lnTo>
                    <a:lnTo>
                      <a:pt x="257" y="0"/>
                    </a:lnTo>
                    <a:lnTo>
                      <a:pt x="257" y="0"/>
                    </a:lnTo>
                    <a:lnTo>
                      <a:pt x="226" y="1"/>
                    </a:lnTo>
                    <a:lnTo>
                      <a:pt x="212" y="2"/>
                    </a:lnTo>
                    <a:lnTo>
                      <a:pt x="199" y="4"/>
                    </a:lnTo>
                    <a:lnTo>
                      <a:pt x="199" y="4"/>
                    </a:lnTo>
                    <a:lnTo>
                      <a:pt x="192" y="8"/>
                    </a:lnTo>
                    <a:lnTo>
                      <a:pt x="186" y="12"/>
                    </a:lnTo>
                    <a:lnTo>
                      <a:pt x="174" y="23"/>
                    </a:lnTo>
                    <a:lnTo>
                      <a:pt x="169" y="28"/>
                    </a:lnTo>
                    <a:lnTo>
                      <a:pt x="162" y="33"/>
                    </a:lnTo>
                    <a:lnTo>
                      <a:pt x="153" y="35"/>
                    </a:lnTo>
                    <a:lnTo>
                      <a:pt x="143" y="36"/>
                    </a:lnTo>
                    <a:lnTo>
                      <a:pt x="143" y="36"/>
                    </a:lnTo>
                    <a:lnTo>
                      <a:pt x="138" y="36"/>
                    </a:lnTo>
                    <a:lnTo>
                      <a:pt x="134" y="35"/>
                    </a:lnTo>
                    <a:lnTo>
                      <a:pt x="127" y="33"/>
                    </a:lnTo>
                    <a:lnTo>
                      <a:pt x="123" y="31"/>
                    </a:lnTo>
                    <a:lnTo>
                      <a:pt x="118" y="30"/>
                    </a:lnTo>
                    <a:lnTo>
                      <a:pt x="118" y="30"/>
                    </a:lnTo>
                    <a:lnTo>
                      <a:pt x="113" y="30"/>
                    </a:lnTo>
                    <a:lnTo>
                      <a:pt x="111" y="31"/>
                    </a:lnTo>
                    <a:lnTo>
                      <a:pt x="108" y="33"/>
                    </a:lnTo>
                    <a:lnTo>
                      <a:pt x="107" y="35"/>
                    </a:lnTo>
                    <a:lnTo>
                      <a:pt x="103" y="42"/>
                    </a:lnTo>
                    <a:lnTo>
                      <a:pt x="103" y="48"/>
                    </a:lnTo>
                    <a:lnTo>
                      <a:pt x="103" y="48"/>
                    </a:lnTo>
                    <a:lnTo>
                      <a:pt x="103" y="60"/>
                    </a:lnTo>
                    <a:lnTo>
                      <a:pt x="105" y="69"/>
                    </a:lnTo>
                    <a:lnTo>
                      <a:pt x="109" y="77"/>
                    </a:lnTo>
                    <a:lnTo>
                      <a:pt x="112" y="84"/>
                    </a:lnTo>
                    <a:lnTo>
                      <a:pt x="117" y="89"/>
                    </a:lnTo>
                    <a:lnTo>
                      <a:pt x="122" y="94"/>
                    </a:lnTo>
                    <a:lnTo>
                      <a:pt x="132" y="103"/>
                    </a:lnTo>
                    <a:lnTo>
                      <a:pt x="132" y="103"/>
                    </a:lnTo>
                    <a:lnTo>
                      <a:pt x="132" y="114"/>
                    </a:lnTo>
                    <a:lnTo>
                      <a:pt x="132" y="114"/>
                    </a:lnTo>
                    <a:lnTo>
                      <a:pt x="132" y="114"/>
                    </a:lnTo>
                    <a:lnTo>
                      <a:pt x="127" y="115"/>
                    </a:lnTo>
                    <a:lnTo>
                      <a:pt x="123" y="115"/>
                    </a:lnTo>
                    <a:lnTo>
                      <a:pt x="115" y="111"/>
                    </a:lnTo>
                    <a:lnTo>
                      <a:pt x="107" y="109"/>
                    </a:lnTo>
                    <a:lnTo>
                      <a:pt x="103" y="108"/>
                    </a:lnTo>
                    <a:lnTo>
                      <a:pt x="99" y="107"/>
                    </a:lnTo>
                    <a:lnTo>
                      <a:pt x="99" y="107"/>
                    </a:lnTo>
                    <a:lnTo>
                      <a:pt x="88" y="107"/>
                    </a:lnTo>
                    <a:lnTo>
                      <a:pt x="88" y="107"/>
                    </a:lnTo>
                    <a:lnTo>
                      <a:pt x="80" y="107"/>
                    </a:lnTo>
                    <a:lnTo>
                      <a:pt x="72" y="104"/>
                    </a:lnTo>
                    <a:lnTo>
                      <a:pt x="55" y="100"/>
                    </a:lnTo>
                    <a:lnTo>
                      <a:pt x="39" y="94"/>
                    </a:lnTo>
                    <a:lnTo>
                      <a:pt x="31" y="93"/>
                    </a:lnTo>
                    <a:lnTo>
                      <a:pt x="21" y="92"/>
                    </a:lnTo>
                    <a:lnTo>
                      <a:pt x="21" y="92"/>
                    </a:lnTo>
                    <a:lnTo>
                      <a:pt x="19" y="93"/>
                    </a:lnTo>
                    <a:lnTo>
                      <a:pt x="18" y="94"/>
                    </a:lnTo>
                    <a:lnTo>
                      <a:pt x="13" y="100"/>
                    </a:lnTo>
                    <a:lnTo>
                      <a:pt x="10" y="107"/>
                    </a:lnTo>
                    <a:lnTo>
                      <a:pt x="6" y="116"/>
                    </a:lnTo>
                    <a:lnTo>
                      <a:pt x="2" y="134"/>
                    </a:lnTo>
                    <a:lnTo>
                      <a:pt x="0" y="147"/>
                    </a:lnTo>
                    <a:lnTo>
                      <a:pt x="0" y="147"/>
                    </a:lnTo>
                    <a:lnTo>
                      <a:pt x="1" y="152"/>
                    </a:lnTo>
                    <a:lnTo>
                      <a:pt x="2" y="156"/>
                    </a:lnTo>
                    <a:lnTo>
                      <a:pt x="8" y="163"/>
                    </a:lnTo>
                    <a:lnTo>
                      <a:pt x="12" y="170"/>
                    </a:lnTo>
                    <a:lnTo>
                      <a:pt x="15" y="175"/>
                    </a:lnTo>
                    <a:lnTo>
                      <a:pt x="15" y="180"/>
                    </a:lnTo>
                    <a:lnTo>
                      <a:pt x="15" y="180"/>
                    </a:lnTo>
                    <a:lnTo>
                      <a:pt x="13" y="185"/>
                    </a:lnTo>
                    <a:lnTo>
                      <a:pt x="11" y="190"/>
                    </a:lnTo>
                    <a:lnTo>
                      <a:pt x="9" y="194"/>
                    </a:lnTo>
                    <a:lnTo>
                      <a:pt x="8" y="199"/>
                    </a:lnTo>
                    <a:lnTo>
                      <a:pt x="8" y="199"/>
                    </a:lnTo>
                    <a:lnTo>
                      <a:pt x="8" y="207"/>
                    </a:lnTo>
                    <a:lnTo>
                      <a:pt x="11" y="213"/>
                    </a:lnTo>
                    <a:lnTo>
                      <a:pt x="15" y="216"/>
                    </a:lnTo>
                    <a:lnTo>
                      <a:pt x="20" y="218"/>
                    </a:lnTo>
                    <a:lnTo>
                      <a:pt x="32" y="222"/>
                    </a:lnTo>
                    <a:lnTo>
                      <a:pt x="39" y="225"/>
                    </a:lnTo>
                    <a:lnTo>
                      <a:pt x="44" y="229"/>
                    </a:lnTo>
                    <a:lnTo>
                      <a:pt x="44" y="229"/>
                    </a:lnTo>
                    <a:lnTo>
                      <a:pt x="47" y="231"/>
                    </a:lnTo>
                    <a:lnTo>
                      <a:pt x="48" y="234"/>
                    </a:lnTo>
                    <a:lnTo>
                      <a:pt x="49" y="242"/>
                    </a:lnTo>
                    <a:lnTo>
                      <a:pt x="49" y="251"/>
                    </a:lnTo>
                    <a:lnTo>
                      <a:pt x="51" y="257"/>
                    </a:lnTo>
                    <a:lnTo>
                      <a:pt x="51" y="257"/>
                    </a:lnTo>
                    <a:lnTo>
                      <a:pt x="58" y="268"/>
                    </a:lnTo>
                    <a:lnTo>
                      <a:pt x="67" y="275"/>
                    </a:lnTo>
                    <a:lnTo>
                      <a:pt x="78" y="280"/>
                    </a:lnTo>
                    <a:lnTo>
                      <a:pt x="88" y="285"/>
                    </a:lnTo>
                    <a:lnTo>
                      <a:pt x="100" y="287"/>
                    </a:lnTo>
                    <a:lnTo>
                      <a:pt x="111" y="290"/>
                    </a:lnTo>
                    <a:lnTo>
                      <a:pt x="135" y="291"/>
                    </a:lnTo>
                    <a:lnTo>
                      <a:pt x="135" y="291"/>
                    </a:lnTo>
                    <a:lnTo>
                      <a:pt x="138" y="294"/>
                    </a:lnTo>
                    <a:lnTo>
                      <a:pt x="140" y="297"/>
                    </a:lnTo>
                    <a:lnTo>
                      <a:pt x="143" y="299"/>
                    </a:lnTo>
                    <a:lnTo>
                      <a:pt x="148" y="300"/>
                    </a:lnTo>
                    <a:lnTo>
                      <a:pt x="156" y="301"/>
                    </a:lnTo>
                    <a:lnTo>
                      <a:pt x="165" y="301"/>
                    </a:lnTo>
                    <a:lnTo>
                      <a:pt x="165" y="301"/>
                    </a:lnTo>
                    <a:lnTo>
                      <a:pt x="171" y="301"/>
                    </a:lnTo>
                    <a:lnTo>
                      <a:pt x="176" y="300"/>
                    </a:lnTo>
                    <a:lnTo>
                      <a:pt x="179" y="298"/>
                    </a:lnTo>
                    <a:lnTo>
                      <a:pt x="181" y="294"/>
                    </a:lnTo>
                    <a:lnTo>
                      <a:pt x="183" y="291"/>
                    </a:lnTo>
                    <a:lnTo>
                      <a:pt x="184" y="286"/>
                    </a:lnTo>
                    <a:lnTo>
                      <a:pt x="184" y="276"/>
                    </a:lnTo>
                    <a:lnTo>
                      <a:pt x="184" y="276"/>
                    </a:lnTo>
                    <a:lnTo>
                      <a:pt x="183" y="265"/>
                    </a:lnTo>
                    <a:lnTo>
                      <a:pt x="181" y="259"/>
                    </a:lnTo>
                    <a:lnTo>
                      <a:pt x="180" y="252"/>
                    </a:lnTo>
                    <a:lnTo>
                      <a:pt x="180" y="246"/>
                    </a:lnTo>
                    <a:lnTo>
                      <a:pt x="180" y="246"/>
                    </a:lnTo>
                    <a:lnTo>
                      <a:pt x="180" y="236"/>
                    </a:lnTo>
                    <a:lnTo>
                      <a:pt x="180" y="236"/>
                    </a:lnTo>
                    <a:lnTo>
                      <a:pt x="180" y="236"/>
                    </a:lnTo>
                    <a:lnTo>
                      <a:pt x="185" y="234"/>
                    </a:lnTo>
                    <a:lnTo>
                      <a:pt x="189" y="233"/>
                    </a:lnTo>
                    <a:lnTo>
                      <a:pt x="194" y="232"/>
                    </a:lnTo>
                    <a:lnTo>
                      <a:pt x="199" y="230"/>
                    </a:lnTo>
                    <a:lnTo>
                      <a:pt x="204" y="224"/>
                    </a:lnTo>
                    <a:lnTo>
                      <a:pt x="210" y="216"/>
                    </a:lnTo>
                    <a:lnTo>
                      <a:pt x="215" y="208"/>
                    </a:lnTo>
                    <a:lnTo>
                      <a:pt x="218" y="200"/>
                    </a:lnTo>
                    <a:lnTo>
                      <a:pt x="224" y="184"/>
                    </a:lnTo>
                    <a:lnTo>
                      <a:pt x="224" y="184"/>
                    </a:lnTo>
                    <a:lnTo>
                      <a:pt x="227" y="179"/>
                    </a:lnTo>
                    <a:lnTo>
                      <a:pt x="231" y="175"/>
                    </a:lnTo>
                    <a:lnTo>
                      <a:pt x="235" y="172"/>
                    </a:lnTo>
                    <a:lnTo>
                      <a:pt x="240" y="169"/>
                    </a:lnTo>
                    <a:lnTo>
                      <a:pt x="250" y="167"/>
                    </a:lnTo>
                    <a:lnTo>
                      <a:pt x="261" y="164"/>
                    </a:lnTo>
                    <a:lnTo>
                      <a:pt x="270" y="162"/>
                    </a:lnTo>
                    <a:lnTo>
                      <a:pt x="279" y="158"/>
                    </a:lnTo>
                    <a:lnTo>
                      <a:pt x="281" y="155"/>
                    </a:lnTo>
                    <a:lnTo>
                      <a:pt x="284" y="153"/>
                    </a:lnTo>
                    <a:lnTo>
                      <a:pt x="286" y="148"/>
                    </a:lnTo>
                    <a:lnTo>
                      <a:pt x="286" y="144"/>
                    </a:lnTo>
                    <a:lnTo>
                      <a:pt x="286" y="144"/>
                    </a:lnTo>
                    <a:lnTo>
                      <a:pt x="286" y="137"/>
                    </a:lnTo>
                    <a:lnTo>
                      <a:pt x="285" y="131"/>
                    </a:lnTo>
                    <a:lnTo>
                      <a:pt x="285" y="126"/>
                    </a:lnTo>
                    <a:lnTo>
                      <a:pt x="286" y="122"/>
                    </a:lnTo>
                    <a:lnTo>
                      <a:pt x="286" y="122"/>
                    </a:lnTo>
                    <a:lnTo>
                      <a:pt x="268" y="122"/>
                    </a:lnTo>
                    <a:lnTo>
                      <a:pt x="268" y="122"/>
                    </a:lnTo>
                    <a:lnTo>
                      <a:pt x="263" y="123"/>
                    </a:lnTo>
                    <a:lnTo>
                      <a:pt x="258" y="125"/>
                    </a:lnTo>
                    <a:lnTo>
                      <a:pt x="253" y="127"/>
                    </a:lnTo>
                    <a:lnTo>
                      <a:pt x="246" y="129"/>
                    </a:lnTo>
                    <a:lnTo>
                      <a:pt x="246" y="129"/>
                    </a:lnTo>
                    <a:lnTo>
                      <a:pt x="240" y="129"/>
                    </a:lnTo>
                    <a:lnTo>
                      <a:pt x="234" y="127"/>
                    </a:lnTo>
                    <a:lnTo>
                      <a:pt x="223" y="123"/>
                    </a:lnTo>
                    <a:lnTo>
                      <a:pt x="212" y="117"/>
                    </a:lnTo>
                    <a:lnTo>
                      <a:pt x="202" y="109"/>
                    </a:lnTo>
                    <a:lnTo>
                      <a:pt x="193" y="101"/>
                    </a:lnTo>
                    <a:lnTo>
                      <a:pt x="186" y="92"/>
                    </a:lnTo>
                    <a:lnTo>
                      <a:pt x="181" y="83"/>
                    </a:lnTo>
                    <a:lnTo>
                      <a:pt x="180" y="78"/>
                    </a:lnTo>
                    <a:lnTo>
                      <a:pt x="180" y="73"/>
                    </a:lnTo>
                    <a:lnTo>
                      <a:pt x="180" y="73"/>
                    </a:lnTo>
                    <a:lnTo>
                      <a:pt x="180" y="48"/>
                    </a:lnTo>
                    <a:lnTo>
                      <a:pt x="180" y="48"/>
                    </a:lnTo>
                    <a:lnTo>
                      <a:pt x="199" y="48"/>
                    </a:lnTo>
                    <a:lnTo>
                      <a:pt x="199" y="48"/>
                    </a:lnTo>
                    <a:lnTo>
                      <a:pt x="200" y="60"/>
                    </a:lnTo>
                    <a:lnTo>
                      <a:pt x="203" y="70"/>
                    </a:lnTo>
                    <a:lnTo>
                      <a:pt x="207" y="81"/>
                    </a:lnTo>
                    <a:lnTo>
                      <a:pt x="212" y="91"/>
                    </a:lnTo>
                    <a:lnTo>
                      <a:pt x="218" y="99"/>
                    </a:lnTo>
                    <a:lnTo>
                      <a:pt x="226" y="104"/>
                    </a:lnTo>
                    <a:lnTo>
                      <a:pt x="231" y="107"/>
                    </a:lnTo>
                    <a:lnTo>
                      <a:pt x="235" y="109"/>
                    </a:lnTo>
                    <a:lnTo>
                      <a:pt x="240" y="110"/>
                    </a:lnTo>
                    <a:lnTo>
                      <a:pt x="246" y="110"/>
                    </a:lnTo>
                    <a:lnTo>
                      <a:pt x="246" y="110"/>
                    </a:lnTo>
                    <a:lnTo>
                      <a:pt x="256" y="110"/>
                    </a:lnTo>
                    <a:lnTo>
                      <a:pt x="264" y="109"/>
                    </a:lnTo>
                    <a:lnTo>
                      <a:pt x="272" y="107"/>
                    </a:lnTo>
                    <a:lnTo>
                      <a:pt x="278" y="103"/>
                    </a:lnTo>
                    <a:lnTo>
                      <a:pt x="284" y="100"/>
                    </a:lnTo>
                    <a:lnTo>
                      <a:pt x="288" y="95"/>
                    </a:lnTo>
                    <a:lnTo>
                      <a:pt x="298" y="85"/>
                    </a:lnTo>
                    <a:lnTo>
                      <a:pt x="298" y="85"/>
                    </a:lnTo>
                    <a:lnTo>
                      <a:pt x="298" y="8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8" name="Freeform 113"/>
              <p:cNvSpPr>
                <a:spLocks noChangeAspect="1"/>
              </p:cNvSpPr>
              <p:nvPr/>
            </p:nvSpPr>
            <p:spPr bwMode="auto">
              <a:xfrm>
                <a:off x="5997322" y="1982271"/>
                <a:ext cx="155341" cy="96019"/>
              </a:xfrm>
              <a:custGeom>
                <a:avLst/>
                <a:gdLst/>
                <a:ahLst/>
                <a:cxnLst>
                  <a:cxn ang="0">
                    <a:pos x="144" y="103"/>
                  </a:cxn>
                  <a:cxn ang="0">
                    <a:pos x="153" y="100"/>
                  </a:cxn>
                  <a:cxn ang="0">
                    <a:pos x="162" y="94"/>
                  </a:cxn>
                  <a:cxn ang="0">
                    <a:pos x="179" y="72"/>
                  </a:cxn>
                  <a:cxn ang="0">
                    <a:pos x="191" y="44"/>
                  </a:cxn>
                  <a:cxn ang="0">
                    <a:pos x="196" y="22"/>
                  </a:cxn>
                  <a:cxn ang="0">
                    <a:pos x="196" y="8"/>
                  </a:cxn>
                  <a:cxn ang="0">
                    <a:pos x="190" y="7"/>
                  </a:cxn>
                  <a:cxn ang="0">
                    <a:pos x="178" y="1"/>
                  </a:cxn>
                  <a:cxn ang="0">
                    <a:pos x="173" y="0"/>
                  </a:cxn>
                  <a:cxn ang="0">
                    <a:pos x="141" y="7"/>
                  </a:cxn>
                  <a:cxn ang="0">
                    <a:pos x="122" y="14"/>
                  </a:cxn>
                  <a:cxn ang="0">
                    <a:pos x="110" y="22"/>
                  </a:cxn>
                  <a:cxn ang="0">
                    <a:pos x="106" y="31"/>
                  </a:cxn>
                  <a:cxn ang="0">
                    <a:pos x="98" y="47"/>
                  </a:cxn>
                  <a:cxn ang="0">
                    <a:pos x="92" y="52"/>
                  </a:cxn>
                  <a:cxn ang="0">
                    <a:pos x="82" y="52"/>
                  </a:cxn>
                  <a:cxn ang="0">
                    <a:pos x="82" y="52"/>
                  </a:cxn>
                  <a:cxn ang="0">
                    <a:pos x="79" y="45"/>
                  </a:cxn>
                  <a:cxn ang="0">
                    <a:pos x="75" y="41"/>
                  </a:cxn>
                  <a:cxn ang="0">
                    <a:pos x="63" y="37"/>
                  </a:cxn>
                  <a:cxn ang="0">
                    <a:pos x="59" y="38"/>
                  </a:cxn>
                  <a:cxn ang="0">
                    <a:pos x="53" y="42"/>
                  </a:cxn>
                  <a:cxn ang="0">
                    <a:pos x="46" y="52"/>
                  </a:cxn>
                  <a:cxn ang="0">
                    <a:pos x="38" y="80"/>
                  </a:cxn>
                  <a:cxn ang="0">
                    <a:pos x="33" y="92"/>
                  </a:cxn>
                  <a:cxn ang="0">
                    <a:pos x="24" y="89"/>
                  </a:cxn>
                  <a:cxn ang="0">
                    <a:pos x="13" y="77"/>
                  </a:cxn>
                  <a:cxn ang="0">
                    <a:pos x="8" y="70"/>
                  </a:cxn>
                  <a:cxn ang="0">
                    <a:pos x="0" y="70"/>
                  </a:cxn>
                  <a:cxn ang="0">
                    <a:pos x="0" y="89"/>
                  </a:cxn>
                  <a:cxn ang="0">
                    <a:pos x="1" y="98"/>
                  </a:cxn>
                  <a:cxn ang="0">
                    <a:pos x="6" y="115"/>
                  </a:cxn>
                  <a:cxn ang="0">
                    <a:pos x="16" y="128"/>
                  </a:cxn>
                  <a:cxn ang="0">
                    <a:pos x="31" y="136"/>
                  </a:cxn>
                  <a:cxn ang="0">
                    <a:pos x="40" y="137"/>
                  </a:cxn>
                  <a:cxn ang="0">
                    <a:pos x="59" y="135"/>
                  </a:cxn>
                  <a:cxn ang="0">
                    <a:pos x="84" y="127"/>
                  </a:cxn>
                  <a:cxn ang="0">
                    <a:pos x="99" y="126"/>
                  </a:cxn>
                  <a:cxn ang="0">
                    <a:pos x="114" y="126"/>
                  </a:cxn>
                  <a:cxn ang="0">
                    <a:pos x="115" y="122"/>
                  </a:cxn>
                  <a:cxn ang="0">
                    <a:pos x="124" y="112"/>
                  </a:cxn>
                  <a:cxn ang="0">
                    <a:pos x="139" y="104"/>
                  </a:cxn>
                  <a:cxn ang="0">
                    <a:pos x="144" y="103"/>
                  </a:cxn>
                </a:cxnLst>
                <a:rect l="0" t="0" r="r" b="b"/>
                <a:pathLst>
                  <a:path w="196" h="137">
                    <a:moveTo>
                      <a:pt x="144" y="103"/>
                    </a:moveTo>
                    <a:lnTo>
                      <a:pt x="144" y="103"/>
                    </a:lnTo>
                    <a:lnTo>
                      <a:pt x="148" y="103"/>
                    </a:lnTo>
                    <a:lnTo>
                      <a:pt x="153" y="100"/>
                    </a:lnTo>
                    <a:lnTo>
                      <a:pt x="158" y="98"/>
                    </a:lnTo>
                    <a:lnTo>
                      <a:pt x="162" y="94"/>
                    </a:lnTo>
                    <a:lnTo>
                      <a:pt x="171" y="83"/>
                    </a:lnTo>
                    <a:lnTo>
                      <a:pt x="179" y="72"/>
                    </a:lnTo>
                    <a:lnTo>
                      <a:pt x="186" y="58"/>
                    </a:lnTo>
                    <a:lnTo>
                      <a:pt x="191" y="44"/>
                    </a:lnTo>
                    <a:lnTo>
                      <a:pt x="194" y="33"/>
                    </a:lnTo>
                    <a:lnTo>
                      <a:pt x="196" y="22"/>
                    </a:lnTo>
                    <a:lnTo>
                      <a:pt x="196" y="22"/>
                    </a:lnTo>
                    <a:lnTo>
                      <a:pt x="196" y="8"/>
                    </a:lnTo>
                    <a:lnTo>
                      <a:pt x="196" y="8"/>
                    </a:lnTo>
                    <a:lnTo>
                      <a:pt x="190" y="7"/>
                    </a:lnTo>
                    <a:lnTo>
                      <a:pt x="184" y="4"/>
                    </a:lnTo>
                    <a:lnTo>
                      <a:pt x="178" y="1"/>
                    </a:lnTo>
                    <a:lnTo>
                      <a:pt x="173" y="0"/>
                    </a:lnTo>
                    <a:lnTo>
                      <a:pt x="173" y="0"/>
                    </a:lnTo>
                    <a:lnTo>
                      <a:pt x="161" y="3"/>
                    </a:lnTo>
                    <a:lnTo>
                      <a:pt x="141" y="7"/>
                    </a:lnTo>
                    <a:lnTo>
                      <a:pt x="131" y="11"/>
                    </a:lnTo>
                    <a:lnTo>
                      <a:pt x="122" y="14"/>
                    </a:lnTo>
                    <a:lnTo>
                      <a:pt x="115" y="19"/>
                    </a:lnTo>
                    <a:lnTo>
                      <a:pt x="110" y="22"/>
                    </a:lnTo>
                    <a:lnTo>
                      <a:pt x="110" y="22"/>
                    </a:lnTo>
                    <a:lnTo>
                      <a:pt x="106" y="31"/>
                    </a:lnTo>
                    <a:lnTo>
                      <a:pt x="101" y="41"/>
                    </a:lnTo>
                    <a:lnTo>
                      <a:pt x="98" y="47"/>
                    </a:lnTo>
                    <a:lnTo>
                      <a:pt x="95" y="50"/>
                    </a:lnTo>
                    <a:lnTo>
                      <a:pt x="92" y="52"/>
                    </a:lnTo>
                    <a:lnTo>
                      <a:pt x="92" y="52"/>
                    </a:lnTo>
                    <a:lnTo>
                      <a:pt x="82" y="52"/>
                    </a:lnTo>
                    <a:lnTo>
                      <a:pt x="82" y="52"/>
                    </a:lnTo>
                    <a:lnTo>
                      <a:pt x="82" y="52"/>
                    </a:lnTo>
                    <a:lnTo>
                      <a:pt x="80" y="49"/>
                    </a:lnTo>
                    <a:lnTo>
                      <a:pt x="79" y="45"/>
                    </a:lnTo>
                    <a:lnTo>
                      <a:pt x="77" y="43"/>
                    </a:lnTo>
                    <a:lnTo>
                      <a:pt x="75" y="41"/>
                    </a:lnTo>
                    <a:lnTo>
                      <a:pt x="69" y="38"/>
                    </a:lnTo>
                    <a:lnTo>
                      <a:pt x="63" y="37"/>
                    </a:lnTo>
                    <a:lnTo>
                      <a:pt x="63" y="37"/>
                    </a:lnTo>
                    <a:lnTo>
                      <a:pt x="59" y="38"/>
                    </a:lnTo>
                    <a:lnTo>
                      <a:pt x="55" y="39"/>
                    </a:lnTo>
                    <a:lnTo>
                      <a:pt x="53" y="42"/>
                    </a:lnTo>
                    <a:lnTo>
                      <a:pt x="51" y="44"/>
                    </a:lnTo>
                    <a:lnTo>
                      <a:pt x="46" y="52"/>
                    </a:lnTo>
                    <a:lnTo>
                      <a:pt x="43" y="61"/>
                    </a:lnTo>
                    <a:lnTo>
                      <a:pt x="38" y="80"/>
                    </a:lnTo>
                    <a:lnTo>
                      <a:pt x="36" y="87"/>
                    </a:lnTo>
                    <a:lnTo>
                      <a:pt x="33" y="92"/>
                    </a:lnTo>
                    <a:lnTo>
                      <a:pt x="33" y="92"/>
                    </a:lnTo>
                    <a:lnTo>
                      <a:pt x="24" y="89"/>
                    </a:lnTo>
                    <a:lnTo>
                      <a:pt x="18" y="84"/>
                    </a:lnTo>
                    <a:lnTo>
                      <a:pt x="13" y="77"/>
                    </a:lnTo>
                    <a:lnTo>
                      <a:pt x="8" y="70"/>
                    </a:lnTo>
                    <a:lnTo>
                      <a:pt x="8" y="70"/>
                    </a:lnTo>
                    <a:lnTo>
                      <a:pt x="0" y="70"/>
                    </a:lnTo>
                    <a:lnTo>
                      <a:pt x="0" y="70"/>
                    </a:lnTo>
                    <a:lnTo>
                      <a:pt x="0" y="70"/>
                    </a:lnTo>
                    <a:lnTo>
                      <a:pt x="0" y="89"/>
                    </a:lnTo>
                    <a:lnTo>
                      <a:pt x="0" y="89"/>
                    </a:lnTo>
                    <a:lnTo>
                      <a:pt x="1" y="98"/>
                    </a:lnTo>
                    <a:lnTo>
                      <a:pt x="2" y="107"/>
                    </a:lnTo>
                    <a:lnTo>
                      <a:pt x="6" y="115"/>
                    </a:lnTo>
                    <a:lnTo>
                      <a:pt x="10" y="122"/>
                    </a:lnTo>
                    <a:lnTo>
                      <a:pt x="16" y="128"/>
                    </a:lnTo>
                    <a:lnTo>
                      <a:pt x="23" y="133"/>
                    </a:lnTo>
                    <a:lnTo>
                      <a:pt x="31" y="136"/>
                    </a:lnTo>
                    <a:lnTo>
                      <a:pt x="40" y="137"/>
                    </a:lnTo>
                    <a:lnTo>
                      <a:pt x="40" y="137"/>
                    </a:lnTo>
                    <a:lnTo>
                      <a:pt x="51" y="136"/>
                    </a:lnTo>
                    <a:lnTo>
                      <a:pt x="59" y="135"/>
                    </a:lnTo>
                    <a:lnTo>
                      <a:pt x="71" y="131"/>
                    </a:lnTo>
                    <a:lnTo>
                      <a:pt x="84" y="127"/>
                    </a:lnTo>
                    <a:lnTo>
                      <a:pt x="91" y="126"/>
                    </a:lnTo>
                    <a:lnTo>
                      <a:pt x="99" y="126"/>
                    </a:lnTo>
                    <a:lnTo>
                      <a:pt x="99" y="126"/>
                    </a:lnTo>
                    <a:lnTo>
                      <a:pt x="114" y="126"/>
                    </a:lnTo>
                    <a:lnTo>
                      <a:pt x="114" y="126"/>
                    </a:lnTo>
                    <a:lnTo>
                      <a:pt x="115" y="122"/>
                    </a:lnTo>
                    <a:lnTo>
                      <a:pt x="117" y="119"/>
                    </a:lnTo>
                    <a:lnTo>
                      <a:pt x="124" y="112"/>
                    </a:lnTo>
                    <a:lnTo>
                      <a:pt x="135" y="106"/>
                    </a:lnTo>
                    <a:lnTo>
                      <a:pt x="139" y="104"/>
                    </a:lnTo>
                    <a:lnTo>
                      <a:pt x="144" y="103"/>
                    </a:lnTo>
                    <a:lnTo>
                      <a:pt x="144" y="103"/>
                    </a:lnTo>
                    <a:lnTo>
                      <a:pt x="144" y="10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29" name="Freeform 114"/>
              <p:cNvSpPr>
                <a:spLocks noChangeAspect="1"/>
              </p:cNvSpPr>
              <p:nvPr/>
            </p:nvSpPr>
            <p:spPr bwMode="auto">
              <a:xfrm>
                <a:off x="6014758" y="2266153"/>
                <a:ext cx="107787" cy="90453"/>
              </a:xfrm>
              <a:custGeom>
                <a:avLst/>
                <a:gdLst/>
                <a:ahLst/>
                <a:cxnLst>
                  <a:cxn ang="0">
                    <a:pos x="29" y="1"/>
                  </a:cxn>
                  <a:cxn ang="0">
                    <a:pos x="29" y="1"/>
                  </a:cxn>
                  <a:cxn ang="0">
                    <a:pos x="25" y="2"/>
                  </a:cxn>
                  <a:cxn ang="0">
                    <a:pos x="21" y="7"/>
                  </a:cxn>
                  <a:cxn ang="0">
                    <a:pos x="16" y="13"/>
                  </a:cxn>
                  <a:cxn ang="0">
                    <a:pos x="11" y="22"/>
                  </a:cxn>
                  <a:cxn ang="0">
                    <a:pos x="3" y="39"/>
                  </a:cxn>
                  <a:cxn ang="0">
                    <a:pos x="0" y="47"/>
                  </a:cxn>
                  <a:cxn ang="0">
                    <a:pos x="0" y="51"/>
                  </a:cxn>
                  <a:cxn ang="0">
                    <a:pos x="0" y="51"/>
                  </a:cxn>
                  <a:cxn ang="0">
                    <a:pos x="0" y="58"/>
                  </a:cxn>
                  <a:cxn ang="0">
                    <a:pos x="2" y="64"/>
                  </a:cxn>
                  <a:cxn ang="0">
                    <a:pos x="6" y="69"/>
                  </a:cxn>
                  <a:cxn ang="0">
                    <a:pos x="8" y="73"/>
                  </a:cxn>
                  <a:cxn ang="0">
                    <a:pos x="15" y="84"/>
                  </a:cxn>
                  <a:cxn ang="0">
                    <a:pos x="17" y="89"/>
                  </a:cxn>
                  <a:cxn ang="0">
                    <a:pos x="17" y="95"/>
                  </a:cxn>
                  <a:cxn ang="0">
                    <a:pos x="17" y="95"/>
                  </a:cxn>
                  <a:cxn ang="0">
                    <a:pos x="17" y="102"/>
                  </a:cxn>
                  <a:cxn ang="0">
                    <a:pos x="15" y="107"/>
                  </a:cxn>
                  <a:cxn ang="0">
                    <a:pos x="13" y="109"/>
                  </a:cxn>
                  <a:cxn ang="0">
                    <a:pos x="10" y="112"/>
                  </a:cxn>
                  <a:cxn ang="0">
                    <a:pos x="6" y="117"/>
                  </a:cxn>
                  <a:cxn ang="0">
                    <a:pos x="3" y="120"/>
                  </a:cxn>
                  <a:cxn ang="0">
                    <a:pos x="3" y="125"/>
                  </a:cxn>
                  <a:cxn ang="0">
                    <a:pos x="10" y="130"/>
                  </a:cxn>
                  <a:cxn ang="0">
                    <a:pos x="10" y="130"/>
                  </a:cxn>
                  <a:cxn ang="0">
                    <a:pos x="13" y="129"/>
                  </a:cxn>
                  <a:cxn ang="0">
                    <a:pos x="15" y="126"/>
                  </a:cxn>
                  <a:cxn ang="0">
                    <a:pos x="20" y="118"/>
                  </a:cxn>
                  <a:cxn ang="0">
                    <a:pos x="25" y="107"/>
                  </a:cxn>
                  <a:cxn ang="0">
                    <a:pos x="25" y="107"/>
                  </a:cxn>
                  <a:cxn ang="0">
                    <a:pos x="26" y="104"/>
                  </a:cxn>
                  <a:cxn ang="0">
                    <a:pos x="28" y="102"/>
                  </a:cxn>
                  <a:cxn ang="0">
                    <a:pos x="33" y="99"/>
                  </a:cxn>
                  <a:cxn ang="0">
                    <a:pos x="40" y="95"/>
                  </a:cxn>
                  <a:cxn ang="0">
                    <a:pos x="47" y="94"/>
                  </a:cxn>
                  <a:cxn ang="0">
                    <a:pos x="63" y="91"/>
                  </a:cxn>
                  <a:cxn ang="0">
                    <a:pos x="72" y="88"/>
                  </a:cxn>
                  <a:cxn ang="0">
                    <a:pos x="72" y="88"/>
                  </a:cxn>
                  <a:cxn ang="0">
                    <a:pos x="95" y="80"/>
                  </a:cxn>
                  <a:cxn ang="0">
                    <a:pos x="106" y="76"/>
                  </a:cxn>
                  <a:cxn ang="0">
                    <a:pos x="115" y="71"/>
                  </a:cxn>
                  <a:cxn ang="0">
                    <a:pos x="123" y="65"/>
                  </a:cxn>
                  <a:cxn ang="0">
                    <a:pos x="130" y="57"/>
                  </a:cxn>
                  <a:cxn ang="0">
                    <a:pos x="132" y="53"/>
                  </a:cxn>
                  <a:cxn ang="0">
                    <a:pos x="133" y="48"/>
                  </a:cxn>
                  <a:cxn ang="0">
                    <a:pos x="135" y="42"/>
                  </a:cxn>
                  <a:cxn ang="0">
                    <a:pos x="136" y="36"/>
                  </a:cxn>
                  <a:cxn ang="0">
                    <a:pos x="136" y="36"/>
                  </a:cxn>
                  <a:cxn ang="0">
                    <a:pos x="135" y="30"/>
                  </a:cxn>
                  <a:cxn ang="0">
                    <a:pos x="132" y="23"/>
                  </a:cxn>
                  <a:cxn ang="0">
                    <a:pos x="129" y="17"/>
                  </a:cxn>
                  <a:cxn ang="0">
                    <a:pos x="124" y="12"/>
                  </a:cxn>
                  <a:cxn ang="0">
                    <a:pos x="118" y="9"/>
                  </a:cxn>
                  <a:cxn ang="0">
                    <a:pos x="112" y="5"/>
                  </a:cxn>
                  <a:cxn ang="0">
                    <a:pos x="104" y="3"/>
                  </a:cxn>
                  <a:cxn ang="0">
                    <a:pos x="95" y="2"/>
                  </a:cxn>
                  <a:cxn ang="0">
                    <a:pos x="78" y="1"/>
                  </a:cxn>
                  <a:cxn ang="0">
                    <a:pos x="61" y="0"/>
                  </a:cxn>
                  <a:cxn ang="0">
                    <a:pos x="29" y="1"/>
                  </a:cxn>
                  <a:cxn ang="0">
                    <a:pos x="29" y="1"/>
                  </a:cxn>
                  <a:cxn ang="0">
                    <a:pos x="29" y="1"/>
                  </a:cxn>
                </a:cxnLst>
                <a:rect l="0" t="0" r="r" b="b"/>
                <a:pathLst>
                  <a:path w="136" h="130">
                    <a:moveTo>
                      <a:pt x="29" y="1"/>
                    </a:moveTo>
                    <a:lnTo>
                      <a:pt x="29" y="1"/>
                    </a:lnTo>
                    <a:lnTo>
                      <a:pt x="25" y="2"/>
                    </a:lnTo>
                    <a:lnTo>
                      <a:pt x="21" y="7"/>
                    </a:lnTo>
                    <a:lnTo>
                      <a:pt x="16" y="13"/>
                    </a:lnTo>
                    <a:lnTo>
                      <a:pt x="11" y="22"/>
                    </a:lnTo>
                    <a:lnTo>
                      <a:pt x="3" y="39"/>
                    </a:lnTo>
                    <a:lnTo>
                      <a:pt x="0" y="47"/>
                    </a:lnTo>
                    <a:lnTo>
                      <a:pt x="0" y="51"/>
                    </a:lnTo>
                    <a:lnTo>
                      <a:pt x="0" y="51"/>
                    </a:lnTo>
                    <a:lnTo>
                      <a:pt x="0" y="58"/>
                    </a:lnTo>
                    <a:lnTo>
                      <a:pt x="2" y="64"/>
                    </a:lnTo>
                    <a:lnTo>
                      <a:pt x="6" y="69"/>
                    </a:lnTo>
                    <a:lnTo>
                      <a:pt x="8" y="73"/>
                    </a:lnTo>
                    <a:lnTo>
                      <a:pt x="15" y="84"/>
                    </a:lnTo>
                    <a:lnTo>
                      <a:pt x="17" y="89"/>
                    </a:lnTo>
                    <a:lnTo>
                      <a:pt x="17" y="95"/>
                    </a:lnTo>
                    <a:lnTo>
                      <a:pt x="17" y="95"/>
                    </a:lnTo>
                    <a:lnTo>
                      <a:pt x="17" y="102"/>
                    </a:lnTo>
                    <a:lnTo>
                      <a:pt x="15" y="107"/>
                    </a:lnTo>
                    <a:lnTo>
                      <a:pt x="13" y="109"/>
                    </a:lnTo>
                    <a:lnTo>
                      <a:pt x="10" y="112"/>
                    </a:lnTo>
                    <a:lnTo>
                      <a:pt x="6" y="117"/>
                    </a:lnTo>
                    <a:lnTo>
                      <a:pt x="3" y="120"/>
                    </a:lnTo>
                    <a:lnTo>
                      <a:pt x="3" y="125"/>
                    </a:lnTo>
                    <a:lnTo>
                      <a:pt x="10" y="130"/>
                    </a:lnTo>
                    <a:lnTo>
                      <a:pt x="10" y="130"/>
                    </a:lnTo>
                    <a:lnTo>
                      <a:pt x="13" y="129"/>
                    </a:lnTo>
                    <a:lnTo>
                      <a:pt x="15" y="126"/>
                    </a:lnTo>
                    <a:lnTo>
                      <a:pt x="20" y="118"/>
                    </a:lnTo>
                    <a:lnTo>
                      <a:pt x="25" y="107"/>
                    </a:lnTo>
                    <a:lnTo>
                      <a:pt x="25" y="107"/>
                    </a:lnTo>
                    <a:lnTo>
                      <a:pt x="26" y="104"/>
                    </a:lnTo>
                    <a:lnTo>
                      <a:pt x="28" y="102"/>
                    </a:lnTo>
                    <a:lnTo>
                      <a:pt x="33" y="99"/>
                    </a:lnTo>
                    <a:lnTo>
                      <a:pt x="40" y="95"/>
                    </a:lnTo>
                    <a:lnTo>
                      <a:pt x="47" y="94"/>
                    </a:lnTo>
                    <a:lnTo>
                      <a:pt x="63" y="91"/>
                    </a:lnTo>
                    <a:lnTo>
                      <a:pt x="72" y="88"/>
                    </a:lnTo>
                    <a:lnTo>
                      <a:pt x="72" y="88"/>
                    </a:lnTo>
                    <a:lnTo>
                      <a:pt x="95" y="80"/>
                    </a:lnTo>
                    <a:lnTo>
                      <a:pt x="106" y="76"/>
                    </a:lnTo>
                    <a:lnTo>
                      <a:pt x="115" y="71"/>
                    </a:lnTo>
                    <a:lnTo>
                      <a:pt x="123" y="65"/>
                    </a:lnTo>
                    <a:lnTo>
                      <a:pt x="130" y="57"/>
                    </a:lnTo>
                    <a:lnTo>
                      <a:pt x="132" y="53"/>
                    </a:lnTo>
                    <a:lnTo>
                      <a:pt x="133" y="48"/>
                    </a:lnTo>
                    <a:lnTo>
                      <a:pt x="135" y="42"/>
                    </a:lnTo>
                    <a:lnTo>
                      <a:pt x="136" y="36"/>
                    </a:lnTo>
                    <a:lnTo>
                      <a:pt x="136" y="36"/>
                    </a:lnTo>
                    <a:lnTo>
                      <a:pt x="135" y="30"/>
                    </a:lnTo>
                    <a:lnTo>
                      <a:pt x="132" y="23"/>
                    </a:lnTo>
                    <a:lnTo>
                      <a:pt x="129" y="17"/>
                    </a:lnTo>
                    <a:lnTo>
                      <a:pt x="124" y="12"/>
                    </a:lnTo>
                    <a:lnTo>
                      <a:pt x="118" y="9"/>
                    </a:lnTo>
                    <a:lnTo>
                      <a:pt x="112" y="5"/>
                    </a:lnTo>
                    <a:lnTo>
                      <a:pt x="104" y="3"/>
                    </a:lnTo>
                    <a:lnTo>
                      <a:pt x="95" y="2"/>
                    </a:lnTo>
                    <a:lnTo>
                      <a:pt x="78" y="1"/>
                    </a:lnTo>
                    <a:lnTo>
                      <a:pt x="61" y="0"/>
                    </a:lnTo>
                    <a:lnTo>
                      <a:pt x="29" y="1"/>
                    </a:lnTo>
                    <a:lnTo>
                      <a:pt x="29" y="1"/>
                    </a:lnTo>
                    <a:lnTo>
                      <a:pt x="29" y="1"/>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0" name="Freeform 115"/>
              <p:cNvSpPr>
                <a:spLocks noChangeAspect="1"/>
              </p:cNvSpPr>
              <p:nvPr/>
            </p:nvSpPr>
            <p:spPr bwMode="auto">
              <a:xfrm>
                <a:off x="2088445" y="3179031"/>
                <a:ext cx="1244310" cy="673525"/>
              </a:xfrm>
              <a:custGeom>
                <a:avLst/>
                <a:gdLst/>
                <a:ahLst/>
                <a:cxnLst>
                  <a:cxn ang="0">
                    <a:pos x="882" y="865"/>
                  </a:cxn>
                  <a:cxn ang="0">
                    <a:pos x="928" y="721"/>
                  </a:cxn>
                  <a:cxn ang="0">
                    <a:pos x="993" y="645"/>
                  </a:cxn>
                  <a:cxn ang="0">
                    <a:pos x="1023" y="552"/>
                  </a:cxn>
                  <a:cxn ang="0">
                    <a:pos x="1076" y="521"/>
                  </a:cxn>
                  <a:cxn ang="0">
                    <a:pos x="1101" y="539"/>
                  </a:cxn>
                  <a:cxn ang="0">
                    <a:pos x="1180" y="498"/>
                  </a:cxn>
                  <a:cxn ang="0">
                    <a:pos x="1275" y="447"/>
                  </a:cxn>
                  <a:cxn ang="0">
                    <a:pos x="1452" y="362"/>
                  </a:cxn>
                  <a:cxn ang="0">
                    <a:pos x="1556" y="283"/>
                  </a:cxn>
                  <a:cxn ang="0">
                    <a:pos x="1539" y="223"/>
                  </a:cxn>
                  <a:cxn ang="0">
                    <a:pos x="1559" y="171"/>
                  </a:cxn>
                  <a:cxn ang="0">
                    <a:pos x="1549" y="151"/>
                  </a:cxn>
                  <a:cxn ang="0">
                    <a:pos x="1409" y="232"/>
                  </a:cxn>
                  <a:cxn ang="0">
                    <a:pos x="1303" y="279"/>
                  </a:cxn>
                  <a:cxn ang="0">
                    <a:pos x="998" y="142"/>
                  </a:cxn>
                  <a:cxn ang="0">
                    <a:pos x="835" y="21"/>
                  </a:cxn>
                  <a:cxn ang="0">
                    <a:pos x="778" y="3"/>
                  </a:cxn>
                  <a:cxn ang="0">
                    <a:pos x="598" y="25"/>
                  </a:cxn>
                  <a:cxn ang="0">
                    <a:pos x="522" y="62"/>
                  </a:cxn>
                  <a:cxn ang="0">
                    <a:pos x="481" y="131"/>
                  </a:cxn>
                  <a:cxn ang="0">
                    <a:pos x="504" y="158"/>
                  </a:cxn>
                  <a:cxn ang="0">
                    <a:pos x="513" y="253"/>
                  </a:cxn>
                  <a:cxn ang="0">
                    <a:pos x="499" y="278"/>
                  </a:cxn>
                  <a:cxn ang="0">
                    <a:pos x="456" y="244"/>
                  </a:cxn>
                  <a:cxn ang="0">
                    <a:pos x="430" y="252"/>
                  </a:cxn>
                  <a:cxn ang="0">
                    <a:pos x="369" y="233"/>
                  </a:cxn>
                  <a:cxn ang="0">
                    <a:pos x="318" y="187"/>
                  </a:cxn>
                  <a:cxn ang="0">
                    <a:pos x="203" y="148"/>
                  </a:cxn>
                  <a:cxn ang="0">
                    <a:pos x="227" y="218"/>
                  </a:cxn>
                  <a:cxn ang="0">
                    <a:pos x="219" y="291"/>
                  </a:cxn>
                  <a:cxn ang="0">
                    <a:pos x="222" y="340"/>
                  </a:cxn>
                  <a:cxn ang="0">
                    <a:pos x="205" y="364"/>
                  </a:cxn>
                  <a:cxn ang="0">
                    <a:pos x="146" y="416"/>
                  </a:cxn>
                  <a:cxn ang="0">
                    <a:pos x="151" y="468"/>
                  </a:cxn>
                  <a:cxn ang="0">
                    <a:pos x="207" y="482"/>
                  </a:cxn>
                  <a:cxn ang="0">
                    <a:pos x="245" y="443"/>
                  </a:cxn>
                  <a:cxn ang="0">
                    <a:pos x="296" y="477"/>
                  </a:cxn>
                  <a:cxn ang="0">
                    <a:pos x="238" y="540"/>
                  </a:cxn>
                  <a:cxn ang="0">
                    <a:pos x="190" y="577"/>
                  </a:cxn>
                  <a:cxn ang="0">
                    <a:pos x="199" y="622"/>
                  </a:cxn>
                  <a:cxn ang="0">
                    <a:pos x="149" y="651"/>
                  </a:cxn>
                  <a:cxn ang="0">
                    <a:pos x="65" y="679"/>
                  </a:cxn>
                  <a:cxn ang="0">
                    <a:pos x="25" y="781"/>
                  </a:cxn>
                  <a:cxn ang="0">
                    <a:pos x="0" y="818"/>
                  </a:cxn>
                  <a:cxn ang="0">
                    <a:pos x="25" y="840"/>
                  </a:cxn>
                  <a:cxn ang="0">
                    <a:pos x="22" y="914"/>
                  </a:cxn>
                  <a:cxn ang="0">
                    <a:pos x="47" y="935"/>
                  </a:cxn>
                  <a:cxn ang="0">
                    <a:pos x="97" y="894"/>
                  </a:cxn>
                  <a:cxn ang="0">
                    <a:pos x="154" y="898"/>
                  </a:cxn>
                  <a:cxn ang="0">
                    <a:pos x="192" y="905"/>
                  </a:cxn>
                  <a:cxn ang="0">
                    <a:pos x="221" y="918"/>
                  </a:cxn>
                  <a:cxn ang="0">
                    <a:pos x="268" y="898"/>
                  </a:cxn>
                  <a:cxn ang="0">
                    <a:pos x="290" y="881"/>
                  </a:cxn>
                  <a:cxn ang="0">
                    <a:pos x="292" y="822"/>
                  </a:cxn>
                  <a:cxn ang="0">
                    <a:pos x="363" y="824"/>
                  </a:cxn>
                  <a:cxn ang="0">
                    <a:pos x="399" y="847"/>
                  </a:cxn>
                  <a:cxn ang="0">
                    <a:pos x="407" y="881"/>
                  </a:cxn>
                  <a:cxn ang="0">
                    <a:pos x="451" y="901"/>
                  </a:cxn>
                  <a:cxn ang="0">
                    <a:pos x="587" y="921"/>
                  </a:cxn>
                  <a:cxn ang="0">
                    <a:pos x="631" y="906"/>
                  </a:cxn>
                  <a:cxn ang="0">
                    <a:pos x="732" y="950"/>
                  </a:cxn>
                  <a:cxn ang="0">
                    <a:pos x="833" y="962"/>
                  </a:cxn>
                </a:cxnLst>
                <a:rect l="0" t="0" r="r" b="b"/>
                <a:pathLst>
                  <a:path w="1571" h="966">
                    <a:moveTo>
                      <a:pt x="852" y="917"/>
                    </a:moveTo>
                    <a:lnTo>
                      <a:pt x="852" y="917"/>
                    </a:lnTo>
                    <a:lnTo>
                      <a:pt x="853" y="909"/>
                    </a:lnTo>
                    <a:lnTo>
                      <a:pt x="856" y="902"/>
                    </a:lnTo>
                    <a:lnTo>
                      <a:pt x="861" y="894"/>
                    </a:lnTo>
                    <a:lnTo>
                      <a:pt x="865" y="887"/>
                    </a:lnTo>
                    <a:lnTo>
                      <a:pt x="877" y="872"/>
                    </a:lnTo>
                    <a:lnTo>
                      <a:pt x="882" y="865"/>
                    </a:lnTo>
                    <a:lnTo>
                      <a:pt x="885" y="858"/>
                    </a:lnTo>
                    <a:lnTo>
                      <a:pt x="885" y="858"/>
                    </a:lnTo>
                    <a:lnTo>
                      <a:pt x="892" y="836"/>
                    </a:lnTo>
                    <a:lnTo>
                      <a:pt x="898" y="815"/>
                    </a:lnTo>
                    <a:lnTo>
                      <a:pt x="907" y="775"/>
                    </a:lnTo>
                    <a:lnTo>
                      <a:pt x="913" y="757"/>
                    </a:lnTo>
                    <a:lnTo>
                      <a:pt x="919" y="738"/>
                    </a:lnTo>
                    <a:lnTo>
                      <a:pt x="928" y="721"/>
                    </a:lnTo>
                    <a:lnTo>
                      <a:pt x="933" y="713"/>
                    </a:lnTo>
                    <a:lnTo>
                      <a:pt x="940" y="704"/>
                    </a:lnTo>
                    <a:lnTo>
                      <a:pt x="940" y="704"/>
                    </a:lnTo>
                    <a:lnTo>
                      <a:pt x="953" y="690"/>
                    </a:lnTo>
                    <a:lnTo>
                      <a:pt x="971" y="672"/>
                    </a:lnTo>
                    <a:lnTo>
                      <a:pt x="980" y="661"/>
                    </a:lnTo>
                    <a:lnTo>
                      <a:pt x="989" y="653"/>
                    </a:lnTo>
                    <a:lnTo>
                      <a:pt x="993" y="645"/>
                    </a:lnTo>
                    <a:lnTo>
                      <a:pt x="994" y="642"/>
                    </a:lnTo>
                    <a:lnTo>
                      <a:pt x="995" y="638"/>
                    </a:lnTo>
                    <a:lnTo>
                      <a:pt x="995" y="638"/>
                    </a:lnTo>
                    <a:lnTo>
                      <a:pt x="999" y="619"/>
                    </a:lnTo>
                    <a:lnTo>
                      <a:pt x="1005" y="598"/>
                    </a:lnTo>
                    <a:lnTo>
                      <a:pt x="1010" y="578"/>
                    </a:lnTo>
                    <a:lnTo>
                      <a:pt x="1018" y="560"/>
                    </a:lnTo>
                    <a:lnTo>
                      <a:pt x="1023" y="552"/>
                    </a:lnTo>
                    <a:lnTo>
                      <a:pt x="1029" y="544"/>
                    </a:lnTo>
                    <a:lnTo>
                      <a:pt x="1035" y="538"/>
                    </a:lnTo>
                    <a:lnTo>
                      <a:pt x="1041" y="532"/>
                    </a:lnTo>
                    <a:lnTo>
                      <a:pt x="1048" y="527"/>
                    </a:lnTo>
                    <a:lnTo>
                      <a:pt x="1056" y="523"/>
                    </a:lnTo>
                    <a:lnTo>
                      <a:pt x="1066" y="522"/>
                    </a:lnTo>
                    <a:lnTo>
                      <a:pt x="1076" y="521"/>
                    </a:lnTo>
                    <a:lnTo>
                      <a:pt x="1076" y="521"/>
                    </a:lnTo>
                    <a:lnTo>
                      <a:pt x="1094" y="521"/>
                    </a:lnTo>
                    <a:lnTo>
                      <a:pt x="1094" y="521"/>
                    </a:lnTo>
                    <a:lnTo>
                      <a:pt x="1094" y="525"/>
                    </a:lnTo>
                    <a:lnTo>
                      <a:pt x="1097" y="531"/>
                    </a:lnTo>
                    <a:lnTo>
                      <a:pt x="1099" y="537"/>
                    </a:lnTo>
                    <a:lnTo>
                      <a:pt x="1100" y="538"/>
                    </a:lnTo>
                    <a:lnTo>
                      <a:pt x="1101" y="539"/>
                    </a:lnTo>
                    <a:lnTo>
                      <a:pt x="1101" y="539"/>
                    </a:lnTo>
                    <a:lnTo>
                      <a:pt x="1112" y="538"/>
                    </a:lnTo>
                    <a:lnTo>
                      <a:pt x="1121" y="537"/>
                    </a:lnTo>
                    <a:lnTo>
                      <a:pt x="1129" y="534"/>
                    </a:lnTo>
                    <a:lnTo>
                      <a:pt x="1137" y="530"/>
                    </a:lnTo>
                    <a:lnTo>
                      <a:pt x="1145" y="525"/>
                    </a:lnTo>
                    <a:lnTo>
                      <a:pt x="1152" y="521"/>
                    </a:lnTo>
                    <a:lnTo>
                      <a:pt x="1166" y="509"/>
                    </a:lnTo>
                    <a:lnTo>
                      <a:pt x="1180" y="498"/>
                    </a:lnTo>
                    <a:lnTo>
                      <a:pt x="1194" y="486"/>
                    </a:lnTo>
                    <a:lnTo>
                      <a:pt x="1203" y="481"/>
                    </a:lnTo>
                    <a:lnTo>
                      <a:pt x="1212" y="476"/>
                    </a:lnTo>
                    <a:lnTo>
                      <a:pt x="1221" y="473"/>
                    </a:lnTo>
                    <a:lnTo>
                      <a:pt x="1230" y="469"/>
                    </a:lnTo>
                    <a:lnTo>
                      <a:pt x="1230" y="469"/>
                    </a:lnTo>
                    <a:lnTo>
                      <a:pt x="1254" y="459"/>
                    </a:lnTo>
                    <a:lnTo>
                      <a:pt x="1275" y="447"/>
                    </a:lnTo>
                    <a:lnTo>
                      <a:pt x="1316" y="423"/>
                    </a:lnTo>
                    <a:lnTo>
                      <a:pt x="1337" y="410"/>
                    </a:lnTo>
                    <a:lnTo>
                      <a:pt x="1359" y="399"/>
                    </a:lnTo>
                    <a:lnTo>
                      <a:pt x="1383" y="387"/>
                    </a:lnTo>
                    <a:lnTo>
                      <a:pt x="1410" y="377"/>
                    </a:lnTo>
                    <a:lnTo>
                      <a:pt x="1410" y="377"/>
                    </a:lnTo>
                    <a:lnTo>
                      <a:pt x="1429" y="370"/>
                    </a:lnTo>
                    <a:lnTo>
                      <a:pt x="1452" y="362"/>
                    </a:lnTo>
                    <a:lnTo>
                      <a:pt x="1476" y="351"/>
                    </a:lnTo>
                    <a:lnTo>
                      <a:pt x="1502" y="338"/>
                    </a:lnTo>
                    <a:lnTo>
                      <a:pt x="1513" y="330"/>
                    </a:lnTo>
                    <a:lnTo>
                      <a:pt x="1524" y="322"/>
                    </a:lnTo>
                    <a:lnTo>
                      <a:pt x="1534" y="313"/>
                    </a:lnTo>
                    <a:lnTo>
                      <a:pt x="1543" y="303"/>
                    </a:lnTo>
                    <a:lnTo>
                      <a:pt x="1550" y="294"/>
                    </a:lnTo>
                    <a:lnTo>
                      <a:pt x="1556" y="283"/>
                    </a:lnTo>
                    <a:lnTo>
                      <a:pt x="1559" y="271"/>
                    </a:lnTo>
                    <a:lnTo>
                      <a:pt x="1560" y="260"/>
                    </a:lnTo>
                    <a:lnTo>
                      <a:pt x="1560" y="260"/>
                    </a:lnTo>
                    <a:lnTo>
                      <a:pt x="1559" y="252"/>
                    </a:lnTo>
                    <a:lnTo>
                      <a:pt x="1556" y="245"/>
                    </a:lnTo>
                    <a:lnTo>
                      <a:pt x="1552" y="239"/>
                    </a:lnTo>
                    <a:lnTo>
                      <a:pt x="1547" y="233"/>
                    </a:lnTo>
                    <a:lnTo>
                      <a:pt x="1539" y="223"/>
                    </a:lnTo>
                    <a:lnTo>
                      <a:pt x="1535" y="217"/>
                    </a:lnTo>
                    <a:lnTo>
                      <a:pt x="1534" y="212"/>
                    </a:lnTo>
                    <a:lnTo>
                      <a:pt x="1534" y="212"/>
                    </a:lnTo>
                    <a:lnTo>
                      <a:pt x="1535" y="202"/>
                    </a:lnTo>
                    <a:lnTo>
                      <a:pt x="1539" y="194"/>
                    </a:lnTo>
                    <a:lnTo>
                      <a:pt x="1543" y="187"/>
                    </a:lnTo>
                    <a:lnTo>
                      <a:pt x="1548" y="181"/>
                    </a:lnTo>
                    <a:lnTo>
                      <a:pt x="1559" y="171"/>
                    </a:lnTo>
                    <a:lnTo>
                      <a:pt x="1564" y="164"/>
                    </a:lnTo>
                    <a:lnTo>
                      <a:pt x="1567" y="157"/>
                    </a:lnTo>
                    <a:lnTo>
                      <a:pt x="1567" y="157"/>
                    </a:lnTo>
                    <a:lnTo>
                      <a:pt x="1571" y="149"/>
                    </a:lnTo>
                    <a:lnTo>
                      <a:pt x="1571" y="149"/>
                    </a:lnTo>
                    <a:lnTo>
                      <a:pt x="1571" y="149"/>
                    </a:lnTo>
                    <a:lnTo>
                      <a:pt x="1559" y="150"/>
                    </a:lnTo>
                    <a:lnTo>
                      <a:pt x="1549" y="151"/>
                    </a:lnTo>
                    <a:lnTo>
                      <a:pt x="1539" y="154"/>
                    </a:lnTo>
                    <a:lnTo>
                      <a:pt x="1528" y="156"/>
                    </a:lnTo>
                    <a:lnTo>
                      <a:pt x="1509" y="163"/>
                    </a:lnTo>
                    <a:lnTo>
                      <a:pt x="1490" y="172"/>
                    </a:lnTo>
                    <a:lnTo>
                      <a:pt x="1473" y="183"/>
                    </a:lnTo>
                    <a:lnTo>
                      <a:pt x="1457" y="194"/>
                    </a:lnTo>
                    <a:lnTo>
                      <a:pt x="1425" y="219"/>
                    </a:lnTo>
                    <a:lnTo>
                      <a:pt x="1409" y="232"/>
                    </a:lnTo>
                    <a:lnTo>
                      <a:pt x="1394" y="244"/>
                    </a:lnTo>
                    <a:lnTo>
                      <a:pt x="1376" y="255"/>
                    </a:lnTo>
                    <a:lnTo>
                      <a:pt x="1360" y="264"/>
                    </a:lnTo>
                    <a:lnTo>
                      <a:pt x="1342" y="271"/>
                    </a:lnTo>
                    <a:lnTo>
                      <a:pt x="1333" y="275"/>
                    </a:lnTo>
                    <a:lnTo>
                      <a:pt x="1323" y="277"/>
                    </a:lnTo>
                    <a:lnTo>
                      <a:pt x="1313" y="278"/>
                    </a:lnTo>
                    <a:lnTo>
                      <a:pt x="1303" y="279"/>
                    </a:lnTo>
                    <a:lnTo>
                      <a:pt x="1292" y="279"/>
                    </a:lnTo>
                    <a:lnTo>
                      <a:pt x="1282" y="278"/>
                    </a:lnTo>
                    <a:lnTo>
                      <a:pt x="1282" y="278"/>
                    </a:lnTo>
                    <a:lnTo>
                      <a:pt x="1262" y="270"/>
                    </a:lnTo>
                    <a:lnTo>
                      <a:pt x="1227" y="254"/>
                    </a:lnTo>
                    <a:lnTo>
                      <a:pt x="1119" y="202"/>
                    </a:lnTo>
                    <a:lnTo>
                      <a:pt x="1058" y="172"/>
                    </a:lnTo>
                    <a:lnTo>
                      <a:pt x="998" y="142"/>
                    </a:lnTo>
                    <a:lnTo>
                      <a:pt x="945" y="115"/>
                    </a:lnTo>
                    <a:lnTo>
                      <a:pt x="903" y="91"/>
                    </a:lnTo>
                    <a:lnTo>
                      <a:pt x="903" y="91"/>
                    </a:lnTo>
                    <a:lnTo>
                      <a:pt x="894" y="85"/>
                    </a:lnTo>
                    <a:lnTo>
                      <a:pt x="886" y="78"/>
                    </a:lnTo>
                    <a:lnTo>
                      <a:pt x="871" y="62"/>
                    </a:lnTo>
                    <a:lnTo>
                      <a:pt x="842" y="28"/>
                    </a:lnTo>
                    <a:lnTo>
                      <a:pt x="835" y="21"/>
                    </a:lnTo>
                    <a:lnTo>
                      <a:pt x="827" y="15"/>
                    </a:lnTo>
                    <a:lnTo>
                      <a:pt x="821" y="9"/>
                    </a:lnTo>
                    <a:lnTo>
                      <a:pt x="812" y="4"/>
                    </a:lnTo>
                    <a:lnTo>
                      <a:pt x="804" y="2"/>
                    </a:lnTo>
                    <a:lnTo>
                      <a:pt x="796" y="0"/>
                    </a:lnTo>
                    <a:lnTo>
                      <a:pt x="787" y="1"/>
                    </a:lnTo>
                    <a:lnTo>
                      <a:pt x="778" y="3"/>
                    </a:lnTo>
                    <a:lnTo>
                      <a:pt x="778" y="3"/>
                    </a:lnTo>
                    <a:lnTo>
                      <a:pt x="757" y="10"/>
                    </a:lnTo>
                    <a:lnTo>
                      <a:pt x="737" y="16"/>
                    </a:lnTo>
                    <a:lnTo>
                      <a:pt x="716" y="19"/>
                    </a:lnTo>
                    <a:lnTo>
                      <a:pt x="694" y="21"/>
                    </a:lnTo>
                    <a:lnTo>
                      <a:pt x="671" y="24"/>
                    </a:lnTo>
                    <a:lnTo>
                      <a:pt x="648" y="24"/>
                    </a:lnTo>
                    <a:lnTo>
                      <a:pt x="598" y="25"/>
                    </a:lnTo>
                    <a:lnTo>
                      <a:pt x="598" y="25"/>
                    </a:lnTo>
                    <a:lnTo>
                      <a:pt x="586" y="24"/>
                    </a:lnTo>
                    <a:lnTo>
                      <a:pt x="575" y="23"/>
                    </a:lnTo>
                    <a:lnTo>
                      <a:pt x="555" y="17"/>
                    </a:lnTo>
                    <a:lnTo>
                      <a:pt x="555" y="17"/>
                    </a:lnTo>
                    <a:lnTo>
                      <a:pt x="550" y="26"/>
                    </a:lnTo>
                    <a:lnTo>
                      <a:pt x="546" y="34"/>
                    </a:lnTo>
                    <a:lnTo>
                      <a:pt x="535" y="49"/>
                    </a:lnTo>
                    <a:lnTo>
                      <a:pt x="522" y="62"/>
                    </a:lnTo>
                    <a:lnTo>
                      <a:pt x="511" y="74"/>
                    </a:lnTo>
                    <a:lnTo>
                      <a:pt x="499" y="87"/>
                    </a:lnTo>
                    <a:lnTo>
                      <a:pt x="494" y="93"/>
                    </a:lnTo>
                    <a:lnTo>
                      <a:pt x="489" y="100"/>
                    </a:lnTo>
                    <a:lnTo>
                      <a:pt x="486" y="107"/>
                    </a:lnTo>
                    <a:lnTo>
                      <a:pt x="483" y="115"/>
                    </a:lnTo>
                    <a:lnTo>
                      <a:pt x="481" y="123"/>
                    </a:lnTo>
                    <a:lnTo>
                      <a:pt x="481" y="131"/>
                    </a:lnTo>
                    <a:lnTo>
                      <a:pt x="481" y="131"/>
                    </a:lnTo>
                    <a:lnTo>
                      <a:pt x="481" y="140"/>
                    </a:lnTo>
                    <a:lnTo>
                      <a:pt x="485" y="146"/>
                    </a:lnTo>
                    <a:lnTo>
                      <a:pt x="488" y="149"/>
                    </a:lnTo>
                    <a:lnTo>
                      <a:pt x="493" y="151"/>
                    </a:lnTo>
                    <a:lnTo>
                      <a:pt x="496" y="154"/>
                    </a:lnTo>
                    <a:lnTo>
                      <a:pt x="501" y="155"/>
                    </a:lnTo>
                    <a:lnTo>
                      <a:pt x="504" y="158"/>
                    </a:lnTo>
                    <a:lnTo>
                      <a:pt x="506" y="164"/>
                    </a:lnTo>
                    <a:lnTo>
                      <a:pt x="506" y="164"/>
                    </a:lnTo>
                    <a:lnTo>
                      <a:pt x="510" y="177"/>
                    </a:lnTo>
                    <a:lnTo>
                      <a:pt x="512" y="188"/>
                    </a:lnTo>
                    <a:lnTo>
                      <a:pt x="513" y="200"/>
                    </a:lnTo>
                    <a:lnTo>
                      <a:pt x="514" y="211"/>
                    </a:lnTo>
                    <a:lnTo>
                      <a:pt x="514" y="232"/>
                    </a:lnTo>
                    <a:lnTo>
                      <a:pt x="513" y="253"/>
                    </a:lnTo>
                    <a:lnTo>
                      <a:pt x="513" y="253"/>
                    </a:lnTo>
                    <a:lnTo>
                      <a:pt x="513" y="259"/>
                    </a:lnTo>
                    <a:lnTo>
                      <a:pt x="512" y="264"/>
                    </a:lnTo>
                    <a:lnTo>
                      <a:pt x="511" y="269"/>
                    </a:lnTo>
                    <a:lnTo>
                      <a:pt x="509" y="272"/>
                    </a:lnTo>
                    <a:lnTo>
                      <a:pt x="506" y="275"/>
                    </a:lnTo>
                    <a:lnTo>
                      <a:pt x="503" y="277"/>
                    </a:lnTo>
                    <a:lnTo>
                      <a:pt x="499" y="278"/>
                    </a:lnTo>
                    <a:lnTo>
                      <a:pt x="495" y="278"/>
                    </a:lnTo>
                    <a:lnTo>
                      <a:pt x="495" y="278"/>
                    </a:lnTo>
                    <a:lnTo>
                      <a:pt x="486" y="277"/>
                    </a:lnTo>
                    <a:lnTo>
                      <a:pt x="478" y="273"/>
                    </a:lnTo>
                    <a:lnTo>
                      <a:pt x="472" y="269"/>
                    </a:lnTo>
                    <a:lnTo>
                      <a:pt x="467" y="263"/>
                    </a:lnTo>
                    <a:lnTo>
                      <a:pt x="460" y="250"/>
                    </a:lnTo>
                    <a:lnTo>
                      <a:pt x="456" y="244"/>
                    </a:lnTo>
                    <a:lnTo>
                      <a:pt x="451" y="238"/>
                    </a:lnTo>
                    <a:lnTo>
                      <a:pt x="451" y="238"/>
                    </a:lnTo>
                    <a:lnTo>
                      <a:pt x="448" y="244"/>
                    </a:lnTo>
                    <a:lnTo>
                      <a:pt x="443" y="248"/>
                    </a:lnTo>
                    <a:lnTo>
                      <a:pt x="438" y="252"/>
                    </a:lnTo>
                    <a:lnTo>
                      <a:pt x="433" y="253"/>
                    </a:lnTo>
                    <a:lnTo>
                      <a:pt x="433" y="253"/>
                    </a:lnTo>
                    <a:lnTo>
                      <a:pt x="430" y="252"/>
                    </a:lnTo>
                    <a:lnTo>
                      <a:pt x="427" y="250"/>
                    </a:lnTo>
                    <a:lnTo>
                      <a:pt x="422" y="246"/>
                    </a:lnTo>
                    <a:lnTo>
                      <a:pt x="420" y="240"/>
                    </a:lnTo>
                    <a:lnTo>
                      <a:pt x="419" y="233"/>
                    </a:lnTo>
                    <a:lnTo>
                      <a:pt x="419" y="233"/>
                    </a:lnTo>
                    <a:lnTo>
                      <a:pt x="381" y="233"/>
                    </a:lnTo>
                    <a:lnTo>
                      <a:pt x="381" y="233"/>
                    </a:lnTo>
                    <a:lnTo>
                      <a:pt x="369" y="233"/>
                    </a:lnTo>
                    <a:lnTo>
                      <a:pt x="361" y="231"/>
                    </a:lnTo>
                    <a:lnTo>
                      <a:pt x="354" y="227"/>
                    </a:lnTo>
                    <a:lnTo>
                      <a:pt x="351" y="223"/>
                    </a:lnTo>
                    <a:lnTo>
                      <a:pt x="344" y="210"/>
                    </a:lnTo>
                    <a:lnTo>
                      <a:pt x="340" y="204"/>
                    </a:lnTo>
                    <a:lnTo>
                      <a:pt x="334" y="198"/>
                    </a:lnTo>
                    <a:lnTo>
                      <a:pt x="334" y="198"/>
                    </a:lnTo>
                    <a:lnTo>
                      <a:pt x="318" y="187"/>
                    </a:lnTo>
                    <a:lnTo>
                      <a:pt x="302" y="178"/>
                    </a:lnTo>
                    <a:lnTo>
                      <a:pt x="287" y="171"/>
                    </a:lnTo>
                    <a:lnTo>
                      <a:pt x="270" y="164"/>
                    </a:lnTo>
                    <a:lnTo>
                      <a:pt x="239" y="151"/>
                    </a:lnTo>
                    <a:lnTo>
                      <a:pt x="205" y="139"/>
                    </a:lnTo>
                    <a:lnTo>
                      <a:pt x="205" y="139"/>
                    </a:lnTo>
                    <a:lnTo>
                      <a:pt x="201" y="145"/>
                    </a:lnTo>
                    <a:lnTo>
                      <a:pt x="203" y="148"/>
                    </a:lnTo>
                    <a:lnTo>
                      <a:pt x="204" y="153"/>
                    </a:lnTo>
                    <a:lnTo>
                      <a:pt x="205" y="161"/>
                    </a:lnTo>
                    <a:lnTo>
                      <a:pt x="205" y="161"/>
                    </a:lnTo>
                    <a:lnTo>
                      <a:pt x="206" y="170"/>
                    </a:lnTo>
                    <a:lnTo>
                      <a:pt x="209" y="179"/>
                    </a:lnTo>
                    <a:lnTo>
                      <a:pt x="218" y="198"/>
                    </a:lnTo>
                    <a:lnTo>
                      <a:pt x="222" y="207"/>
                    </a:lnTo>
                    <a:lnTo>
                      <a:pt x="227" y="218"/>
                    </a:lnTo>
                    <a:lnTo>
                      <a:pt x="230" y="231"/>
                    </a:lnTo>
                    <a:lnTo>
                      <a:pt x="230" y="245"/>
                    </a:lnTo>
                    <a:lnTo>
                      <a:pt x="230" y="245"/>
                    </a:lnTo>
                    <a:lnTo>
                      <a:pt x="230" y="256"/>
                    </a:lnTo>
                    <a:lnTo>
                      <a:pt x="228" y="267"/>
                    </a:lnTo>
                    <a:lnTo>
                      <a:pt x="224" y="275"/>
                    </a:lnTo>
                    <a:lnTo>
                      <a:pt x="222" y="283"/>
                    </a:lnTo>
                    <a:lnTo>
                      <a:pt x="219" y="291"/>
                    </a:lnTo>
                    <a:lnTo>
                      <a:pt x="215" y="299"/>
                    </a:lnTo>
                    <a:lnTo>
                      <a:pt x="213" y="308"/>
                    </a:lnTo>
                    <a:lnTo>
                      <a:pt x="213" y="318"/>
                    </a:lnTo>
                    <a:lnTo>
                      <a:pt x="213" y="318"/>
                    </a:lnTo>
                    <a:lnTo>
                      <a:pt x="213" y="323"/>
                    </a:lnTo>
                    <a:lnTo>
                      <a:pt x="214" y="328"/>
                    </a:lnTo>
                    <a:lnTo>
                      <a:pt x="219" y="334"/>
                    </a:lnTo>
                    <a:lnTo>
                      <a:pt x="222" y="340"/>
                    </a:lnTo>
                    <a:lnTo>
                      <a:pt x="223" y="344"/>
                    </a:lnTo>
                    <a:lnTo>
                      <a:pt x="223" y="348"/>
                    </a:lnTo>
                    <a:lnTo>
                      <a:pt x="223" y="348"/>
                    </a:lnTo>
                    <a:lnTo>
                      <a:pt x="223" y="351"/>
                    </a:lnTo>
                    <a:lnTo>
                      <a:pt x="222" y="354"/>
                    </a:lnTo>
                    <a:lnTo>
                      <a:pt x="218" y="359"/>
                    </a:lnTo>
                    <a:lnTo>
                      <a:pt x="212" y="362"/>
                    </a:lnTo>
                    <a:lnTo>
                      <a:pt x="205" y="364"/>
                    </a:lnTo>
                    <a:lnTo>
                      <a:pt x="190" y="367"/>
                    </a:lnTo>
                    <a:lnTo>
                      <a:pt x="180" y="369"/>
                    </a:lnTo>
                    <a:lnTo>
                      <a:pt x="180" y="369"/>
                    </a:lnTo>
                    <a:lnTo>
                      <a:pt x="174" y="375"/>
                    </a:lnTo>
                    <a:lnTo>
                      <a:pt x="167" y="382"/>
                    </a:lnTo>
                    <a:lnTo>
                      <a:pt x="159" y="392"/>
                    </a:lnTo>
                    <a:lnTo>
                      <a:pt x="152" y="403"/>
                    </a:lnTo>
                    <a:lnTo>
                      <a:pt x="146" y="416"/>
                    </a:lnTo>
                    <a:lnTo>
                      <a:pt x="140" y="428"/>
                    </a:lnTo>
                    <a:lnTo>
                      <a:pt x="137" y="440"/>
                    </a:lnTo>
                    <a:lnTo>
                      <a:pt x="136" y="451"/>
                    </a:lnTo>
                    <a:lnTo>
                      <a:pt x="136" y="451"/>
                    </a:lnTo>
                    <a:lnTo>
                      <a:pt x="136" y="453"/>
                    </a:lnTo>
                    <a:lnTo>
                      <a:pt x="137" y="456"/>
                    </a:lnTo>
                    <a:lnTo>
                      <a:pt x="143" y="462"/>
                    </a:lnTo>
                    <a:lnTo>
                      <a:pt x="151" y="468"/>
                    </a:lnTo>
                    <a:lnTo>
                      <a:pt x="160" y="473"/>
                    </a:lnTo>
                    <a:lnTo>
                      <a:pt x="172" y="477"/>
                    </a:lnTo>
                    <a:lnTo>
                      <a:pt x="182" y="481"/>
                    </a:lnTo>
                    <a:lnTo>
                      <a:pt x="192" y="483"/>
                    </a:lnTo>
                    <a:lnTo>
                      <a:pt x="201" y="484"/>
                    </a:lnTo>
                    <a:lnTo>
                      <a:pt x="201" y="484"/>
                    </a:lnTo>
                    <a:lnTo>
                      <a:pt x="205" y="483"/>
                    </a:lnTo>
                    <a:lnTo>
                      <a:pt x="207" y="482"/>
                    </a:lnTo>
                    <a:lnTo>
                      <a:pt x="213" y="477"/>
                    </a:lnTo>
                    <a:lnTo>
                      <a:pt x="218" y="470"/>
                    </a:lnTo>
                    <a:lnTo>
                      <a:pt x="222" y="463"/>
                    </a:lnTo>
                    <a:lnTo>
                      <a:pt x="227" y="456"/>
                    </a:lnTo>
                    <a:lnTo>
                      <a:pt x="233" y="450"/>
                    </a:lnTo>
                    <a:lnTo>
                      <a:pt x="238" y="445"/>
                    </a:lnTo>
                    <a:lnTo>
                      <a:pt x="242" y="444"/>
                    </a:lnTo>
                    <a:lnTo>
                      <a:pt x="245" y="443"/>
                    </a:lnTo>
                    <a:lnTo>
                      <a:pt x="245" y="443"/>
                    </a:lnTo>
                    <a:lnTo>
                      <a:pt x="254" y="444"/>
                    </a:lnTo>
                    <a:lnTo>
                      <a:pt x="264" y="447"/>
                    </a:lnTo>
                    <a:lnTo>
                      <a:pt x="272" y="452"/>
                    </a:lnTo>
                    <a:lnTo>
                      <a:pt x="280" y="458"/>
                    </a:lnTo>
                    <a:lnTo>
                      <a:pt x="287" y="464"/>
                    </a:lnTo>
                    <a:lnTo>
                      <a:pt x="292" y="471"/>
                    </a:lnTo>
                    <a:lnTo>
                      <a:pt x="296" y="477"/>
                    </a:lnTo>
                    <a:lnTo>
                      <a:pt x="297" y="484"/>
                    </a:lnTo>
                    <a:lnTo>
                      <a:pt x="297" y="484"/>
                    </a:lnTo>
                    <a:lnTo>
                      <a:pt x="297" y="486"/>
                    </a:lnTo>
                    <a:lnTo>
                      <a:pt x="295" y="490"/>
                    </a:lnTo>
                    <a:lnTo>
                      <a:pt x="288" y="499"/>
                    </a:lnTo>
                    <a:lnTo>
                      <a:pt x="276" y="508"/>
                    </a:lnTo>
                    <a:lnTo>
                      <a:pt x="264" y="519"/>
                    </a:lnTo>
                    <a:lnTo>
                      <a:pt x="238" y="540"/>
                    </a:lnTo>
                    <a:lnTo>
                      <a:pt x="227" y="550"/>
                    </a:lnTo>
                    <a:lnTo>
                      <a:pt x="220" y="558"/>
                    </a:lnTo>
                    <a:lnTo>
                      <a:pt x="220" y="558"/>
                    </a:lnTo>
                    <a:lnTo>
                      <a:pt x="216" y="561"/>
                    </a:lnTo>
                    <a:lnTo>
                      <a:pt x="213" y="565"/>
                    </a:lnTo>
                    <a:lnTo>
                      <a:pt x="204" y="569"/>
                    </a:lnTo>
                    <a:lnTo>
                      <a:pt x="195" y="574"/>
                    </a:lnTo>
                    <a:lnTo>
                      <a:pt x="190" y="577"/>
                    </a:lnTo>
                    <a:lnTo>
                      <a:pt x="186" y="580"/>
                    </a:lnTo>
                    <a:lnTo>
                      <a:pt x="186" y="580"/>
                    </a:lnTo>
                    <a:lnTo>
                      <a:pt x="185" y="582"/>
                    </a:lnTo>
                    <a:lnTo>
                      <a:pt x="185" y="584"/>
                    </a:lnTo>
                    <a:lnTo>
                      <a:pt x="186" y="591"/>
                    </a:lnTo>
                    <a:lnTo>
                      <a:pt x="195" y="608"/>
                    </a:lnTo>
                    <a:lnTo>
                      <a:pt x="198" y="618"/>
                    </a:lnTo>
                    <a:lnTo>
                      <a:pt x="199" y="622"/>
                    </a:lnTo>
                    <a:lnTo>
                      <a:pt x="199" y="626"/>
                    </a:lnTo>
                    <a:lnTo>
                      <a:pt x="198" y="630"/>
                    </a:lnTo>
                    <a:lnTo>
                      <a:pt x="196" y="632"/>
                    </a:lnTo>
                    <a:lnTo>
                      <a:pt x="192" y="636"/>
                    </a:lnTo>
                    <a:lnTo>
                      <a:pt x="186" y="638"/>
                    </a:lnTo>
                    <a:lnTo>
                      <a:pt x="186" y="638"/>
                    </a:lnTo>
                    <a:lnTo>
                      <a:pt x="168" y="645"/>
                    </a:lnTo>
                    <a:lnTo>
                      <a:pt x="149" y="651"/>
                    </a:lnTo>
                    <a:lnTo>
                      <a:pt x="128" y="656"/>
                    </a:lnTo>
                    <a:lnTo>
                      <a:pt x="109" y="657"/>
                    </a:lnTo>
                    <a:lnTo>
                      <a:pt x="109" y="657"/>
                    </a:lnTo>
                    <a:lnTo>
                      <a:pt x="98" y="658"/>
                    </a:lnTo>
                    <a:lnTo>
                      <a:pt x="88" y="660"/>
                    </a:lnTo>
                    <a:lnTo>
                      <a:pt x="79" y="665"/>
                    </a:lnTo>
                    <a:lnTo>
                      <a:pt x="71" y="670"/>
                    </a:lnTo>
                    <a:lnTo>
                      <a:pt x="65" y="679"/>
                    </a:lnTo>
                    <a:lnTo>
                      <a:pt x="60" y="687"/>
                    </a:lnTo>
                    <a:lnTo>
                      <a:pt x="55" y="696"/>
                    </a:lnTo>
                    <a:lnTo>
                      <a:pt x="51" y="705"/>
                    </a:lnTo>
                    <a:lnTo>
                      <a:pt x="44" y="726"/>
                    </a:lnTo>
                    <a:lnTo>
                      <a:pt x="38" y="746"/>
                    </a:lnTo>
                    <a:lnTo>
                      <a:pt x="32" y="765"/>
                    </a:lnTo>
                    <a:lnTo>
                      <a:pt x="29" y="774"/>
                    </a:lnTo>
                    <a:lnTo>
                      <a:pt x="25" y="781"/>
                    </a:lnTo>
                    <a:lnTo>
                      <a:pt x="25" y="781"/>
                    </a:lnTo>
                    <a:lnTo>
                      <a:pt x="22" y="786"/>
                    </a:lnTo>
                    <a:lnTo>
                      <a:pt x="18" y="790"/>
                    </a:lnTo>
                    <a:lnTo>
                      <a:pt x="9" y="797"/>
                    </a:lnTo>
                    <a:lnTo>
                      <a:pt x="6" y="800"/>
                    </a:lnTo>
                    <a:lnTo>
                      <a:pt x="2" y="805"/>
                    </a:lnTo>
                    <a:lnTo>
                      <a:pt x="0" y="811"/>
                    </a:lnTo>
                    <a:lnTo>
                      <a:pt x="0" y="818"/>
                    </a:lnTo>
                    <a:lnTo>
                      <a:pt x="0" y="818"/>
                    </a:lnTo>
                    <a:lnTo>
                      <a:pt x="0" y="824"/>
                    </a:lnTo>
                    <a:lnTo>
                      <a:pt x="2" y="827"/>
                    </a:lnTo>
                    <a:lnTo>
                      <a:pt x="6" y="830"/>
                    </a:lnTo>
                    <a:lnTo>
                      <a:pt x="9" y="834"/>
                    </a:lnTo>
                    <a:lnTo>
                      <a:pt x="18" y="837"/>
                    </a:lnTo>
                    <a:lnTo>
                      <a:pt x="25" y="840"/>
                    </a:lnTo>
                    <a:lnTo>
                      <a:pt x="25" y="840"/>
                    </a:lnTo>
                    <a:lnTo>
                      <a:pt x="7" y="884"/>
                    </a:lnTo>
                    <a:lnTo>
                      <a:pt x="7" y="884"/>
                    </a:lnTo>
                    <a:lnTo>
                      <a:pt x="7" y="884"/>
                    </a:lnTo>
                    <a:lnTo>
                      <a:pt x="10" y="887"/>
                    </a:lnTo>
                    <a:lnTo>
                      <a:pt x="13" y="889"/>
                    </a:lnTo>
                    <a:lnTo>
                      <a:pt x="16" y="897"/>
                    </a:lnTo>
                    <a:lnTo>
                      <a:pt x="20" y="905"/>
                    </a:lnTo>
                    <a:lnTo>
                      <a:pt x="22" y="914"/>
                    </a:lnTo>
                    <a:lnTo>
                      <a:pt x="25" y="922"/>
                    </a:lnTo>
                    <a:lnTo>
                      <a:pt x="30" y="929"/>
                    </a:lnTo>
                    <a:lnTo>
                      <a:pt x="32" y="932"/>
                    </a:lnTo>
                    <a:lnTo>
                      <a:pt x="35" y="934"/>
                    </a:lnTo>
                    <a:lnTo>
                      <a:pt x="39" y="935"/>
                    </a:lnTo>
                    <a:lnTo>
                      <a:pt x="43" y="936"/>
                    </a:lnTo>
                    <a:lnTo>
                      <a:pt x="43" y="936"/>
                    </a:lnTo>
                    <a:lnTo>
                      <a:pt x="47" y="935"/>
                    </a:lnTo>
                    <a:lnTo>
                      <a:pt x="51" y="934"/>
                    </a:lnTo>
                    <a:lnTo>
                      <a:pt x="58" y="929"/>
                    </a:lnTo>
                    <a:lnTo>
                      <a:pt x="65" y="922"/>
                    </a:lnTo>
                    <a:lnTo>
                      <a:pt x="71" y="913"/>
                    </a:lnTo>
                    <a:lnTo>
                      <a:pt x="78" y="905"/>
                    </a:lnTo>
                    <a:lnTo>
                      <a:pt x="86" y="898"/>
                    </a:lnTo>
                    <a:lnTo>
                      <a:pt x="92" y="896"/>
                    </a:lnTo>
                    <a:lnTo>
                      <a:pt x="97" y="894"/>
                    </a:lnTo>
                    <a:lnTo>
                      <a:pt x="104" y="893"/>
                    </a:lnTo>
                    <a:lnTo>
                      <a:pt x="109" y="891"/>
                    </a:lnTo>
                    <a:lnTo>
                      <a:pt x="109" y="891"/>
                    </a:lnTo>
                    <a:lnTo>
                      <a:pt x="120" y="893"/>
                    </a:lnTo>
                    <a:lnTo>
                      <a:pt x="130" y="895"/>
                    </a:lnTo>
                    <a:lnTo>
                      <a:pt x="142" y="897"/>
                    </a:lnTo>
                    <a:lnTo>
                      <a:pt x="154" y="898"/>
                    </a:lnTo>
                    <a:lnTo>
                      <a:pt x="154" y="898"/>
                    </a:lnTo>
                    <a:lnTo>
                      <a:pt x="160" y="898"/>
                    </a:lnTo>
                    <a:lnTo>
                      <a:pt x="165" y="897"/>
                    </a:lnTo>
                    <a:lnTo>
                      <a:pt x="174" y="895"/>
                    </a:lnTo>
                    <a:lnTo>
                      <a:pt x="181" y="891"/>
                    </a:lnTo>
                    <a:lnTo>
                      <a:pt x="190" y="888"/>
                    </a:lnTo>
                    <a:lnTo>
                      <a:pt x="190" y="888"/>
                    </a:lnTo>
                    <a:lnTo>
                      <a:pt x="191" y="899"/>
                    </a:lnTo>
                    <a:lnTo>
                      <a:pt x="192" y="905"/>
                    </a:lnTo>
                    <a:lnTo>
                      <a:pt x="195" y="910"/>
                    </a:lnTo>
                    <a:lnTo>
                      <a:pt x="197" y="914"/>
                    </a:lnTo>
                    <a:lnTo>
                      <a:pt x="200" y="918"/>
                    </a:lnTo>
                    <a:lnTo>
                      <a:pt x="204" y="920"/>
                    </a:lnTo>
                    <a:lnTo>
                      <a:pt x="209" y="921"/>
                    </a:lnTo>
                    <a:lnTo>
                      <a:pt x="209" y="921"/>
                    </a:lnTo>
                    <a:lnTo>
                      <a:pt x="215" y="920"/>
                    </a:lnTo>
                    <a:lnTo>
                      <a:pt x="221" y="918"/>
                    </a:lnTo>
                    <a:lnTo>
                      <a:pt x="227" y="914"/>
                    </a:lnTo>
                    <a:lnTo>
                      <a:pt x="231" y="910"/>
                    </a:lnTo>
                    <a:lnTo>
                      <a:pt x="237" y="906"/>
                    </a:lnTo>
                    <a:lnTo>
                      <a:pt x="243" y="902"/>
                    </a:lnTo>
                    <a:lnTo>
                      <a:pt x="249" y="899"/>
                    </a:lnTo>
                    <a:lnTo>
                      <a:pt x="257" y="898"/>
                    </a:lnTo>
                    <a:lnTo>
                      <a:pt x="257" y="898"/>
                    </a:lnTo>
                    <a:lnTo>
                      <a:pt x="268" y="898"/>
                    </a:lnTo>
                    <a:lnTo>
                      <a:pt x="268" y="898"/>
                    </a:lnTo>
                    <a:lnTo>
                      <a:pt x="274" y="898"/>
                    </a:lnTo>
                    <a:lnTo>
                      <a:pt x="281" y="895"/>
                    </a:lnTo>
                    <a:lnTo>
                      <a:pt x="284" y="893"/>
                    </a:lnTo>
                    <a:lnTo>
                      <a:pt x="288" y="889"/>
                    </a:lnTo>
                    <a:lnTo>
                      <a:pt x="289" y="886"/>
                    </a:lnTo>
                    <a:lnTo>
                      <a:pt x="290" y="881"/>
                    </a:lnTo>
                    <a:lnTo>
                      <a:pt x="290" y="881"/>
                    </a:lnTo>
                    <a:lnTo>
                      <a:pt x="289" y="864"/>
                    </a:lnTo>
                    <a:lnTo>
                      <a:pt x="287" y="851"/>
                    </a:lnTo>
                    <a:lnTo>
                      <a:pt x="283" y="840"/>
                    </a:lnTo>
                    <a:lnTo>
                      <a:pt x="283" y="826"/>
                    </a:lnTo>
                    <a:lnTo>
                      <a:pt x="283" y="826"/>
                    </a:lnTo>
                    <a:lnTo>
                      <a:pt x="283" y="824"/>
                    </a:lnTo>
                    <a:lnTo>
                      <a:pt x="285" y="822"/>
                    </a:lnTo>
                    <a:lnTo>
                      <a:pt x="292" y="822"/>
                    </a:lnTo>
                    <a:lnTo>
                      <a:pt x="300" y="825"/>
                    </a:lnTo>
                    <a:lnTo>
                      <a:pt x="307" y="826"/>
                    </a:lnTo>
                    <a:lnTo>
                      <a:pt x="307" y="826"/>
                    </a:lnTo>
                    <a:lnTo>
                      <a:pt x="327" y="826"/>
                    </a:lnTo>
                    <a:lnTo>
                      <a:pt x="327" y="826"/>
                    </a:lnTo>
                    <a:lnTo>
                      <a:pt x="338" y="825"/>
                    </a:lnTo>
                    <a:lnTo>
                      <a:pt x="351" y="824"/>
                    </a:lnTo>
                    <a:lnTo>
                      <a:pt x="363" y="824"/>
                    </a:lnTo>
                    <a:lnTo>
                      <a:pt x="374" y="824"/>
                    </a:lnTo>
                    <a:lnTo>
                      <a:pt x="380" y="825"/>
                    </a:lnTo>
                    <a:lnTo>
                      <a:pt x="384" y="826"/>
                    </a:lnTo>
                    <a:lnTo>
                      <a:pt x="389" y="828"/>
                    </a:lnTo>
                    <a:lnTo>
                      <a:pt x="392" y="832"/>
                    </a:lnTo>
                    <a:lnTo>
                      <a:pt x="396" y="835"/>
                    </a:lnTo>
                    <a:lnTo>
                      <a:pt x="398" y="841"/>
                    </a:lnTo>
                    <a:lnTo>
                      <a:pt x="399" y="847"/>
                    </a:lnTo>
                    <a:lnTo>
                      <a:pt x="401" y="855"/>
                    </a:lnTo>
                    <a:lnTo>
                      <a:pt x="401" y="855"/>
                    </a:lnTo>
                    <a:lnTo>
                      <a:pt x="401" y="861"/>
                    </a:lnTo>
                    <a:lnTo>
                      <a:pt x="401" y="871"/>
                    </a:lnTo>
                    <a:lnTo>
                      <a:pt x="403" y="878"/>
                    </a:lnTo>
                    <a:lnTo>
                      <a:pt x="405" y="880"/>
                    </a:lnTo>
                    <a:lnTo>
                      <a:pt x="407" y="881"/>
                    </a:lnTo>
                    <a:lnTo>
                      <a:pt x="407" y="881"/>
                    </a:lnTo>
                    <a:lnTo>
                      <a:pt x="422" y="881"/>
                    </a:lnTo>
                    <a:lnTo>
                      <a:pt x="422" y="881"/>
                    </a:lnTo>
                    <a:lnTo>
                      <a:pt x="427" y="881"/>
                    </a:lnTo>
                    <a:lnTo>
                      <a:pt x="430" y="882"/>
                    </a:lnTo>
                    <a:lnTo>
                      <a:pt x="434" y="884"/>
                    </a:lnTo>
                    <a:lnTo>
                      <a:pt x="438" y="887"/>
                    </a:lnTo>
                    <a:lnTo>
                      <a:pt x="444" y="894"/>
                    </a:lnTo>
                    <a:lnTo>
                      <a:pt x="451" y="901"/>
                    </a:lnTo>
                    <a:lnTo>
                      <a:pt x="458" y="909"/>
                    </a:lnTo>
                    <a:lnTo>
                      <a:pt x="466" y="914"/>
                    </a:lnTo>
                    <a:lnTo>
                      <a:pt x="471" y="918"/>
                    </a:lnTo>
                    <a:lnTo>
                      <a:pt x="475" y="919"/>
                    </a:lnTo>
                    <a:lnTo>
                      <a:pt x="481" y="920"/>
                    </a:lnTo>
                    <a:lnTo>
                      <a:pt x="488" y="921"/>
                    </a:lnTo>
                    <a:lnTo>
                      <a:pt x="488" y="921"/>
                    </a:lnTo>
                    <a:lnTo>
                      <a:pt x="587" y="921"/>
                    </a:lnTo>
                    <a:lnTo>
                      <a:pt x="587" y="921"/>
                    </a:lnTo>
                    <a:lnTo>
                      <a:pt x="595" y="920"/>
                    </a:lnTo>
                    <a:lnTo>
                      <a:pt x="601" y="919"/>
                    </a:lnTo>
                    <a:lnTo>
                      <a:pt x="606" y="917"/>
                    </a:lnTo>
                    <a:lnTo>
                      <a:pt x="611" y="913"/>
                    </a:lnTo>
                    <a:lnTo>
                      <a:pt x="620" y="909"/>
                    </a:lnTo>
                    <a:lnTo>
                      <a:pt x="625" y="908"/>
                    </a:lnTo>
                    <a:lnTo>
                      <a:pt x="631" y="906"/>
                    </a:lnTo>
                    <a:lnTo>
                      <a:pt x="631" y="906"/>
                    </a:lnTo>
                    <a:lnTo>
                      <a:pt x="644" y="908"/>
                    </a:lnTo>
                    <a:lnTo>
                      <a:pt x="657" y="910"/>
                    </a:lnTo>
                    <a:lnTo>
                      <a:pt x="669" y="913"/>
                    </a:lnTo>
                    <a:lnTo>
                      <a:pt x="679" y="919"/>
                    </a:lnTo>
                    <a:lnTo>
                      <a:pt x="701" y="931"/>
                    </a:lnTo>
                    <a:lnTo>
                      <a:pt x="722" y="943"/>
                    </a:lnTo>
                    <a:lnTo>
                      <a:pt x="732" y="950"/>
                    </a:lnTo>
                    <a:lnTo>
                      <a:pt x="743" y="955"/>
                    </a:lnTo>
                    <a:lnTo>
                      <a:pt x="756" y="960"/>
                    </a:lnTo>
                    <a:lnTo>
                      <a:pt x="769" y="964"/>
                    </a:lnTo>
                    <a:lnTo>
                      <a:pt x="783" y="966"/>
                    </a:lnTo>
                    <a:lnTo>
                      <a:pt x="799" y="966"/>
                    </a:lnTo>
                    <a:lnTo>
                      <a:pt x="815" y="965"/>
                    </a:lnTo>
                    <a:lnTo>
                      <a:pt x="833" y="962"/>
                    </a:lnTo>
                    <a:lnTo>
                      <a:pt x="833" y="962"/>
                    </a:lnTo>
                    <a:lnTo>
                      <a:pt x="852" y="917"/>
                    </a:lnTo>
                    <a:lnTo>
                      <a:pt x="852" y="91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1" name="Freeform 116"/>
              <p:cNvSpPr>
                <a:spLocks noChangeAspect="1"/>
              </p:cNvSpPr>
              <p:nvPr/>
            </p:nvSpPr>
            <p:spPr bwMode="auto">
              <a:xfrm>
                <a:off x="1717529" y="3920743"/>
                <a:ext cx="263128" cy="165599"/>
              </a:xfrm>
              <a:custGeom>
                <a:avLst/>
                <a:gdLst/>
                <a:ahLst/>
                <a:cxnLst>
                  <a:cxn ang="0">
                    <a:pos x="107" y="16"/>
                  </a:cxn>
                  <a:cxn ang="0">
                    <a:pos x="86" y="2"/>
                  </a:cxn>
                  <a:cxn ang="0">
                    <a:pos x="74" y="0"/>
                  </a:cxn>
                  <a:cxn ang="0">
                    <a:pos x="34" y="9"/>
                  </a:cxn>
                  <a:cxn ang="0">
                    <a:pos x="9" y="30"/>
                  </a:cxn>
                  <a:cxn ang="0">
                    <a:pos x="1" y="48"/>
                  </a:cxn>
                  <a:cxn ang="0">
                    <a:pos x="0" y="63"/>
                  </a:cxn>
                  <a:cxn ang="0">
                    <a:pos x="13" y="102"/>
                  </a:cxn>
                  <a:cxn ang="0">
                    <a:pos x="37" y="110"/>
                  </a:cxn>
                  <a:cxn ang="0">
                    <a:pos x="75" y="115"/>
                  </a:cxn>
                  <a:cxn ang="0">
                    <a:pos x="98" y="125"/>
                  </a:cxn>
                  <a:cxn ang="0">
                    <a:pos x="103" y="137"/>
                  </a:cxn>
                  <a:cxn ang="0">
                    <a:pos x="107" y="166"/>
                  </a:cxn>
                  <a:cxn ang="0">
                    <a:pos x="116" y="174"/>
                  </a:cxn>
                  <a:cxn ang="0">
                    <a:pos x="124" y="192"/>
                  </a:cxn>
                  <a:cxn ang="0">
                    <a:pos x="129" y="215"/>
                  </a:cxn>
                  <a:cxn ang="0">
                    <a:pos x="136" y="224"/>
                  </a:cxn>
                  <a:cxn ang="0">
                    <a:pos x="156" y="231"/>
                  </a:cxn>
                  <a:cxn ang="0">
                    <a:pos x="175" y="230"/>
                  </a:cxn>
                  <a:cxn ang="0">
                    <a:pos x="193" y="221"/>
                  </a:cxn>
                  <a:cxn ang="0">
                    <a:pos x="210" y="211"/>
                  </a:cxn>
                  <a:cxn ang="0">
                    <a:pos x="222" y="209"/>
                  </a:cxn>
                  <a:cxn ang="0">
                    <a:pos x="245" y="222"/>
                  </a:cxn>
                  <a:cxn ang="0">
                    <a:pos x="253" y="224"/>
                  </a:cxn>
                  <a:cxn ang="0">
                    <a:pos x="265" y="219"/>
                  </a:cxn>
                  <a:cxn ang="0">
                    <a:pos x="276" y="214"/>
                  </a:cxn>
                  <a:cxn ang="0">
                    <a:pos x="281" y="216"/>
                  </a:cxn>
                  <a:cxn ang="0">
                    <a:pos x="298" y="231"/>
                  </a:cxn>
                  <a:cxn ang="0">
                    <a:pos x="312" y="238"/>
                  </a:cxn>
                  <a:cxn ang="0">
                    <a:pos x="312" y="238"/>
                  </a:cxn>
                  <a:cxn ang="0">
                    <a:pos x="317" y="222"/>
                  </a:cxn>
                  <a:cxn ang="0">
                    <a:pos x="329" y="206"/>
                  </a:cxn>
                  <a:cxn ang="0">
                    <a:pos x="330" y="198"/>
                  </a:cxn>
                  <a:cxn ang="0">
                    <a:pos x="317" y="176"/>
                  </a:cxn>
                  <a:cxn ang="0">
                    <a:pos x="315" y="169"/>
                  </a:cxn>
                  <a:cxn ang="0">
                    <a:pos x="312" y="143"/>
                  </a:cxn>
                  <a:cxn ang="0">
                    <a:pos x="304" y="139"/>
                  </a:cxn>
                  <a:cxn ang="0">
                    <a:pos x="298" y="116"/>
                  </a:cxn>
                  <a:cxn ang="0">
                    <a:pos x="293" y="107"/>
                  </a:cxn>
                  <a:cxn ang="0">
                    <a:pos x="280" y="107"/>
                  </a:cxn>
                  <a:cxn ang="0">
                    <a:pos x="270" y="102"/>
                  </a:cxn>
                  <a:cxn ang="0">
                    <a:pos x="260" y="87"/>
                  </a:cxn>
                  <a:cxn ang="0">
                    <a:pos x="251" y="81"/>
                  </a:cxn>
                  <a:cxn ang="0">
                    <a:pos x="228" y="76"/>
                  </a:cxn>
                  <a:cxn ang="0">
                    <a:pos x="191" y="70"/>
                  </a:cxn>
                  <a:cxn ang="0">
                    <a:pos x="177" y="66"/>
                  </a:cxn>
                  <a:cxn ang="0">
                    <a:pos x="159" y="52"/>
                  </a:cxn>
                  <a:cxn ang="0">
                    <a:pos x="144" y="44"/>
                  </a:cxn>
                  <a:cxn ang="0">
                    <a:pos x="128" y="35"/>
                  </a:cxn>
                  <a:cxn ang="0">
                    <a:pos x="117" y="18"/>
                  </a:cxn>
                  <a:cxn ang="0">
                    <a:pos x="117" y="22"/>
                  </a:cxn>
                </a:cxnLst>
                <a:rect l="0" t="0" r="r" b="b"/>
                <a:pathLst>
                  <a:path w="330" h="238">
                    <a:moveTo>
                      <a:pt x="117" y="22"/>
                    </a:moveTo>
                    <a:lnTo>
                      <a:pt x="117" y="22"/>
                    </a:lnTo>
                    <a:lnTo>
                      <a:pt x="107" y="16"/>
                    </a:lnTo>
                    <a:lnTo>
                      <a:pt x="97" y="8"/>
                    </a:lnTo>
                    <a:lnTo>
                      <a:pt x="92" y="5"/>
                    </a:lnTo>
                    <a:lnTo>
                      <a:pt x="86" y="2"/>
                    </a:lnTo>
                    <a:lnTo>
                      <a:pt x="80" y="1"/>
                    </a:lnTo>
                    <a:lnTo>
                      <a:pt x="74" y="0"/>
                    </a:lnTo>
                    <a:lnTo>
                      <a:pt x="74" y="0"/>
                    </a:lnTo>
                    <a:lnTo>
                      <a:pt x="60" y="1"/>
                    </a:lnTo>
                    <a:lnTo>
                      <a:pt x="47" y="5"/>
                    </a:lnTo>
                    <a:lnTo>
                      <a:pt x="34" y="9"/>
                    </a:lnTo>
                    <a:lnTo>
                      <a:pt x="23" y="16"/>
                    </a:lnTo>
                    <a:lnTo>
                      <a:pt x="14" y="25"/>
                    </a:lnTo>
                    <a:lnTo>
                      <a:pt x="9" y="30"/>
                    </a:lnTo>
                    <a:lnTo>
                      <a:pt x="7" y="36"/>
                    </a:lnTo>
                    <a:lnTo>
                      <a:pt x="3" y="43"/>
                    </a:lnTo>
                    <a:lnTo>
                      <a:pt x="1" y="48"/>
                    </a:lnTo>
                    <a:lnTo>
                      <a:pt x="0" y="55"/>
                    </a:lnTo>
                    <a:lnTo>
                      <a:pt x="0" y="63"/>
                    </a:lnTo>
                    <a:lnTo>
                      <a:pt x="0" y="63"/>
                    </a:lnTo>
                    <a:lnTo>
                      <a:pt x="2" y="71"/>
                    </a:lnTo>
                    <a:lnTo>
                      <a:pt x="7" y="86"/>
                    </a:lnTo>
                    <a:lnTo>
                      <a:pt x="13" y="102"/>
                    </a:lnTo>
                    <a:lnTo>
                      <a:pt x="15" y="110"/>
                    </a:lnTo>
                    <a:lnTo>
                      <a:pt x="15" y="110"/>
                    </a:lnTo>
                    <a:lnTo>
                      <a:pt x="37" y="110"/>
                    </a:lnTo>
                    <a:lnTo>
                      <a:pt x="49" y="112"/>
                    </a:lnTo>
                    <a:lnTo>
                      <a:pt x="62" y="113"/>
                    </a:lnTo>
                    <a:lnTo>
                      <a:pt x="75" y="115"/>
                    </a:lnTo>
                    <a:lnTo>
                      <a:pt x="86" y="119"/>
                    </a:lnTo>
                    <a:lnTo>
                      <a:pt x="94" y="123"/>
                    </a:lnTo>
                    <a:lnTo>
                      <a:pt x="98" y="125"/>
                    </a:lnTo>
                    <a:lnTo>
                      <a:pt x="99" y="129"/>
                    </a:lnTo>
                    <a:lnTo>
                      <a:pt x="99" y="129"/>
                    </a:lnTo>
                    <a:lnTo>
                      <a:pt x="103" y="137"/>
                    </a:lnTo>
                    <a:lnTo>
                      <a:pt x="106" y="145"/>
                    </a:lnTo>
                    <a:lnTo>
                      <a:pt x="107" y="160"/>
                    </a:lnTo>
                    <a:lnTo>
                      <a:pt x="107" y="166"/>
                    </a:lnTo>
                    <a:lnTo>
                      <a:pt x="110" y="170"/>
                    </a:lnTo>
                    <a:lnTo>
                      <a:pt x="113" y="173"/>
                    </a:lnTo>
                    <a:lnTo>
                      <a:pt x="116" y="174"/>
                    </a:lnTo>
                    <a:lnTo>
                      <a:pt x="124" y="176"/>
                    </a:lnTo>
                    <a:lnTo>
                      <a:pt x="124" y="176"/>
                    </a:lnTo>
                    <a:lnTo>
                      <a:pt x="124" y="192"/>
                    </a:lnTo>
                    <a:lnTo>
                      <a:pt x="125" y="205"/>
                    </a:lnTo>
                    <a:lnTo>
                      <a:pt x="128" y="211"/>
                    </a:lnTo>
                    <a:lnTo>
                      <a:pt x="129" y="215"/>
                    </a:lnTo>
                    <a:lnTo>
                      <a:pt x="132" y="220"/>
                    </a:lnTo>
                    <a:lnTo>
                      <a:pt x="136" y="224"/>
                    </a:lnTo>
                    <a:lnTo>
                      <a:pt x="136" y="224"/>
                    </a:lnTo>
                    <a:lnTo>
                      <a:pt x="141" y="227"/>
                    </a:lnTo>
                    <a:lnTo>
                      <a:pt x="148" y="229"/>
                    </a:lnTo>
                    <a:lnTo>
                      <a:pt x="156" y="231"/>
                    </a:lnTo>
                    <a:lnTo>
                      <a:pt x="169" y="231"/>
                    </a:lnTo>
                    <a:lnTo>
                      <a:pt x="169" y="231"/>
                    </a:lnTo>
                    <a:lnTo>
                      <a:pt x="175" y="230"/>
                    </a:lnTo>
                    <a:lnTo>
                      <a:pt x="182" y="228"/>
                    </a:lnTo>
                    <a:lnTo>
                      <a:pt x="187" y="224"/>
                    </a:lnTo>
                    <a:lnTo>
                      <a:pt x="193" y="221"/>
                    </a:lnTo>
                    <a:lnTo>
                      <a:pt x="198" y="216"/>
                    </a:lnTo>
                    <a:lnTo>
                      <a:pt x="204" y="213"/>
                    </a:lnTo>
                    <a:lnTo>
                      <a:pt x="210" y="211"/>
                    </a:lnTo>
                    <a:lnTo>
                      <a:pt x="217" y="209"/>
                    </a:lnTo>
                    <a:lnTo>
                      <a:pt x="217" y="209"/>
                    </a:lnTo>
                    <a:lnTo>
                      <a:pt x="222" y="209"/>
                    </a:lnTo>
                    <a:lnTo>
                      <a:pt x="228" y="212"/>
                    </a:lnTo>
                    <a:lnTo>
                      <a:pt x="237" y="216"/>
                    </a:lnTo>
                    <a:lnTo>
                      <a:pt x="245" y="222"/>
                    </a:lnTo>
                    <a:lnTo>
                      <a:pt x="250" y="223"/>
                    </a:lnTo>
                    <a:lnTo>
                      <a:pt x="253" y="224"/>
                    </a:lnTo>
                    <a:lnTo>
                      <a:pt x="253" y="224"/>
                    </a:lnTo>
                    <a:lnTo>
                      <a:pt x="256" y="223"/>
                    </a:lnTo>
                    <a:lnTo>
                      <a:pt x="260" y="222"/>
                    </a:lnTo>
                    <a:lnTo>
                      <a:pt x="265" y="219"/>
                    </a:lnTo>
                    <a:lnTo>
                      <a:pt x="269" y="215"/>
                    </a:lnTo>
                    <a:lnTo>
                      <a:pt x="271" y="214"/>
                    </a:lnTo>
                    <a:lnTo>
                      <a:pt x="276" y="214"/>
                    </a:lnTo>
                    <a:lnTo>
                      <a:pt x="276" y="214"/>
                    </a:lnTo>
                    <a:lnTo>
                      <a:pt x="278" y="214"/>
                    </a:lnTo>
                    <a:lnTo>
                      <a:pt x="281" y="216"/>
                    </a:lnTo>
                    <a:lnTo>
                      <a:pt x="286" y="221"/>
                    </a:lnTo>
                    <a:lnTo>
                      <a:pt x="292" y="228"/>
                    </a:lnTo>
                    <a:lnTo>
                      <a:pt x="298" y="231"/>
                    </a:lnTo>
                    <a:lnTo>
                      <a:pt x="298" y="231"/>
                    </a:lnTo>
                    <a:lnTo>
                      <a:pt x="312" y="231"/>
                    </a:lnTo>
                    <a:lnTo>
                      <a:pt x="312" y="238"/>
                    </a:lnTo>
                    <a:lnTo>
                      <a:pt x="312" y="238"/>
                    </a:lnTo>
                    <a:lnTo>
                      <a:pt x="312" y="238"/>
                    </a:lnTo>
                    <a:lnTo>
                      <a:pt x="312" y="238"/>
                    </a:lnTo>
                    <a:lnTo>
                      <a:pt x="313" y="232"/>
                    </a:lnTo>
                    <a:lnTo>
                      <a:pt x="315" y="227"/>
                    </a:lnTo>
                    <a:lnTo>
                      <a:pt x="317" y="222"/>
                    </a:lnTo>
                    <a:lnTo>
                      <a:pt x="321" y="217"/>
                    </a:lnTo>
                    <a:lnTo>
                      <a:pt x="328" y="211"/>
                    </a:lnTo>
                    <a:lnTo>
                      <a:pt x="329" y="206"/>
                    </a:lnTo>
                    <a:lnTo>
                      <a:pt x="330" y="203"/>
                    </a:lnTo>
                    <a:lnTo>
                      <a:pt x="330" y="203"/>
                    </a:lnTo>
                    <a:lnTo>
                      <a:pt x="330" y="198"/>
                    </a:lnTo>
                    <a:lnTo>
                      <a:pt x="328" y="193"/>
                    </a:lnTo>
                    <a:lnTo>
                      <a:pt x="323" y="184"/>
                    </a:lnTo>
                    <a:lnTo>
                      <a:pt x="317" y="176"/>
                    </a:lnTo>
                    <a:lnTo>
                      <a:pt x="316" y="173"/>
                    </a:lnTo>
                    <a:lnTo>
                      <a:pt x="315" y="169"/>
                    </a:lnTo>
                    <a:lnTo>
                      <a:pt x="315" y="169"/>
                    </a:lnTo>
                    <a:lnTo>
                      <a:pt x="315" y="144"/>
                    </a:lnTo>
                    <a:lnTo>
                      <a:pt x="315" y="144"/>
                    </a:lnTo>
                    <a:lnTo>
                      <a:pt x="312" y="143"/>
                    </a:lnTo>
                    <a:lnTo>
                      <a:pt x="308" y="143"/>
                    </a:lnTo>
                    <a:lnTo>
                      <a:pt x="305" y="140"/>
                    </a:lnTo>
                    <a:lnTo>
                      <a:pt x="304" y="139"/>
                    </a:lnTo>
                    <a:lnTo>
                      <a:pt x="300" y="133"/>
                    </a:lnTo>
                    <a:lnTo>
                      <a:pt x="299" y="128"/>
                    </a:lnTo>
                    <a:lnTo>
                      <a:pt x="298" y="116"/>
                    </a:lnTo>
                    <a:lnTo>
                      <a:pt x="297" y="110"/>
                    </a:lnTo>
                    <a:lnTo>
                      <a:pt x="296" y="108"/>
                    </a:lnTo>
                    <a:lnTo>
                      <a:pt x="293" y="107"/>
                    </a:lnTo>
                    <a:lnTo>
                      <a:pt x="293" y="107"/>
                    </a:lnTo>
                    <a:lnTo>
                      <a:pt x="280" y="107"/>
                    </a:lnTo>
                    <a:lnTo>
                      <a:pt x="280" y="107"/>
                    </a:lnTo>
                    <a:lnTo>
                      <a:pt x="275" y="106"/>
                    </a:lnTo>
                    <a:lnTo>
                      <a:pt x="273" y="105"/>
                    </a:lnTo>
                    <a:lnTo>
                      <a:pt x="270" y="102"/>
                    </a:lnTo>
                    <a:lnTo>
                      <a:pt x="268" y="99"/>
                    </a:lnTo>
                    <a:lnTo>
                      <a:pt x="263" y="91"/>
                    </a:lnTo>
                    <a:lnTo>
                      <a:pt x="260" y="87"/>
                    </a:lnTo>
                    <a:lnTo>
                      <a:pt x="256" y="85"/>
                    </a:lnTo>
                    <a:lnTo>
                      <a:pt x="256" y="85"/>
                    </a:lnTo>
                    <a:lnTo>
                      <a:pt x="251" y="81"/>
                    </a:lnTo>
                    <a:lnTo>
                      <a:pt x="244" y="78"/>
                    </a:lnTo>
                    <a:lnTo>
                      <a:pt x="236" y="76"/>
                    </a:lnTo>
                    <a:lnTo>
                      <a:pt x="228" y="76"/>
                    </a:lnTo>
                    <a:lnTo>
                      <a:pt x="210" y="75"/>
                    </a:lnTo>
                    <a:lnTo>
                      <a:pt x="200" y="74"/>
                    </a:lnTo>
                    <a:lnTo>
                      <a:pt x="191" y="70"/>
                    </a:lnTo>
                    <a:lnTo>
                      <a:pt x="191" y="70"/>
                    </a:lnTo>
                    <a:lnTo>
                      <a:pt x="184" y="68"/>
                    </a:lnTo>
                    <a:lnTo>
                      <a:pt x="177" y="66"/>
                    </a:lnTo>
                    <a:lnTo>
                      <a:pt x="172" y="63"/>
                    </a:lnTo>
                    <a:lnTo>
                      <a:pt x="168" y="60"/>
                    </a:lnTo>
                    <a:lnTo>
                      <a:pt x="159" y="52"/>
                    </a:lnTo>
                    <a:lnTo>
                      <a:pt x="152" y="48"/>
                    </a:lnTo>
                    <a:lnTo>
                      <a:pt x="144" y="44"/>
                    </a:lnTo>
                    <a:lnTo>
                      <a:pt x="144" y="44"/>
                    </a:lnTo>
                    <a:lnTo>
                      <a:pt x="140" y="44"/>
                    </a:lnTo>
                    <a:lnTo>
                      <a:pt x="136" y="41"/>
                    </a:lnTo>
                    <a:lnTo>
                      <a:pt x="128" y="35"/>
                    </a:lnTo>
                    <a:lnTo>
                      <a:pt x="121" y="25"/>
                    </a:lnTo>
                    <a:lnTo>
                      <a:pt x="118" y="22"/>
                    </a:lnTo>
                    <a:lnTo>
                      <a:pt x="117" y="18"/>
                    </a:lnTo>
                    <a:lnTo>
                      <a:pt x="117" y="18"/>
                    </a:lnTo>
                    <a:lnTo>
                      <a:pt x="117" y="22"/>
                    </a:lnTo>
                    <a:lnTo>
                      <a:pt x="117" y="2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2" name="Freeform 117"/>
              <p:cNvSpPr>
                <a:spLocks noChangeAspect="1"/>
              </p:cNvSpPr>
              <p:nvPr/>
            </p:nvSpPr>
            <p:spPr bwMode="auto">
              <a:xfrm>
                <a:off x="1674731" y="4065468"/>
                <a:ext cx="470777" cy="353461"/>
              </a:xfrm>
              <a:custGeom>
                <a:avLst/>
                <a:gdLst/>
                <a:ahLst/>
                <a:cxnLst>
                  <a:cxn ang="0">
                    <a:pos x="347" y="19"/>
                  </a:cxn>
                  <a:cxn ang="0">
                    <a:pos x="331" y="5"/>
                  </a:cxn>
                  <a:cxn ang="0">
                    <a:pos x="311" y="14"/>
                  </a:cxn>
                  <a:cxn ang="0">
                    <a:pos x="292" y="7"/>
                  </a:cxn>
                  <a:cxn ang="0">
                    <a:pos x="265" y="2"/>
                  </a:cxn>
                  <a:cxn ang="0">
                    <a:pos x="237" y="19"/>
                  </a:cxn>
                  <a:cxn ang="0">
                    <a:pos x="203" y="20"/>
                  </a:cxn>
                  <a:cxn ang="0">
                    <a:pos x="169" y="27"/>
                  </a:cxn>
                  <a:cxn ang="0">
                    <a:pos x="109" y="67"/>
                  </a:cxn>
                  <a:cxn ang="0">
                    <a:pos x="107" y="103"/>
                  </a:cxn>
                  <a:cxn ang="0">
                    <a:pos x="94" y="120"/>
                  </a:cxn>
                  <a:cxn ang="0">
                    <a:pos x="68" y="125"/>
                  </a:cxn>
                  <a:cxn ang="0">
                    <a:pos x="40" y="103"/>
                  </a:cxn>
                  <a:cxn ang="0">
                    <a:pos x="9" y="120"/>
                  </a:cxn>
                  <a:cxn ang="0">
                    <a:pos x="18" y="147"/>
                  </a:cxn>
                  <a:cxn ang="0">
                    <a:pos x="48" y="152"/>
                  </a:cxn>
                  <a:cxn ang="0">
                    <a:pos x="85" y="155"/>
                  </a:cxn>
                  <a:cxn ang="0">
                    <a:pos x="104" y="195"/>
                  </a:cxn>
                  <a:cxn ang="0">
                    <a:pos x="120" y="203"/>
                  </a:cxn>
                  <a:cxn ang="0">
                    <a:pos x="172" y="200"/>
                  </a:cxn>
                  <a:cxn ang="0">
                    <a:pos x="179" y="228"/>
                  </a:cxn>
                  <a:cxn ang="0">
                    <a:pos x="198" y="282"/>
                  </a:cxn>
                  <a:cxn ang="0">
                    <a:pos x="237" y="326"/>
                  </a:cxn>
                  <a:cxn ang="0">
                    <a:pos x="271" y="333"/>
                  </a:cxn>
                  <a:cxn ang="0">
                    <a:pos x="290" y="318"/>
                  </a:cxn>
                  <a:cxn ang="0">
                    <a:pos x="332" y="365"/>
                  </a:cxn>
                  <a:cxn ang="0">
                    <a:pos x="367" y="412"/>
                  </a:cxn>
                  <a:cxn ang="0">
                    <a:pos x="398" y="432"/>
                  </a:cxn>
                  <a:cxn ang="0">
                    <a:pos x="393" y="450"/>
                  </a:cxn>
                  <a:cxn ang="0">
                    <a:pos x="386" y="473"/>
                  </a:cxn>
                  <a:cxn ang="0">
                    <a:pos x="407" y="501"/>
                  </a:cxn>
                  <a:cxn ang="0">
                    <a:pos x="422" y="476"/>
                  </a:cxn>
                  <a:cxn ang="0">
                    <a:pos x="442" y="449"/>
                  </a:cxn>
                  <a:cxn ang="0">
                    <a:pos x="488" y="407"/>
                  </a:cxn>
                  <a:cxn ang="0">
                    <a:pos x="492" y="380"/>
                  </a:cxn>
                  <a:cxn ang="0">
                    <a:pos x="477" y="346"/>
                  </a:cxn>
                  <a:cxn ang="0">
                    <a:pos x="549" y="339"/>
                  </a:cxn>
                  <a:cxn ang="0">
                    <a:pos x="591" y="319"/>
                  </a:cxn>
                  <a:cxn ang="0">
                    <a:pos x="591" y="295"/>
                  </a:cxn>
                  <a:cxn ang="0">
                    <a:pos x="573" y="264"/>
                  </a:cxn>
                  <a:cxn ang="0">
                    <a:pos x="555" y="258"/>
                  </a:cxn>
                  <a:cxn ang="0">
                    <a:pos x="547" y="240"/>
                  </a:cxn>
                  <a:cxn ang="0">
                    <a:pos x="577" y="223"/>
                  </a:cxn>
                  <a:cxn ang="0">
                    <a:pos x="547" y="210"/>
                  </a:cxn>
                  <a:cxn ang="0">
                    <a:pos x="558" y="185"/>
                  </a:cxn>
                  <a:cxn ang="0">
                    <a:pos x="544" y="155"/>
                  </a:cxn>
                  <a:cxn ang="0">
                    <a:pos x="522" y="170"/>
                  </a:cxn>
                  <a:cxn ang="0">
                    <a:pos x="529" y="191"/>
                  </a:cxn>
                  <a:cxn ang="0">
                    <a:pos x="499" y="196"/>
                  </a:cxn>
                  <a:cxn ang="0">
                    <a:pos x="462" y="191"/>
                  </a:cxn>
                  <a:cxn ang="0">
                    <a:pos x="428" y="174"/>
                  </a:cxn>
                  <a:cxn ang="0">
                    <a:pos x="423" y="156"/>
                  </a:cxn>
                  <a:cxn ang="0">
                    <a:pos x="424" y="145"/>
                  </a:cxn>
                  <a:cxn ang="0">
                    <a:pos x="389" y="95"/>
                  </a:cxn>
                  <a:cxn ang="0">
                    <a:pos x="367" y="29"/>
                  </a:cxn>
                </a:cxnLst>
                <a:rect l="0" t="0" r="r" b="b"/>
                <a:pathLst>
                  <a:path w="595" h="508">
                    <a:moveTo>
                      <a:pt x="367" y="22"/>
                    </a:moveTo>
                    <a:lnTo>
                      <a:pt x="353" y="22"/>
                    </a:lnTo>
                    <a:lnTo>
                      <a:pt x="353" y="22"/>
                    </a:lnTo>
                    <a:lnTo>
                      <a:pt x="353" y="22"/>
                    </a:lnTo>
                    <a:lnTo>
                      <a:pt x="347" y="19"/>
                    </a:lnTo>
                    <a:lnTo>
                      <a:pt x="341" y="12"/>
                    </a:lnTo>
                    <a:lnTo>
                      <a:pt x="336" y="7"/>
                    </a:lnTo>
                    <a:lnTo>
                      <a:pt x="333" y="5"/>
                    </a:lnTo>
                    <a:lnTo>
                      <a:pt x="331" y="5"/>
                    </a:lnTo>
                    <a:lnTo>
                      <a:pt x="331" y="5"/>
                    </a:lnTo>
                    <a:lnTo>
                      <a:pt x="326" y="5"/>
                    </a:lnTo>
                    <a:lnTo>
                      <a:pt x="324" y="6"/>
                    </a:lnTo>
                    <a:lnTo>
                      <a:pt x="320" y="10"/>
                    </a:lnTo>
                    <a:lnTo>
                      <a:pt x="315" y="13"/>
                    </a:lnTo>
                    <a:lnTo>
                      <a:pt x="311" y="14"/>
                    </a:lnTo>
                    <a:lnTo>
                      <a:pt x="308" y="15"/>
                    </a:lnTo>
                    <a:lnTo>
                      <a:pt x="308" y="15"/>
                    </a:lnTo>
                    <a:lnTo>
                      <a:pt x="305" y="14"/>
                    </a:lnTo>
                    <a:lnTo>
                      <a:pt x="300" y="13"/>
                    </a:lnTo>
                    <a:lnTo>
                      <a:pt x="292" y="7"/>
                    </a:lnTo>
                    <a:lnTo>
                      <a:pt x="283" y="3"/>
                    </a:lnTo>
                    <a:lnTo>
                      <a:pt x="277" y="0"/>
                    </a:lnTo>
                    <a:lnTo>
                      <a:pt x="272" y="0"/>
                    </a:lnTo>
                    <a:lnTo>
                      <a:pt x="272" y="0"/>
                    </a:lnTo>
                    <a:lnTo>
                      <a:pt x="265" y="2"/>
                    </a:lnTo>
                    <a:lnTo>
                      <a:pt x="259" y="4"/>
                    </a:lnTo>
                    <a:lnTo>
                      <a:pt x="253" y="7"/>
                    </a:lnTo>
                    <a:lnTo>
                      <a:pt x="248" y="12"/>
                    </a:lnTo>
                    <a:lnTo>
                      <a:pt x="242" y="15"/>
                    </a:lnTo>
                    <a:lnTo>
                      <a:pt x="237" y="19"/>
                    </a:lnTo>
                    <a:lnTo>
                      <a:pt x="230" y="21"/>
                    </a:lnTo>
                    <a:lnTo>
                      <a:pt x="224" y="22"/>
                    </a:lnTo>
                    <a:lnTo>
                      <a:pt x="224" y="22"/>
                    </a:lnTo>
                    <a:lnTo>
                      <a:pt x="211" y="22"/>
                    </a:lnTo>
                    <a:lnTo>
                      <a:pt x="203" y="20"/>
                    </a:lnTo>
                    <a:lnTo>
                      <a:pt x="196" y="18"/>
                    </a:lnTo>
                    <a:lnTo>
                      <a:pt x="191" y="15"/>
                    </a:lnTo>
                    <a:lnTo>
                      <a:pt x="191" y="15"/>
                    </a:lnTo>
                    <a:lnTo>
                      <a:pt x="180" y="21"/>
                    </a:lnTo>
                    <a:lnTo>
                      <a:pt x="169" y="27"/>
                    </a:lnTo>
                    <a:lnTo>
                      <a:pt x="140" y="41"/>
                    </a:lnTo>
                    <a:lnTo>
                      <a:pt x="127" y="49"/>
                    </a:lnTo>
                    <a:lnTo>
                      <a:pt x="117" y="58"/>
                    </a:lnTo>
                    <a:lnTo>
                      <a:pt x="112" y="63"/>
                    </a:lnTo>
                    <a:lnTo>
                      <a:pt x="109" y="67"/>
                    </a:lnTo>
                    <a:lnTo>
                      <a:pt x="108" y="73"/>
                    </a:lnTo>
                    <a:lnTo>
                      <a:pt x="107" y="78"/>
                    </a:lnTo>
                    <a:lnTo>
                      <a:pt x="107" y="78"/>
                    </a:lnTo>
                    <a:lnTo>
                      <a:pt x="107" y="103"/>
                    </a:lnTo>
                    <a:lnTo>
                      <a:pt x="107" y="103"/>
                    </a:lnTo>
                    <a:lnTo>
                      <a:pt x="107" y="106"/>
                    </a:lnTo>
                    <a:lnTo>
                      <a:pt x="104" y="110"/>
                    </a:lnTo>
                    <a:lnTo>
                      <a:pt x="102" y="113"/>
                    </a:lnTo>
                    <a:lnTo>
                      <a:pt x="99" y="118"/>
                    </a:lnTo>
                    <a:lnTo>
                      <a:pt x="94" y="120"/>
                    </a:lnTo>
                    <a:lnTo>
                      <a:pt x="88" y="124"/>
                    </a:lnTo>
                    <a:lnTo>
                      <a:pt x="81" y="125"/>
                    </a:lnTo>
                    <a:lnTo>
                      <a:pt x="73" y="126"/>
                    </a:lnTo>
                    <a:lnTo>
                      <a:pt x="73" y="126"/>
                    </a:lnTo>
                    <a:lnTo>
                      <a:pt x="68" y="125"/>
                    </a:lnTo>
                    <a:lnTo>
                      <a:pt x="63" y="122"/>
                    </a:lnTo>
                    <a:lnTo>
                      <a:pt x="58" y="120"/>
                    </a:lnTo>
                    <a:lnTo>
                      <a:pt x="54" y="116"/>
                    </a:lnTo>
                    <a:lnTo>
                      <a:pt x="47" y="109"/>
                    </a:lnTo>
                    <a:lnTo>
                      <a:pt x="40" y="103"/>
                    </a:lnTo>
                    <a:lnTo>
                      <a:pt x="40" y="103"/>
                    </a:lnTo>
                    <a:lnTo>
                      <a:pt x="34" y="107"/>
                    </a:lnTo>
                    <a:lnTo>
                      <a:pt x="30" y="110"/>
                    </a:lnTo>
                    <a:lnTo>
                      <a:pt x="18" y="114"/>
                    </a:lnTo>
                    <a:lnTo>
                      <a:pt x="9" y="120"/>
                    </a:lnTo>
                    <a:lnTo>
                      <a:pt x="4" y="125"/>
                    </a:lnTo>
                    <a:lnTo>
                      <a:pt x="0" y="129"/>
                    </a:lnTo>
                    <a:lnTo>
                      <a:pt x="0" y="129"/>
                    </a:lnTo>
                    <a:lnTo>
                      <a:pt x="13" y="142"/>
                    </a:lnTo>
                    <a:lnTo>
                      <a:pt x="18" y="147"/>
                    </a:lnTo>
                    <a:lnTo>
                      <a:pt x="22" y="148"/>
                    </a:lnTo>
                    <a:lnTo>
                      <a:pt x="22" y="148"/>
                    </a:lnTo>
                    <a:lnTo>
                      <a:pt x="32" y="150"/>
                    </a:lnTo>
                    <a:lnTo>
                      <a:pt x="40" y="152"/>
                    </a:lnTo>
                    <a:lnTo>
                      <a:pt x="48" y="152"/>
                    </a:lnTo>
                    <a:lnTo>
                      <a:pt x="56" y="152"/>
                    </a:lnTo>
                    <a:lnTo>
                      <a:pt x="71" y="152"/>
                    </a:lnTo>
                    <a:lnTo>
                      <a:pt x="78" y="152"/>
                    </a:lnTo>
                    <a:lnTo>
                      <a:pt x="85" y="155"/>
                    </a:lnTo>
                    <a:lnTo>
                      <a:pt x="85" y="155"/>
                    </a:lnTo>
                    <a:lnTo>
                      <a:pt x="89" y="160"/>
                    </a:lnTo>
                    <a:lnTo>
                      <a:pt x="92" y="166"/>
                    </a:lnTo>
                    <a:lnTo>
                      <a:pt x="97" y="181"/>
                    </a:lnTo>
                    <a:lnTo>
                      <a:pt x="101" y="189"/>
                    </a:lnTo>
                    <a:lnTo>
                      <a:pt x="104" y="195"/>
                    </a:lnTo>
                    <a:lnTo>
                      <a:pt x="108" y="198"/>
                    </a:lnTo>
                    <a:lnTo>
                      <a:pt x="111" y="200"/>
                    </a:lnTo>
                    <a:lnTo>
                      <a:pt x="116" y="202"/>
                    </a:lnTo>
                    <a:lnTo>
                      <a:pt x="120" y="203"/>
                    </a:lnTo>
                    <a:lnTo>
                      <a:pt x="120" y="203"/>
                    </a:lnTo>
                    <a:lnTo>
                      <a:pt x="133" y="202"/>
                    </a:lnTo>
                    <a:lnTo>
                      <a:pt x="146" y="201"/>
                    </a:lnTo>
                    <a:lnTo>
                      <a:pt x="164" y="200"/>
                    </a:lnTo>
                    <a:lnTo>
                      <a:pt x="164" y="200"/>
                    </a:lnTo>
                    <a:lnTo>
                      <a:pt x="172" y="200"/>
                    </a:lnTo>
                    <a:lnTo>
                      <a:pt x="176" y="202"/>
                    </a:lnTo>
                    <a:lnTo>
                      <a:pt x="178" y="205"/>
                    </a:lnTo>
                    <a:lnTo>
                      <a:pt x="179" y="211"/>
                    </a:lnTo>
                    <a:lnTo>
                      <a:pt x="179" y="223"/>
                    </a:lnTo>
                    <a:lnTo>
                      <a:pt x="179" y="228"/>
                    </a:lnTo>
                    <a:lnTo>
                      <a:pt x="179" y="235"/>
                    </a:lnTo>
                    <a:lnTo>
                      <a:pt x="179" y="235"/>
                    </a:lnTo>
                    <a:lnTo>
                      <a:pt x="184" y="250"/>
                    </a:lnTo>
                    <a:lnTo>
                      <a:pt x="190" y="266"/>
                    </a:lnTo>
                    <a:lnTo>
                      <a:pt x="198" y="282"/>
                    </a:lnTo>
                    <a:lnTo>
                      <a:pt x="207" y="297"/>
                    </a:lnTo>
                    <a:lnTo>
                      <a:pt x="218" y="311"/>
                    </a:lnTo>
                    <a:lnTo>
                      <a:pt x="224" y="317"/>
                    </a:lnTo>
                    <a:lnTo>
                      <a:pt x="231" y="321"/>
                    </a:lnTo>
                    <a:lnTo>
                      <a:pt x="237" y="326"/>
                    </a:lnTo>
                    <a:lnTo>
                      <a:pt x="244" y="328"/>
                    </a:lnTo>
                    <a:lnTo>
                      <a:pt x="251" y="331"/>
                    </a:lnTo>
                    <a:lnTo>
                      <a:pt x="257" y="332"/>
                    </a:lnTo>
                    <a:lnTo>
                      <a:pt x="257" y="332"/>
                    </a:lnTo>
                    <a:lnTo>
                      <a:pt x="271" y="333"/>
                    </a:lnTo>
                    <a:lnTo>
                      <a:pt x="286" y="335"/>
                    </a:lnTo>
                    <a:lnTo>
                      <a:pt x="286" y="335"/>
                    </a:lnTo>
                    <a:lnTo>
                      <a:pt x="287" y="325"/>
                    </a:lnTo>
                    <a:lnTo>
                      <a:pt x="288" y="321"/>
                    </a:lnTo>
                    <a:lnTo>
                      <a:pt x="290" y="318"/>
                    </a:lnTo>
                    <a:lnTo>
                      <a:pt x="293" y="315"/>
                    </a:lnTo>
                    <a:lnTo>
                      <a:pt x="295" y="312"/>
                    </a:lnTo>
                    <a:lnTo>
                      <a:pt x="305" y="309"/>
                    </a:lnTo>
                    <a:lnTo>
                      <a:pt x="305" y="309"/>
                    </a:lnTo>
                    <a:lnTo>
                      <a:pt x="332" y="365"/>
                    </a:lnTo>
                    <a:lnTo>
                      <a:pt x="346" y="391"/>
                    </a:lnTo>
                    <a:lnTo>
                      <a:pt x="353" y="402"/>
                    </a:lnTo>
                    <a:lnTo>
                      <a:pt x="360" y="412"/>
                    </a:lnTo>
                    <a:lnTo>
                      <a:pt x="360" y="412"/>
                    </a:lnTo>
                    <a:lnTo>
                      <a:pt x="367" y="412"/>
                    </a:lnTo>
                    <a:lnTo>
                      <a:pt x="372" y="415"/>
                    </a:lnTo>
                    <a:lnTo>
                      <a:pt x="377" y="418"/>
                    </a:lnTo>
                    <a:lnTo>
                      <a:pt x="382" y="422"/>
                    </a:lnTo>
                    <a:lnTo>
                      <a:pt x="392" y="428"/>
                    </a:lnTo>
                    <a:lnTo>
                      <a:pt x="398" y="432"/>
                    </a:lnTo>
                    <a:lnTo>
                      <a:pt x="405" y="434"/>
                    </a:lnTo>
                    <a:lnTo>
                      <a:pt x="405" y="434"/>
                    </a:lnTo>
                    <a:lnTo>
                      <a:pt x="402" y="439"/>
                    </a:lnTo>
                    <a:lnTo>
                      <a:pt x="399" y="443"/>
                    </a:lnTo>
                    <a:lnTo>
                      <a:pt x="393" y="450"/>
                    </a:lnTo>
                    <a:lnTo>
                      <a:pt x="387" y="458"/>
                    </a:lnTo>
                    <a:lnTo>
                      <a:pt x="386" y="462"/>
                    </a:lnTo>
                    <a:lnTo>
                      <a:pt x="385" y="468"/>
                    </a:lnTo>
                    <a:lnTo>
                      <a:pt x="385" y="468"/>
                    </a:lnTo>
                    <a:lnTo>
                      <a:pt x="386" y="473"/>
                    </a:lnTo>
                    <a:lnTo>
                      <a:pt x="389" y="480"/>
                    </a:lnTo>
                    <a:lnTo>
                      <a:pt x="392" y="486"/>
                    </a:lnTo>
                    <a:lnTo>
                      <a:pt x="397" y="492"/>
                    </a:lnTo>
                    <a:lnTo>
                      <a:pt x="401" y="496"/>
                    </a:lnTo>
                    <a:lnTo>
                      <a:pt x="407" y="501"/>
                    </a:lnTo>
                    <a:lnTo>
                      <a:pt x="419" y="508"/>
                    </a:lnTo>
                    <a:lnTo>
                      <a:pt x="419" y="508"/>
                    </a:lnTo>
                    <a:lnTo>
                      <a:pt x="419" y="496"/>
                    </a:lnTo>
                    <a:lnTo>
                      <a:pt x="420" y="486"/>
                    </a:lnTo>
                    <a:lnTo>
                      <a:pt x="422" y="476"/>
                    </a:lnTo>
                    <a:lnTo>
                      <a:pt x="425" y="468"/>
                    </a:lnTo>
                    <a:lnTo>
                      <a:pt x="425" y="468"/>
                    </a:lnTo>
                    <a:lnTo>
                      <a:pt x="429" y="463"/>
                    </a:lnTo>
                    <a:lnTo>
                      <a:pt x="432" y="458"/>
                    </a:lnTo>
                    <a:lnTo>
                      <a:pt x="442" y="449"/>
                    </a:lnTo>
                    <a:lnTo>
                      <a:pt x="463" y="432"/>
                    </a:lnTo>
                    <a:lnTo>
                      <a:pt x="474" y="423"/>
                    </a:lnTo>
                    <a:lnTo>
                      <a:pt x="479" y="418"/>
                    </a:lnTo>
                    <a:lnTo>
                      <a:pt x="484" y="412"/>
                    </a:lnTo>
                    <a:lnTo>
                      <a:pt x="488" y="407"/>
                    </a:lnTo>
                    <a:lnTo>
                      <a:pt x="490" y="400"/>
                    </a:lnTo>
                    <a:lnTo>
                      <a:pt x="492" y="393"/>
                    </a:lnTo>
                    <a:lnTo>
                      <a:pt x="492" y="386"/>
                    </a:lnTo>
                    <a:lnTo>
                      <a:pt x="492" y="386"/>
                    </a:lnTo>
                    <a:lnTo>
                      <a:pt x="492" y="380"/>
                    </a:lnTo>
                    <a:lnTo>
                      <a:pt x="490" y="374"/>
                    </a:lnTo>
                    <a:lnTo>
                      <a:pt x="485" y="365"/>
                    </a:lnTo>
                    <a:lnTo>
                      <a:pt x="479" y="356"/>
                    </a:lnTo>
                    <a:lnTo>
                      <a:pt x="478" y="351"/>
                    </a:lnTo>
                    <a:lnTo>
                      <a:pt x="477" y="346"/>
                    </a:lnTo>
                    <a:lnTo>
                      <a:pt x="477" y="346"/>
                    </a:lnTo>
                    <a:lnTo>
                      <a:pt x="492" y="346"/>
                    </a:lnTo>
                    <a:lnTo>
                      <a:pt x="509" y="344"/>
                    </a:lnTo>
                    <a:lnTo>
                      <a:pt x="529" y="342"/>
                    </a:lnTo>
                    <a:lnTo>
                      <a:pt x="549" y="339"/>
                    </a:lnTo>
                    <a:lnTo>
                      <a:pt x="566" y="334"/>
                    </a:lnTo>
                    <a:lnTo>
                      <a:pt x="574" y="331"/>
                    </a:lnTo>
                    <a:lnTo>
                      <a:pt x="581" y="327"/>
                    </a:lnTo>
                    <a:lnTo>
                      <a:pt x="587" y="324"/>
                    </a:lnTo>
                    <a:lnTo>
                      <a:pt x="591" y="319"/>
                    </a:lnTo>
                    <a:lnTo>
                      <a:pt x="593" y="315"/>
                    </a:lnTo>
                    <a:lnTo>
                      <a:pt x="595" y="309"/>
                    </a:lnTo>
                    <a:lnTo>
                      <a:pt x="595" y="309"/>
                    </a:lnTo>
                    <a:lnTo>
                      <a:pt x="593" y="302"/>
                    </a:lnTo>
                    <a:lnTo>
                      <a:pt x="591" y="295"/>
                    </a:lnTo>
                    <a:lnTo>
                      <a:pt x="587" y="290"/>
                    </a:lnTo>
                    <a:lnTo>
                      <a:pt x="582" y="285"/>
                    </a:lnTo>
                    <a:lnTo>
                      <a:pt x="578" y="279"/>
                    </a:lnTo>
                    <a:lnTo>
                      <a:pt x="575" y="272"/>
                    </a:lnTo>
                    <a:lnTo>
                      <a:pt x="573" y="264"/>
                    </a:lnTo>
                    <a:lnTo>
                      <a:pt x="573" y="255"/>
                    </a:lnTo>
                    <a:lnTo>
                      <a:pt x="573" y="255"/>
                    </a:lnTo>
                    <a:lnTo>
                      <a:pt x="566" y="257"/>
                    </a:lnTo>
                    <a:lnTo>
                      <a:pt x="561" y="258"/>
                    </a:lnTo>
                    <a:lnTo>
                      <a:pt x="555" y="258"/>
                    </a:lnTo>
                    <a:lnTo>
                      <a:pt x="547" y="255"/>
                    </a:lnTo>
                    <a:lnTo>
                      <a:pt x="547" y="255"/>
                    </a:lnTo>
                    <a:lnTo>
                      <a:pt x="547" y="240"/>
                    </a:lnTo>
                    <a:lnTo>
                      <a:pt x="547" y="240"/>
                    </a:lnTo>
                    <a:lnTo>
                      <a:pt x="547" y="240"/>
                    </a:lnTo>
                    <a:lnTo>
                      <a:pt x="559" y="236"/>
                    </a:lnTo>
                    <a:lnTo>
                      <a:pt x="563" y="233"/>
                    </a:lnTo>
                    <a:lnTo>
                      <a:pt x="569" y="231"/>
                    </a:lnTo>
                    <a:lnTo>
                      <a:pt x="574" y="226"/>
                    </a:lnTo>
                    <a:lnTo>
                      <a:pt x="577" y="223"/>
                    </a:lnTo>
                    <a:lnTo>
                      <a:pt x="580" y="217"/>
                    </a:lnTo>
                    <a:lnTo>
                      <a:pt x="580" y="210"/>
                    </a:lnTo>
                    <a:lnTo>
                      <a:pt x="580" y="210"/>
                    </a:lnTo>
                    <a:lnTo>
                      <a:pt x="547" y="210"/>
                    </a:lnTo>
                    <a:lnTo>
                      <a:pt x="547" y="210"/>
                    </a:lnTo>
                    <a:lnTo>
                      <a:pt x="547" y="210"/>
                    </a:lnTo>
                    <a:lnTo>
                      <a:pt x="547" y="205"/>
                    </a:lnTo>
                    <a:lnTo>
                      <a:pt x="549" y="201"/>
                    </a:lnTo>
                    <a:lnTo>
                      <a:pt x="552" y="193"/>
                    </a:lnTo>
                    <a:lnTo>
                      <a:pt x="558" y="185"/>
                    </a:lnTo>
                    <a:lnTo>
                      <a:pt x="565" y="176"/>
                    </a:lnTo>
                    <a:lnTo>
                      <a:pt x="565" y="176"/>
                    </a:lnTo>
                    <a:lnTo>
                      <a:pt x="565" y="155"/>
                    </a:lnTo>
                    <a:lnTo>
                      <a:pt x="544" y="155"/>
                    </a:lnTo>
                    <a:lnTo>
                      <a:pt x="544" y="155"/>
                    </a:lnTo>
                    <a:lnTo>
                      <a:pt x="544" y="155"/>
                    </a:lnTo>
                    <a:lnTo>
                      <a:pt x="530" y="160"/>
                    </a:lnTo>
                    <a:lnTo>
                      <a:pt x="524" y="165"/>
                    </a:lnTo>
                    <a:lnTo>
                      <a:pt x="522" y="167"/>
                    </a:lnTo>
                    <a:lnTo>
                      <a:pt x="522" y="170"/>
                    </a:lnTo>
                    <a:lnTo>
                      <a:pt x="522" y="170"/>
                    </a:lnTo>
                    <a:lnTo>
                      <a:pt x="522" y="176"/>
                    </a:lnTo>
                    <a:lnTo>
                      <a:pt x="524" y="181"/>
                    </a:lnTo>
                    <a:lnTo>
                      <a:pt x="527" y="186"/>
                    </a:lnTo>
                    <a:lnTo>
                      <a:pt x="529" y="191"/>
                    </a:lnTo>
                    <a:lnTo>
                      <a:pt x="529" y="191"/>
                    </a:lnTo>
                    <a:lnTo>
                      <a:pt x="522" y="195"/>
                    </a:lnTo>
                    <a:lnTo>
                      <a:pt x="514" y="196"/>
                    </a:lnTo>
                    <a:lnTo>
                      <a:pt x="507" y="196"/>
                    </a:lnTo>
                    <a:lnTo>
                      <a:pt x="499" y="196"/>
                    </a:lnTo>
                    <a:lnTo>
                      <a:pt x="484" y="193"/>
                    </a:lnTo>
                    <a:lnTo>
                      <a:pt x="477" y="191"/>
                    </a:lnTo>
                    <a:lnTo>
                      <a:pt x="470" y="191"/>
                    </a:lnTo>
                    <a:lnTo>
                      <a:pt x="470" y="191"/>
                    </a:lnTo>
                    <a:lnTo>
                      <a:pt x="462" y="191"/>
                    </a:lnTo>
                    <a:lnTo>
                      <a:pt x="455" y="190"/>
                    </a:lnTo>
                    <a:lnTo>
                      <a:pt x="447" y="188"/>
                    </a:lnTo>
                    <a:lnTo>
                      <a:pt x="439" y="185"/>
                    </a:lnTo>
                    <a:lnTo>
                      <a:pt x="432" y="180"/>
                    </a:lnTo>
                    <a:lnTo>
                      <a:pt x="428" y="174"/>
                    </a:lnTo>
                    <a:lnTo>
                      <a:pt x="423" y="167"/>
                    </a:lnTo>
                    <a:lnTo>
                      <a:pt x="423" y="163"/>
                    </a:lnTo>
                    <a:lnTo>
                      <a:pt x="422" y="158"/>
                    </a:lnTo>
                    <a:lnTo>
                      <a:pt x="422" y="158"/>
                    </a:lnTo>
                    <a:lnTo>
                      <a:pt x="423" y="156"/>
                    </a:lnTo>
                    <a:lnTo>
                      <a:pt x="425" y="153"/>
                    </a:lnTo>
                    <a:lnTo>
                      <a:pt x="428" y="150"/>
                    </a:lnTo>
                    <a:lnTo>
                      <a:pt x="429" y="148"/>
                    </a:lnTo>
                    <a:lnTo>
                      <a:pt x="429" y="148"/>
                    </a:lnTo>
                    <a:lnTo>
                      <a:pt x="424" y="145"/>
                    </a:lnTo>
                    <a:lnTo>
                      <a:pt x="420" y="141"/>
                    </a:lnTo>
                    <a:lnTo>
                      <a:pt x="414" y="136"/>
                    </a:lnTo>
                    <a:lnTo>
                      <a:pt x="409" y="129"/>
                    </a:lnTo>
                    <a:lnTo>
                      <a:pt x="399" y="113"/>
                    </a:lnTo>
                    <a:lnTo>
                      <a:pt x="389" y="95"/>
                    </a:lnTo>
                    <a:lnTo>
                      <a:pt x="381" y="75"/>
                    </a:lnTo>
                    <a:lnTo>
                      <a:pt x="374" y="57"/>
                    </a:lnTo>
                    <a:lnTo>
                      <a:pt x="369" y="41"/>
                    </a:lnTo>
                    <a:lnTo>
                      <a:pt x="367" y="29"/>
                    </a:lnTo>
                    <a:lnTo>
                      <a:pt x="367" y="29"/>
                    </a:lnTo>
                    <a:lnTo>
                      <a:pt x="367" y="22"/>
                    </a:lnTo>
                    <a:lnTo>
                      <a:pt x="367" y="2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3" name="Freeform 118"/>
              <p:cNvSpPr>
                <a:spLocks noChangeAspect="1"/>
              </p:cNvSpPr>
              <p:nvPr/>
            </p:nvSpPr>
            <p:spPr bwMode="auto">
              <a:xfrm>
                <a:off x="1643029" y="3997280"/>
                <a:ext cx="185457" cy="158640"/>
              </a:xfrm>
              <a:custGeom>
                <a:avLst/>
                <a:gdLst/>
                <a:ahLst/>
                <a:cxnLst>
                  <a:cxn ang="0">
                    <a:pos x="235" y="114"/>
                  </a:cxn>
                  <a:cxn ang="0">
                    <a:pos x="212" y="126"/>
                  </a:cxn>
                  <a:cxn ang="0">
                    <a:pos x="170" y="148"/>
                  </a:cxn>
                  <a:cxn ang="0">
                    <a:pos x="153" y="162"/>
                  </a:cxn>
                  <a:cxn ang="0">
                    <a:pos x="149" y="172"/>
                  </a:cxn>
                  <a:cxn ang="0">
                    <a:pos x="148" y="177"/>
                  </a:cxn>
                  <a:cxn ang="0">
                    <a:pos x="148" y="202"/>
                  </a:cxn>
                  <a:cxn ang="0">
                    <a:pos x="145" y="209"/>
                  </a:cxn>
                  <a:cxn ang="0">
                    <a:pos x="140" y="217"/>
                  </a:cxn>
                  <a:cxn ang="0">
                    <a:pos x="129" y="223"/>
                  </a:cxn>
                  <a:cxn ang="0">
                    <a:pos x="114" y="225"/>
                  </a:cxn>
                  <a:cxn ang="0">
                    <a:pos x="109" y="224"/>
                  </a:cxn>
                  <a:cxn ang="0">
                    <a:pos x="99" y="219"/>
                  </a:cxn>
                  <a:cxn ang="0">
                    <a:pos x="88" y="208"/>
                  </a:cxn>
                  <a:cxn ang="0">
                    <a:pos x="81" y="202"/>
                  </a:cxn>
                  <a:cxn ang="0">
                    <a:pos x="71" y="209"/>
                  </a:cxn>
                  <a:cxn ang="0">
                    <a:pos x="50" y="219"/>
                  </a:cxn>
                  <a:cxn ang="0">
                    <a:pos x="41" y="228"/>
                  </a:cxn>
                  <a:cxn ang="0">
                    <a:pos x="27" y="213"/>
                  </a:cxn>
                  <a:cxn ang="0">
                    <a:pos x="4" y="186"/>
                  </a:cxn>
                  <a:cxn ang="0">
                    <a:pos x="0" y="177"/>
                  </a:cxn>
                  <a:cxn ang="0">
                    <a:pos x="2" y="173"/>
                  </a:cxn>
                  <a:cxn ang="0">
                    <a:pos x="12" y="164"/>
                  </a:cxn>
                  <a:cxn ang="0">
                    <a:pos x="21" y="155"/>
                  </a:cxn>
                  <a:cxn ang="0">
                    <a:pos x="22" y="151"/>
                  </a:cxn>
                  <a:cxn ang="0">
                    <a:pos x="19" y="142"/>
                  </a:cxn>
                  <a:cxn ang="0">
                    <a:pos x="12" y="135"/>
                  </a:cxn>
                  <a:cxn ang="0">
                    <a:pos x="4" y="127"/>
                  </a:cxn>
                  <a:cxn ang="0">
                    <a:pos x="0" y="118"/>
                  </a:cxn>
                  <a:cxn ang="0">
                    <a:pos x="2" y="114"/>
                  </a:cxn>
                  <a:cxn ang="0">
                    <a:pos x="5" y="107"/>
                  </a:cxn>
                  <a:cxn ang="0">
                    <a:pos x="18" y="98"/>
                  </a:cxn>
                  <a:cxn ang="0">
                    <a:pos x="37" y="88"/>
                  </a:cxn>
                  <a:cxn ang="0">
                    <a:pos x="54" y="76"/>
                  </a:cxn>
                  <a:cxn ang="0">
                    <a:pos x="59" y="70"/>
                  </a:cxn>
                  <a:cxn ang="0">
                    <a:pos x="63" y="63"/>
                  </a:cxn>
                  <a:cxn ang="0">
                    <a:pos x="67" y="44"/>
                  </a:cxn>
                  <a:cxn ang="0">
                    <a:pos x="69" y="21"/>
                  </a:cxn>
                  <a:cxn ang="0">
                    <a:pos x="73" y="13"/>
                  </a:cxn>
                  <a:cxn ang="0">
                    <a:pos x="80" y="6"/>
                  </a:cxn>
                  <a:cxn ang="0">
                    <a:pos x="92" y="2"/>
                  </a:cxn>
                  <a:cxn ang="0">
                    <a:pos x="111" y="0"/>
                  </a:cxn>
                  <a:cxn ang="0">
                    <a:pos x="133" y="0"/>
                  </a:cxn>
                  <a:cxn ang="0">
                    <a:pos x="158" y="3"/>
                  </a:cxn>
                  <a:cxn ang="0">
                    <a:pos x="182" y="9"/>
                  </a:cxn>
                  <a:cxn ang="0">
                    <a:pos x="194" y="15"/>
                  </a:cxn>
                  <a:cxn ang="0">
                    <a:pos x="195" y="19"/>
                  </a:cxn>
                  <a:cxn ang="0">
                    <a:pos x="202" y="35"/>
                  </a:cxn>
                  <a:cxn ang="0">
                    <a:pos x="203" y="56"/>
                  </a:cxn>
                  <a:cxn ang="0">
                    <a:pos x="209" y="63"/>
                  </a:cxn>
                  <a:cxn ang="0">
                    <a:pos x="220" y="66"/>
                  </a:cxn>
                  <a:cxn ang="0">
                    <a:pos x="220" y="82"/>
                  </a:cxn>
                  <a:cxn ang="0">
                    <a:pos x="224" y="101"/>
                  </a:cxn>
                  <a:cxn ang="0">
                    <a:pos x="228" y="110"/>
                  </a:cxn>
                  <a:cxn ang="0">
                    <a:pos x="232" y="114"/>
                  </a:cxn>
                  <a:cxn ang="0">
                    <a:pos x="235" y="114"/>
                  </a:cxn>
                </a:cxnLst>
                <a:rect l="0" t="0" r="r" b="b"/>
                <a:pathLst>
                  <a:path w="235" h="228">
                    <a:moveTo>
                      <a:pt x="235" y="114"/>
                    </a:moveTo>
                    <a:lnTo>
                      <a:pt x="235" y="114"/>
                    </a:lnTo>
                    <a:lnTo>
                      <a:pt x="225" y="120"/>
                    </a:lnTo>
                    <a:lnTo>
                      <a:pt x="212" y="126"/>
                    </a:lnTo>
                    <a:lnTo>
                      <a:pt x="183" y="140"/>
                    </a:lnTo>
                    <a:lnTo>
                      <a:pt x="170" y="148"/>
                    </a:lnTo>
                    <a:lnTo>
                      <a:pt x="158" y="157"/>
                    </a:lnTo>
                    <a:lnTo>
                      <a:pt x="153" y="162"/>
                    </a:lnTo>
                    <a:lnTo>
                      <a:pt x="150" y="166"/>
                    </a:lnTo>
                    <a:lnTo>
                      <a:pt x="149" y="172"/>
                    </a:lnTo>
                    <a:lnTo>
                      <a:pt x="148" y="177"/>
                    </a:lnTo>
                    <a:lnTo>
                      <a:pt x="148" y="177"/>
                    </a:lnTo>
                    <a:lnTo>
                      <a:pt x="148" y="202"/>
                    </a:lnTo>
                    <a:lnTo>
                      <a:pt x="148" y="202"/>
                    </a:lnTo>
                    <a:lnTo>
                      <a:pt x="148" y="205"/>
                    </a:lnTo>
                    <a:lnTo>
                      <a:pt x="145" y="209"/>
                    </a:lnTo>
                    <a:lnTo>
                      <a:pt x="143" y="212"/>
                    </a:lnTo>
                    <a:lnTo>
                      <a:pt x="140" y="217"/>
                    </a:lnTo>
                    <a:lnTo>
                      <a:pt x="135" y="219"/>
                    </a:lnTo>
                    <a:lnTo>
                      <a:pt x="129" y="223"/>
                    </a:lnTo>
                    <a:lnTo>
                      <a:pt x="122" y="224"/>
                    </a:lnTo>
                    <a:lnTo>
                      <a:pt x="114" y="225"/>
                    </a:lnTo>
                    <a:lnTo>
                      <a:pt x="114" y="225"/>
                    </a:lnTo>
                    <a:lnTo>
                      <a:pt x="109" y="224"/>
                    </a:lnTo>
                    <a:lnTo>
                      <a:pt x="104" y="221"/>
                    </a:lnTo>
                    <a:lnTo>
                      <a:pt x="99" y="219"/>
                    </a:lnTo>
                    <a:lnTo>
                      <a:pt x="95" y="215"/>
                    </a:lnTo>
                    <a:lnTo>
                      <a:pt x="88" y="208"/>
                    </a:lnTo>
                    <a:lnTo>
                      <a:pt x="81" y="202"/>
                    </a:lnTo>
                    <a:lnTo>
                      <a:pt x="81" y="202"/>
                    </a:lnTo>
                    <a:lnTo>
                      <a:pt x="75" y="206"/>
                    </a:lnTo>
                    <a:lnTo>
                      <a:pt x="71" y="209"/>
                    </a:lnTo>
                    <a:lnTo>
                      <a:pt x="59" y="213"/>
                    </a:lnTo>
                    <a:lnTo>
                      <a:pt x="50" y="219"/>
                    </a:lnTo>
                    <a:lnTo>
                      <a:pt x="45" y="224"/>
                    </a:lnTo>
                    <a:lnTo>
                      <a:pt x="41" y="228"/>
                    </a:lnTo>
                    <a:lnTo>
                      <a:pt x="41" y="228"/>
                    </a:lnTo>
                    <a:lnTo>
                      <a:pt x="27" y="213"/>
                    </a:lnTo>
                    <a:lnTo>
                      <a:pt x="14" y="198"/>
                    </a:lnTo>
                    <a:lnTo>
                      <a:pt x="4" y="186"/>
                    </a:lnTo>
                    <a:lnTo>
                      <a:pt x="2" y="180"/>
                    </a:lnTo>
                    <a:lnTo>
                      <a:pt x="0" y="177"/>
                    </a:lnTo>
                    <a:lnTo>
                      <a:pt x="0" y="177"/>
                    </a:lnTo>
                    <a:lnTo>
                      <a:pt x="2" y="173"/>
                    </a:lnTo>
                    <a:lnTo>
                      <a:pt x="4" y="170"/>
                    </a:lnTo>
                    <a:lnTo>
                      <a:pt x="12" y="164"/>
                    </a:lnTo>
                    <a:lnTo>
                      <a:pt x="19" y="158"/>
                    </a:lnTo>
                    <a:lnTo>
                      <a:pt x="21" y="155"/>
                    </a:lnTo>
                    <a:lnTo>
                      <a:pt x="22" y="151"/>
                    </a:lnTo>
                    <a:lnTo>
                      <a:pt x="22" y="151"/>
                    </a:lnTo>
                    <a:lnTo>
                      <a:pt x="21" y="147"/>
                    </a:lnTo>
                    <a:lnTo>
                      <a:pt x="19" y="142"/>
                    </a:lnTo>
                    <a:lnTo>
                      <a:pt x="15" y="139"/>
                    </a:lnTo>
                    <a:lnTo>
                      <a:pt x="12" y="135"/>
                    </a:lnTo>
                    <a:lnTo>
                      <a:pt x="7" y="132"/>
                    </a:lnTo>
                    <a:lnTo>
                      <a:pt x="4" y="127"/>
                    </a:lnTo>
                    <a:lnTo>
                      <a:pt x="2" y="124"/>
                    </a:lnTo>
                    <a:lnTo>
                      <a:pt x="0" y="118"/>
                    </a:lnTo>
                    <a:lnTo>
                      <a:pt x="0" y="118"/>
                    </a:lnTo>
                    <a:lnTo>
                      <a:pt x="2" y="114"/>
                    </a:lnTo>
                    <a:lnTo>
                      <a:pt x="3" y="111"/>
                    </a:lnTo>
                    <a:lnTo>
                      <a:pt x="5" y="107"/>
                    </a:lnTo>
                    <a:lnTo>
                      <a:pt x="8" y="104"/>
                    </a:lnTo>
                    <a:lnTo>
                      <a:pt x="18" y="98"/>
                    </a:lnTo>
                    <a:lnTo>
                      <a:pt x="27" y="93"/>
                    </a:lnTo>
                    <a:lnTo>
                      <a:pt x="37" y="88"/>
                    </a:lnTo>
                    <a:lnTo>
                      <a:pt x="48" y="82"/>
                    </a:lnTo>
                    <a:lnTo>
                      <a:pt x="54" y="76"/>
                    </a:lnTo>
                    <a:lnTo>
                      <a:pt x="58" y="73"/>
                    </a:lnTo>
                    <a:lnTo>
                      <a:pt x="59" y="70"/>
                    </a:lnTo>
                    <a:lnTo>
                      <a:pt x="59" y="70"/>
                    </a:lnTo>
                    <a:lnTo>
                      <a:pt x="63" y="63"/>
                    </a:lnTo>
                    <a:lnTo>
                      <a:pt x="65" y="57"/>
                    </a:lnTo>
                    <a:lnTo>
                      <a:pt x="67" y="44"/>
                    </a:lnTo>
                    <a:lnTo>
                      <a:pt x="68" y="32"/>
                    </a:lnTo>
                    <a:lnTo>
                      <a:pt x="69" y="21"/>
                    </a:lnTo>
                    <a:lnTo>
                      <a:pt x="72" y="17"/>
                    </a:lnTo>
                    <a:lnTo>
                      <a:pt x="73" y="13"/>
                    </a:lnTo>
                    <a:lnTo>
                      <a:pt x="76" y="10"/>
                    </a:lnTo>
                    <a:lnTo>
                      <a:pt x="80" y="6"/>
                    </a:lnTo>
                    <a:lnTo>
                      <a:pt x="86" y="4"/>
                    </a:lnTo>
                    <a:lnTo>
                      <a:pt x="92" y="2"/>
                    </a:lnTo>
                    <a:lnTo>
                      <a:pt x="100" y="0"/>
                    </a:lnTo>
                    <a:lnTo>
                      <a:pt x="111" y="0"/>
                    </a:lnTo>
                    <a:lnTo>
                      <a:pt x="111" y="0"/>
                    </a:lnTo>
                    <a:lnTo>
                      <a:pt x="133" y="0"/>
                    </a:lnTo>
                    <a:lnTo>
                      <a:pt x="145" y="2"/>
                    </a:lnTo>
                    <a:lnTo>
                      <a:pt x="158" y="3"/>
                    </a:lnTo>
                    <a:lnTo>
                      <a:pt x="171" y="5"/>
                    </a:lnTo>
                    <a:lnTo>
                      <a:pt x="182" y="9"/>
                    </a:lnTo>
                    <a:lnTo>
                      <a:pt x="190" y="13"/>
                    </a:lnTo>
                    <a:lnTo>
                      <a:pt x="194" y="15"/>
                    </a:lnTo>
                    <a:lnTo>
                      <a:pt x="195" y="19"/>
                    </a:lnTo>
                    <a:lnTo>
                      <a:pt x="195" y="19"/>
                    </a:lnTo>
                    <a:lnTo>
                      <a:pt x="199" y="27"/>
                    </a:lnTo>
                    <a:lnTo>
                      <a:pt x="202" y="35"/>
                    </a:lnTo>
                    <a:lnTo>
                      <a:pt x="203" y="50"/>
                    </a:lnTo>
                    <a:lnTo>
                      <a:pt x="203" y="56"/>
                    </a:lnTo>
                    <a:lnTo>
                      <a:pt x="206" y="60"/>
                    </a:lnTo>
                    <a:lnTo>
                      <a:pt x="209" y="63"/>
                    </a:lnTo>
                    <a:lnTo>
                      <a:pt x="212" y="64"/>
                    </a:lnTo>
                    <a:lnTo>
                      <a:pt x="220" y="66"/>
                    </a:lnTo>
                    <a:lnTo>
                      <a:pt x="220" y="66"/>
                    </a:lnTo>
                    <a:lnTo>
                      <a:pt x="220" y="82"/>
                    </a:lnTo>
                    <a:lnTo>
                      <a:pt x="221" y="95"/>
                    </a:lnTo>
                    <a:lnTo>
                      <a:pt x="224" y="101"/>
                    </a:lnTo>
                    <a:lnTo>
                      <a:pt x="225" y="105"/>
                    </a:lnTo>
                    <a:lnTo>
                      <a:pt x="228" y="110"/>
                    </a:lnTo>
                    <a:lnTo>
                      <a:pt x="232" y="114"/>
                    </a:lnTo>
                    <a:lnTo>
                      <a:pt x="232" y="114"/>
                    </a:lnTo>
                    <a:lnTo>
                      <a:pt x="235" y="114"/>
                    </a:lnTo>
                    <a:lnTo>
                      <a:pt x="235" y="11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4" name="Freeform 119"/>
              <p:cNvSpPr>
                <a:spLocks noChangeAspect="1"/>
              </p:cNvSpPr>
              <p:nvPr/>
            </p:nvSpPr>
            <p:spPr bwMode="auto">
              <a:xfrm>
                <a:off x="4317106" y="5008959"/>
                <a:ext cx="743416" cy="423041"/>
              </a:xfrm>
              <a:custGeom>
                <a:avLst/>
                <a:gdLst/>
                <a:ahLst/>
                <a:cxnLst>
                  <a:cxn ang="0">
                    <a:pos x="184" y="532"/>
                  </a:cxn>
                  <a:cxn ang="0">
                    <a:pos x="277" y="481"/>
                  </a:cxn>
                  <a:cxn ang="0">
                    <a:pos x="350" y="469"/>
                  </a:cxn>
                  <a:cxn ang="0">
                    <a:pos x="448" y="480"/>
                  </a:cxn>
                  <a:cxn ang="0">
                    <a:pos x="510" y="507"/>
                  </a:cxn>
                  <a:cxn ang="0">
                    <a:pos x="515" y="521"/>
                  </a:cxn>
                  <a:cxn ang="0">
                    <a:pos x="534" y="565"/>
                  </a:cxn>
                  <a:cxn ang="0">
                    <a:pos x="592" y="581"/>
                  </a:cxn>
                  <a:cxn ang="0">
                    <a:pos x="728" y="583"/>
                  </a:cxn>
                  <a:cxn ang="0">
                    <a:pos x="835" y="567"/>
                  </a:cxn>
                  <a:cxn ang="0">
                    <a:pos x="882" y="524"/>
                  </a:cxn>
                  <a:cxn ang="0">
                    <a:pos x="889" y="473"/>
                  </a:cxn>
                  <a:cxn ang="0">
                    <a:pos x="852" y="433"/>
                  </a:cxn>
                  <a:cxn ang="0">
                    <a:pos x="835" y="392"/>
                  </a:cxn>
                  <a:cxn ang="0">
                    <a:pos x="844" y="343"/>
                  </a:cxn>
                  <a:cxn ang="0">
                    <a:pos x="893" y="261"/>
                  </a:cxn>
                  <a:cxn ang="0">
                    <a:pos x="907" y="219"/>
                  </a:cxn>
                  <a:cxn ang="0">
                    <a:pos x="879" y="176"/>
                  </a:cxn>
                  <a:cxn ang="0">
                    <a:pos x="886" y="146"/>
                  </a:cxn>
                  <a:cxn ang="0">
                    <a:pos x="893" y="135"/>
                  </a:cxn>
                  <a:cxn ang="0">
                    <a:pos x="886" y="106"/>
                  </a:cxn>
                  <a:cxn ang="0">
                    <a:pos x="923" y="99"/>
                  </a:cxn>
                  <a:cxn ang="0">
                    <a:pos x="926" y="79"/>
                  </a:cxn>
                  <a:cxn ang="0">
                    <a:pos x="893" y="66"/>
                  </a:cxn>
                  <a:cxn ang="0">
                    <a:pos x="856" y="77"/>
                  </a:cxn>
                  <a:cxn ang="0">
                    <a:pos x="801" y="61"/>
                  </a:cxn>
                  <a:cxn ang="0">
                    <a:pos x="744" y="23"/>
                  </a:cxn>
                  <a:cxn ang="0">
                    <a:pos x="706" y="0"/>
                  </a:cxn>
                  <a:cxn ang="0">
                    <a:pos x="674" y="7"/>
                  </a:cxn>
                  <a:cxn ang="0">
                    <a:pos x="676" y="26"/>
                  </a:cxn>
                  <a:cxn ang="0">
                    <a:pos x="618" y="37"/>
                  </a:cxn>
                  <a:cxn ang="0">
                    <a:pos x="523" y="66"/>
                  </a:cxn>
                  <a:cxn ang="0">
                    <a:pos x="515" y="84"/>
                  </a:cxn>
                  <a:cxn ang="0">
                    <a:pos x="508" y="124"/>
                  </a:cxn>
                  <a:cxn ang="0">
                    <a:pos x="486" y="135"/>
                  </a:cxn>
                  <a:cxn ang="0">
                    <a:pos x="463" y="176"/>
                  </a:cxn>
                  <a:cxn ang="0">
                    <a:pos x="415" y="262"/>
                  </a:cxn>
                  <a:cxn ang="0">
                    <a:pos x="352" y="309"/>
                  </a:cxn>
                  <a:cxn ang="0">
                    <a:pos x="288" y="319"/>
                  </a:cxn>
                  <a:cxn ang="0">
                    <a:pos x="255" y="300"/>
                  </a:cxn>
                  <a:cxn ang="0">
                    <a:pos x="175" y="281"/>
                  </a:cxn>
                  <a:cxn ang="0">
                    <a:pos x="130" y="266"/>
                  </a:cxn>
                  <a:cxn ang="0">
                    <a:pos x="121" y="283"/>
                  </a:cxn>
                  <a:cxn ang="0">
                    <a:pos x="115" y="320"/>
                  </a:cxn>
                  <a:cxn ang="0">
                    <a:pos x="74" y="349"/>
                  </a:cxn>
                  <a:cxn ang="0">
                    <a:pos x="37" y="349"/>
                  </a:cxn>
                  <a:cxn ang="0">
                    <a:pos x="0" y="362"/>
                  </a:cxn>
                  <a:cxn ang="0">
                    <a:pos x="19" y="421"/>
                  </a:cxn>
                  <a:cxn ang="0">
                    <a:pos x="35" y="450"/>
                  </a:cxn>
                  <a:cxn ang="0">
                    <a:pos x="86" y="496"/>
                  </a:cxn>
                  <a:cxn ang="0">
                    <a:pos x="96" y="525"/>
                  </a:cxn>
                  <a:cxn ang="0">
                    <a:pos x="68" y="529"/>
                  </a:cxn>
                  <a:cxn ang="0">
                    <a:pos x="56" y="552"/>
                  </a:cxn>
                  <a:cxn ang="0">
                    <a:pos x="61" y="580"/>
                  </a:cxn>
                  <a:cxn ang="0">
                    <a:pos x="82" y="609"/>
                  </a:cxn>
                </a:cxnLst>
                <a:rect l="0" t="0" r="r" b="b"/>
                <a:pathLst>
                  <a:path w="938" h="609">
                    <a:moveTo>
                      <a:pt x="82" y="609"/>
                    </a:moveTo>
                    <a:lnTo>
                      <a:pt x="82" y="609"/>
                    </a:lnTo>
                    <a:lnTo>
                      <a:pt x="110" y="589"/>
                    </a:lnTo>
                    <a:lnTo>
                      <a:pt x="136" y="568"/>
                    </a:lnTo>
                    <a:lnTo>
                      <a:pt x="184" y="532"/>
                    </a:lnTo>
                    <a:lnTo>
                      <a:pt x="207" y="514"/>
                    </a:lnTo>
                    <a:lnTo>
                      <a:pt x="231" y="501"/>
                    </a:lnTo>
                    <a:lnTo>
                      <a:pt x="254" y="489"/>
                    </a:lnTo>
                    <a:lnTo>
                      <a:pt x="265" y="484"/>
                    </a:lnTo>
                    <a:lnTo>
                      <a:pt x="277" y="481"/>
                    </a:lnTo>
                    <a:lnTo>
                      <a:pt x="277" y="481"/>
                    </a:lnTo>
                    <a:lnTo>
                      <a:pt x="293" y="475"/>
                    </a:lnTo>
                    <a:lnTo>
                      <a:pt x="311" y="472"/>
                    </a:lnTo>
                    <a:lnTo>
                      <a:pt x="331" y="471"/>
                    </a:lnTo>
                    <a:lnTo>
                      <a:pt x="350" y="469"/>
                    </a:lnTo>
                    <a:lnTo>
                      <a:pt x="371" y="469"/>
                    </a:lnTo>
                    <a:lnTo>
                      <a:pt x="390" y="471"/>
                    </a:lnTo>
                    <a:lnTo>
                      <a:pt x="411" y="473"/>
                    </a:lnTo>
                    <a:lnTo>
                      <a:pt x="431" y="476"/>
                    </a:lnTo>
                    <a:lnTo>
                      <a:pt x="448" y="480"/>
                    </a:lnTo>
                    <a:lnTo>
                      <a:pt x="465" y="484"/>
                    </a:lnTo>
                    <a:lnTo>
                      <a:pt x="480" y="489"/>
                    </a:lnTo>
                    <a:lnTo>
                      <a:pt x="493" y="495"/>
                    </a:lnTo>
                    <a:lnTo>
                      <a:pt x="503" y="502"/>
                    </a:lnTo>
                    <a:lnTo>
                      <a:pt x="510" y="507"/>
                    </a:lnTo>
                    <a:lnTo>
                      <a:pt x="512" y="511"/>
                    </a:lnTo>
                    <a:lnTo>
                      <a:pt x="515" y="514"/>
                    </a:lnTo>
                    <a:lnTo>
                      <a:pt x="515" y="518"/>
                    </a:lnTo>
                    <a:lnTo>
                      <a:pt x="515" y="521"/>
                    </a:lnTo>
                    <a:lnTo>
                      <a:pt x="515" y="521"/>
                    </a:lnTo>
                    <a:lnTo>
                      <a:pt x="515" y="533"/>
                    </a:lnTo>
                    <a:lnTo>
                      <a:pt x="517" y="543"/>
                    </a:lnTo>
                    <a:lnTo>
                      <a:pt x="520" y="551"/>
                    </a:lnTo>
                    <a:lnTo>
                      <a:pt x="527" y="559"/>
                    </a:lnTo>
                    <a:lnTo>
                      <a:pt x="534" y="565"/>
                    </a:lnTo>
                    <a:lnTo>
                      <a:pt x="543" y="570"/>
                    </a:lnTo>
                    <a:lnTo>
                      <a:pt x="554" y="574"/>
                    </a:lnTo>
                    <a:lnTo>
                      <a:pt x="567" y="578"/>
                    </a:lnTo>
                    <a:lnTo>
                      <a:pt x="579" y="580"/>
                    </a:lnTo>
                    <a:lnTo>
                      <a:pt x="592" y="581"/>
                    </a:lnTo>
                    <a:lnTo>
                      <a:pt x="621" y="583"/>
                    </a:lnTo>
                    <a:lnTo>
                      <a:pt x="651" y="583"/>
                    </a:lnTo>
                    <a:lnTo>
                      <a:pt x="680" y="583"/>
                    </a:lnTo>
                    <a:lnTo>
                      <a:pt x="680" y="583"/>
                    </a:lnTo>
                    <a:lnTo>
                      <a:pt x="728" y="583"/>
                    </a:lnTo>
                    <a:lnTo>
                      <a:pt x="769" y="581"/>
                    </a:lnTo>
                    <a:lnTo>
                      <a:pt x="787" y="579"/>
                    </a:lnTo>
                    <a:lnTo>
                      <a:pt x="805" y="575"/>
                    </a:lnTo>
                    <a:lnTo>
                      <a:pt x="820" y="572"/>
                    </a:lnTo>
                    <a:lnTo>
                      <a:pt x="835" y="567"/>
                    </a:lnTo>
                    <a:lnTo>
                      <a:pt x="847" y="562"/>
                    </a:lnTo>
                    <a:lnTo>
                      <a:pt x="858" y="555"/>
                    </a:lnTo>
                    <a:lnTo>
                      <a:pt x="868" y="545"/>
                    </a:lnTo>
                    <a:lnTo>
                      <a:pt x="875" y="535"/>
                    </a:lnTo>
                    <a:lnTo>
                      <a:pt x="882" y="524"/>
                    </a:lnTo>
                    <a:lnTo>
                      <a:pt x="886" y="510"/>
                    </a:lnTo>
                    <a:lnTo>
                      <a:pt x="889" y="495"/>
                    </a:lnTo>
                    <a:lnTo>
                      <a:pt x="890" y="476"/>
                    </a:lnTo>
                    <a:lnTo>
                      <a:pt x="890" y="476"/>
                    </a:lnTo>
                    <a:lnTo>
                      <a:pt x="889" y="473"/>
                    </a:lnTo>
                    <a:lnTo>
                      <a:pt x="888" y="468"/>
                    </a:lnTo>
                    <a:lnTo>
                      <a:pt x="881" y="460"/>
                    </a:lnTo>
                    <a:lnTo>
                      <a:pt x="873" y="452"/>
                    </a:lnTo>
                    <a:lnTo>
                      <a:pt x="862" y="443"/>
                    </a:lnTo>
                    <a:lnTo>
                      <a:pt x="852" y="433"/>
                    </a:lnTo>
                    <a:lnTo>
                      <a:pt x="844" y="421"/>
                    </a:lnTo>
                    <a:lnTo>
                      <a:pt x="840" y="414"/>
                    </a:lnTo>
                    <a:lnTo>
                      <a:pt x="837" y="407"/>
                    </a:lnTo>
                    <a:lnTo>
                      <a:pt x="836" y="400"/>
                    </a:lnTo>
                    <a:lnTo>
                      <a:pt x="835" y="392"/>
                    </a:lnTo>
                    <a:lnTo>
                      <a:pt x="835" y="392"/>
                    </a:lnTo>
                    <a:lnTo>
                      <a:pt x="836" y="380"/>
                    </a:lnTo>
                    <a:lnTo>
                      <a:pt x="837" y="367"/>
                    </a:lnTo>
                    <a:lnTo>
                      <a:pt x="840" y="356"/>
                    </a:lnTo>
                    <a:lnTo>
                      <a:pt x="844" y="343"/>
                    </a:lnTo>
                    <a:lnTo>
                      <a:pt x="850" y="333"/>
                    </a:lnTo>
                    <a:lnTo>
                      <a:pt x="854" y="321"/>
                    </a:lnTo>
                    <a:lnTo>
                      <a:pt x="867" y="300"/>
                    </a:lnTo>
                    <a:lnTo>
                      <a:pt x="881" y="281"/>
                    </a:lnTo>
                    <a:lnTo>
                      <a:pt x="893" y="261"/>
                    </a:lnTo>
                    <a:lnTo>
                      <a:pt x="906" y="244"/>
                    </a:lnTo>
                    <a:lnTo>
                      <a:pt x="915" y="227"/>
                    </a:lnTo>
                    <a:lnTo>
                      <a:pt x="915" y="227"/>
                    </a:lnTo>
                    <a:lnTo>
                      <a:pt x="912" y="223"/>
                    </a:lnTo>
                    <a:lnTo>
                      <a:pt x="907" y="219"/>
                    </a:lnTo>
                    <a:lnTo>
                      <a:pt x="894" y="207"/>
                    </a:lnTo>
                    <a:lnTo>
                      <a:pt x="889" y="200"/>
                    </a:lnTo>
                    <a:lnTo>
                      <a:pt x="884" y="193"/>
                    </a:lnTo>
                    <a:lnTo>
                      <a:pt x="881" y="185"/>
                    </a:lnTo>
                    <a:lnTo>
                      <a:pt x="879" y="176"/>
                    </a:lnTo>
                    <a:lnTo>
                      <a:pt x="879" y="176"/>
                    </a:lnTo>
                    <a:lnTo>
                      <a:pt x="879" y="166"/>
                    </a:lnTo>
                    <a:lnTo>
                      <a:pt x="883" y="159"/>
                    </a:lnTo>
                    <a:lnTo>
                      <a:pt x="885" y="152"/>
                    </a:lnTo>
                    <a:lnTo>
                      <a:pt x="886" y="146"/>
                    </a:lnTo>
                    <a:lnTo>
                      <a:pt x="886" y="146"/>
                    </a:lnTo>
                    <a:lnTo>
                      <a:pt x="891" y="143"/>
                    </a:lnTo>
                    <a:lnTo>
                      <a:pt x="892" y="141"/>
                    </a:lnTo>
                    <a:lnTo>
                      <a:pt x="893" y="139"/>
                    </a:lnTo>
                    <a:lnTo>
                      <a:pt x="893" y="135"/>
                    </a:lnTo>
                    <a:lnTo>
                      <a:pt x="891" y="129"/>
                    </a:lnTo>
                    <a:lnTo>
                      <a:pt x="888" y="117"/>
                    </a:lnTo>
                    <a:lnTo>
                      <a:pt x="885" y="112"/>
                    </a:lnTo>
                    <a:lnTo>
                      <a:pt x="886" y="106"/>
                    </a:lnTo>
                    <a:lnTo>
                      <a:pt x="886" y="106"/>
                    </a:lnTo>
                    <a:lnTo>
                      <a:pt x="896" y="108"/>
                    </a:lnTo>
                    <a:lnTo>
                      <a:pt x="904" y="108"/>
                    </a:lnTo>
                    <a:lnTo>
                      <a:pt x="911" y="106"/>
                    </a:lnTo>
                    <a:lnTo>
                      <a:pt x="917" y="102"/>
                    </a:lnTo>
                    <a:lnTo>
                      <a:pt x="923" y="99"/>
                    </a:lnTo>
                    <a:lnTo>
                      <a:pt x="929" y="93"/>
                    </a:lnTo>
                    <a:lnTo>
                      <a:pt x="934" y="87"/>
                    </a:lnTo>
                    <a:lnTo>
                      <a:pt x="938" y="81"/>
                    </a:lnTo>
                    <a:lnTo>
                      <a:pt x="938" y="81"/>
                    </a:lnTo>
                    <a:lnTo>
                      <a:pt x="926" y="79"/>
                    </a:lnTo>
                    <a:lnTo>
                      <a:pt x="913" y="78"/>
                    </a:lnTo>
                    <a:lnTo>
                      <a:pt x="907" y="76"/>
                    </a:lnTo>
                    <a:lnTo>
                      <a:pt x="901" y="74"/>
                    </a:lnTo>
                    <a:lnTo>
                      <a:pt x="897" y="70"/>
                    </a:lnTo>
                    <a:lnTo>
                      <a:pt x="893" y="66"/>
                    </a:lnTo>
                    <a:lnTo>
                      <a:pt x="893" y="66"/>
                    </a:lnTo>
                    <a:lnTo>
                      <a:pt x="884" y="69"/>
                    </a:lnTo>
                    <a:lnTo>
                      <a:pt x="876" y="72"/>
                    </a:lnTo>
                    <a:lnTo>
                      <a:pt x="868" y="76"/>
                    </a:lnTo>
                    <a:lnTo>
                      <a:pt x="856" y="77"/>
                    </a:lnTo>
                    <a:lnTo>
                      <a:pt x="856" y="77"/>
                    </a:lnTo>
                    <a:lnTo>
                      <a:pt x="840" y="76"/>
                    </a:lnTo>
                    <a:lnTo>
                      <a:pt x="827" y="72"/>
                    </a:lnTo>
                    <a:lnTo>
                      <a:pt x="813" y="68"/>
                    </a:lnTo>
                    <a:lnTo>
                      <a:pt x="801" y="61"/>
                    </a:lnTo>
                    <a:lnTo>
                      <a:pt x="777" y="47"/>
                    </a:lnTo>
                    <a:lnTo>
                      <a:pt x="754" y="32"/>
                    </a:lnTo>
                    <a:lnTo>
                      <a:pt x="754" y="32"/>
                    </a:lnTo>
                    <a:lnTo>
                      <a:pt x="747" y="28"/>
                    </a:lnTo>
                    <a:lnTo>
                      <a:pt x="744" y="23"/>
                    </a:lnTo>
                    <a:lnTo>
                      <a:pt x="736" y="11"/>
                    </a:lnTo>
                    <a:lnTo>
                      <a:pt x="731" y="7"/>
                    </a:lnTo>
                    <a:lnTo>
                      <a:pt x="725" y="3"/>
                    </a:lnTo>
                    <a:lnTo>
                      <a:pt x="717" y="0"/>
                    </a:lnTo>
                    <a:lnTo>
                      <a:pt x="706" y="0"/>
                    </a:lnTo>
                    <a:lnTo>
                      <a:pt x="706" y="0"/>
                    </a:lnTo>
                    <a:lnTo>
                      <a:pt x="698" y="1"/>
                    </a:lnTo>
                    <a:lnTo>
                      <a:pt x="690" y="3"/>
                    </a:lnTo>
                    <a:lnTo>
                      <a:pt x="682" y="6"/>
                    </a:lnTo>
                    <a:lnTo>
                      <a:pt x="674" y="7"/>
                    </a:lnTo>
                    <a:lnTo>
                      <a:pt x="674" y="7"/>
                    </a:lnTo>
                    <a:lnTo>
                      <a:pt x="676" y="9"/>
                    </a:lnTo>
                    <a:lnTo>
                      <a:pt x="677" y="13"/>
                    </a:lnTo>
                    <a:lnTo>
                      <a:pt x="677" y="20"/>
                    </a:lnTo>
                    <a:lnTo>
                      <a:pt x="676" y="26"/>
                    </a:lnTo>
                    <a:lnTo>
                      <a:pt x="674" y="32"/>
                    </a:lnTo>
                    <a:lnTo>
                      <a:pt x="674" y="32"/>
                    </a:lnTo>
                    <a:lnTo>
                      <a:pt x="657" y="33"/>
                    </a:lnTo>
                    <a:lnTo>
                      <a:pt x="639" y="34"/>
                    </a:lnTo>
                    <a:lnTo>
                      <a:pt x="618" y="37"/>
                    </a:lnTo>
                    <a:lnTo>
                      <a:pt x="598" y="40"/>
                    </a:lnTo>
                    <a:lnTo>
                      <a:pt x="577" y="45"/>
                    </a:lnTo>
                    <a:lnTo>
                      <a:pt x="556" y="51"/>
                    </a:lnTo>
                    <a:lnTo>
                      <a:pt x="538" y="57"/>
                    </a:lnTo>
                    <a:lnTo>
                      <a:pt x="523" y="66"/>
                    </a:lnTo>
                    <a:lnTo>
                      <a:pt x="523" y="66"/>
                    </a:lnTo>
                    <a:lnTo>
                      <a:pt x="520" y="67"/>
                    </a:lnTo>
                    <a:lnTo>
                      <a:pt x="518" y="70"/>
                    </a:lnTo>
                    <a:lnTo>
                      <a:pt x="516" y="76"/>
                    </a:lnTo>
                    <a:lnTo>
                      <a:pt x="515" y="84"/>
                    </a:lnTo>
                    <a:lnTo>
                      <a:pt x="514" y="93"/>
                    </a:lnTo>
                    <a:lnTo>
                      <a:pt x="512" y="112"/>
                    </a:lnTo>
                    <a:lnTo>
                      <a:pt x="511" y="118"/>
                    </a:lnTo>
                    <a:lnTo>
                      <a:pt x="510" y="122"/>
                    </a:lnTo>
                    <a:lnTo>
                      <a:pt x="508" y="124"/>
                    </a:lnTo>
                    <a:lnTo>
                      <a:pt x="508" y="124"/>
                    </a:lnTo>
                    <a:lnTo>
                      <a:pt x="504" y="127"/>
                    </a:lnTo>
                    <a:lnTo>
                      <a:pt x="501" y="129"/>
                    </a:lnTo>
                    <a:lnTo>
                      <a:pt x="492" y="132"/>
                    </a:lnTo>
                    <a:lnTo>
                      <a:pt x="486" y="135"/>
                    </a:lnTo>
                    <a:lnTo>
                      <a:pt x="481" y="138"/>
                    </a:lnTo>
                    <a:lnTo>
                      <a:pt x="478" y="141"/>
                    </a:lnTo>
                    <a:lnTo>
                      <a:pt x="474" y="146"/>
                    </a:lnTo>
                    <a:lnTo>
                      <a:pt x="474" y="146"/>
                    </a:lnTo>
                    <a:lnTo>
                      <a:pt x="463" y="176"/>
                    </a:lnTo>
                    <a:lnTo>
                      <a:pt x="449" y="206"/>
                    </a:lnTo>
                    <a:lnTo>
                      <a:pt x="441" y="221"/>
                    </a:lnTo>
                    <a:lnTo>
                      <a:pt x="433" y="235"/>
                    </a:lnTo>
                    <a:lnTo>
                      <a:pt x="424" y="249"/>
                    </a:lnTo>
                    <a:lnTo>
                      <a:pt x="415" y="262"/>
                    </a:lnTo>
                    <a:lnTo>
                      <a:pt x="403" y="274"/>
                    </a:lnTo>
                    <a:lnTo>
                      <a:pt x="393" y="285"/>
                    </a:lnTo>
                    <a:lnTo>
                      <a:pt x="380" y="295"/>
                    </a:lnTo>
                    <a:lnTo>
                      <a:pt x="366" y="304"/>
                    </a:lnTo>
                    <a:lnTo>
                      <a:pt x="352" y="309"/>
                    </a:lnTo>
                    <a:lnTo>
                      <a:pt x="336" y="315"/>
                    </a:lnTo>
                    <a:lnTo>
                      <a:pt x="320" y="319"/>
                    </a:lnTo>
                    <a:lnTo>
                      <a:pt x="302" y="320"/>
                    </a:lnTo>
                    <a:lnTo>
                      <a:pt x="302" y="320"/>
                    </a:lnTo>
                    <a:lnTo>
                      <a:pt x="288" y="319"/>
                    </a:lnTo>
                    <a:lnTo>
                      <a:pt x="275" y="315"/>
                    </a:lnTo>
                    <a:lnTo>
                      <a:pt x="270" y="313"/>
                    </a:lnTo>
                    <a:lnTo>
                      <a:pt x="264" y="309"/>
                    </a:lnTo>
                    <a:lnTo>
                      <a:pt x="259" y="306"/>
                    </a:lnTo>
                    <a:lnTo>
                      <a:pt x="255" y="300"/>
                    </a:lnTo>
                    <a:lnTo>
                      <a:pt x="255" y="300"/>
                    </a:lnTo>
                    <a:lnTo>
                      <a:pt x="191" y="300"/>
                    </a:lnTo>
                    <a:lnTo>
                      <a:pt x="191" y="300"/>
                    </a:lnTo>
                    <a:lnTo>
                      <a:pt x="191" y="300"/>
                    </a:lnTo>
                    <a:lnTo>
                      <a:pt x="175" y="281"/>
                    </a:lnTo>
                    <a:lnTo>
                      <a:pt x="163" y="265"/>
                    </a:lnTo>
                    <a:lnTo>
                      <a:pt x="163" y="265"/>
                    </a:lnTo>
                    <a:lnTo>
                      <a:pt x="143" y="263"/>
                    </a:lnTo>
                    <a:lnTo>
                      <a:pt x="134" y="265"/>
                    </a:lnTo>
                    <a:lnTo>
                      <a:pt x="130" y="266"/>
                    </a:lnTo>
                    <a:lnTo>
                      <a:pt x="126" y="268"/>
                    </a:lnTo>
                    <a:lnTo>
                      <a:pt x="126" y="268"/>
                    </a:lnTo>
                    <a:lnTo>
                      <a:pt x="123" y="270"/>
                    </a:lnTo>
                    <a:lnTo>
                      <a:pt x="122" y="275"/>
                    </a:lnTo>
                    <a:lnTo>
                      <a:pt x="121" y="283"/>
                    </a:lnTo>
                    <a:lnTo>
                      <a:pt x="122" y="305"/>
                    </a:lnTo>
                    <a:lnTo>
                      <a:pt x="122" y="305"/>
                    </a:lnTo>
                    <a:lnTo>
                      <a:pt x="121" y="309"/>
                    </a:lnTo>
                    <a:lnTo>
                      <a:pt x="119" y="314"/>
                    </a:lnTo>
                    <a:lnTo>
                      <a:pt x="115" y="320"/>
                    </a:lnTo>
                    <a:lnTo>
                      <a:pt x="111" y="324"/>
                    </a:lnTo>
                    <a:lnTo>
                      <a:pt x="100" y="335"/>
                    </a:lnTo>
                    <a:lnTo>
                      <a:pt x="88" y="343"/>
                    </a:lnTo>
                    <a:lnTo>
                      <a:pt x="81" y="346"/>
                    </a:lnTo>
                    <a:lnTo>
                      <a:pt x="74" y="349"/>
                    </a:lnTo>
                    <a:lnTo>
                      <a:pt x="67" y="351"/>
                    </a:lnTo>
                    <a:lnTo>
                      <a:pt x="59" y="351"/>
                    </a:lnTo>
                    <a:lnTo>
                      <a:pt x="52" y="351"/>
                    </a:lnTo>
                    <a:lnTo>
                      <a:pt x="44" y="351"/>
                    </a:lnTo>
                    <a:lnTo>
                      <a:pt x="37" y="349"/>
                    </a:lnTo>
                    <a:lnTo>
                      <a:pt x="30" y="345"/>
                    </a:lnTo>
                    <a:lnTo>
                      <a:pt x="30" y="345"/>
                    </a:lnTo>
                    <a:lnTo>
                      <a:pt x="0" y="345"/>
                    </a:lnTo>
                    <a:lnTo>
                      <a:pt x="0" y="362"/>
                    </a:lnTo>
                    <a:lnTo>
                      <a:pt x="0" y="362"/>
                    </a:lnTo>
                    <a:lnTo>
                      <a:pt x="0" y="362"/>
                    </a:lnTo>
                    <a:lnTo>
                      <a:pt x="6" y="374"/>
                    </a:lnTo>
                    <a:lnTo>
                      <a:pt x="11" y="387"/>
                    </a:lnTo>
                    <a:lnTo>
                      <a:pt x="15" y="402"/>
                    </a:lnTo>
                    <a:lnTo>
                      <a:pt x="19" y="421"/>
                    </a:lnTo>
                    <a:lnTo>
                      <a:pt x="19" y="421"/>
                    </a:lnTo>
                    <a:lnTo>
                      <a:pt x="21" y="429"/>
                    </a:lnTo>
                    <a:lnTo>
                      <a:pt x="25" y="437"/>
                    </a:lnTo>
                    <a:lnTo>
                      <a:pt x="29" y="444"/>
                    </a:lnTo>
                    <a:lnTo>
                      <a:pt x="35" y="450"/>
                    </a:lnTo>
                    <a:lnTo>
                      <a:pt x="46" y="461"/>
                    </a:lnTo>
                    <a:lnTo>
                      <a:pt x="60" y="473"/>
                    </a:lnTo>
                    <a:lnTo>
                      <a:pt x="74" y="484"/>
                    </a:lnTo>
                    <a:lnTo>
                      <a:pt x="80" y="490"/>
                    </a:lnTo>
                    <a:lnTo>
                      <a:pt x="86" y="496"/>
                    </a:lnTo>
                    <a:lnTo>
                      <a:pt x="90" y="503"/>
                    </a:lnTo>
                    <a:lnTo>
                      <a:pt x="94" y="510"/>
                    </a:lnTo>
                    <a:lnTo>
                      <a:pt x="96" y="517"/>
                    </a:lnTo>
                    <a:lnTo>
                      <a:pt x="96" y="525"/>
                    </a:lnTo>
                    <a:lnTo>
                      <a:pt x="96" y="525"/>
                    </a:lnTo>
                    <a:lnTo>
                      <a:pt x="79" y="525"/>
                    </a:lnTo>
                    <a:lnTo>
                      <a:pt x="79" y="525"/>
                    </a:lnTo>
                    <a:lnTo>
                      <a:pt x="79" y="525"/>
                    </a:lnTo>
                    <a:lnTo>
                      <a:pt x="73" y="527"/>
                    </a:lnTo>
                    <a:lnTo>
                      <a:pt x="68" y="529"/>
                    </a:lnTo>
                    <a:lnTo>
                      <a:pt x="65" y="533"/>
                    </a:lnTo>
                    <a:lnTo>
                      <a:pt x="61" y="537"/>
                    </a:lnTo>
                    <a:lnTo>
                      <a:pt x="59" y="542"/>
                    </a:lnTo>
                    <a:lnTo>
                      <a:pt x="57" y="548"/>
                    </a:lnTo>
                    <a:lnTo>
                      <a:pt x="56" y="552"/>
                    </a:lnTo>
                    <a:lnTo>
                      <a:pt x="56" y="558"/>
                    </a:lnTo>
                    <a:lnTo>
                      <a:pt x="56" y="558"/>
                    </a:lnTo>
                    <a:lnTo>
                      <a:pt x="57" y="566"/>
                    </a:lnTo>
                    <a:lnTo>
                      <a:pt x="59" y="573"/>
                    </a:lnTo>
                    <a:lnTo>
                      <a:pt x="61" y="580"/>
                    </a:lnTo>
                    <a:lnTo>
                      <a:pt x="66" y="586"/>
                    </a:lnTo>
                    <a:lnTo>
                      <a:pt x="74" y="597"/>
                    </a:lnTo>
                    <a:lnTo>
                      <a:pt x="82" y="605"/>
                    </a:lnTo>
                    <a:lnTo>
                      <a:pt x="82" y="605"/>
                    </a:lnTo>
                    <a:lnTo>
                      <a:pt x="82" y="609"/>
                    </a:lnTo>
                    <a:lnTo>
                      <a:pt x="82" y="60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5" name="Freeform 120"/>
              <p:cNvSpPr>
                <a:spLocks noChangeAspect="1"/>
              </p:cNvSpPr>
              <p:nvPr/>
            </p:nvSpPr>
            <p:spPr bwMode="auto">
              <a:xfrm>
                <a:off x="4250533" y="4846145"/>
                <a:ext cx="288490" cy="432782"/>
              </a:xfrm>
              <a:custGeom>
                <a:avLst/>
                <a:gdLst/>
                <a:ahLst/>
                <a:cxnLst>
                  <a:cxn ang="0">
                    <a:pos x="92" y="0"/>
                  </a:cxn>
                  <a:cxn ang="0">
                    <a:pos x="65" y="14"/>
                  </a:cxn>
                  <a:cxn ang="0">
                    <a:pos x="64" y="31"/>
                  </a:cxn>
                  <a:cxn ang="0">
                    <a:pos x="77" y="59"/>
                  </a:cxn>
                  <a:cxn ang="0">
                    <a:pos x="84" y="81"/>
                  </a:cxn>
                  <a:cxn ang="0">
                    <a:pos x="74" y="122"/>
                  </a:cxn>
                  <a:cxn ang="0">
                    <a:pos x="63" y="161"/>
                  </a:cxn>
                  <a:cxn ang="0">
                    <a:pos x="72" y="174"/>
                  </a:cxn>
                  <a:cxn ang="0">
                    <a:pos x="102" y="172"/>
                  </a:cxn>
                  <a:cxn ang="0">
                    <a:pos x="135" y="181"/>
                  </a:cxn>
                  <a:cxn ang="0">
                    <a:pos x="143" y="205"/>
                  </a:cxn>
                  <a:cxn ang="0">
                    <a:pos x="135" y="232"/>
                  </a:cxn>
                  <a:cxn ang="0">
                    <a:pos x="100" y="278"/>
                  </a:cxn>
                  <a:cxn ang="0">
                    <a:pos x="92" y="307"/>
                  </a:cxn>
                  <a:cxn ang="0">
                    <a:pos x="100" y="348"/>
                  </a:cxn>
                  <a:cxn ang="0">
                    <a:pos x="118" y="408"/>
                  </a:cxn>
                  <a:cxn ang="0">
                    <a:pos x="113" y="432"/>
                  </a:cxn>
                  <a:cxn ang="0">
                    <a:pos x="81" y="466"/>
                  </a:cxn>
                  <a:cxn ang="0">
                    <a:pos x="19" y="508"/>
                  </a:cxn>
                  <a:cxn ang="0">
                    <a:pos x="0" y="541"/>
                  </a:cxn>
                  <a:cxn ang="0">
                    <a:pos x="2" y="551"/>
                  </a:cxn>
                  <a:cxn ang="0">
                    <a:pos x="11" y="572"/>
                  </a:cxn>
                  <a:cxn ang="0">
                    <a:pos x="5" y="594"/>
                  </a:cxn>
                  <a:cxn ang="0">
                    <a:pos x="8" y="610"/>
                  </a:cxn>
                  <a:cxn ang="0">
                    <a:pos x="42" y="623"/>
                  </a:cxn>
                  <a:cxn ang="0">
                    <a:pos x="58" y="620"/>
                  </a:cxn>
                  <a:cxn ang="0">
                    <a:pos x="81" y="594"/>
                  </a:cxn>
                  <a:cxn ang="0">
                    <a:pos x="114" y="580"/>
                  </a:cxn>
                  <a:cxn ang="0">
                    <a:pos x="136" y="586"/>
                  </a:cxn>
                  <a:cxn ang="0">
                    <a:pos x="165" y="581"/>
                  </a:cxn>
                  <a:cxn ang="0">
                    <a:pos x="199" y="555"/>
                  </a:cxn>
                  <a:cxn ang="0">
                    <a:pos x="206" y="540"/>
                  </a:cxn>
                  <a:cxn ang="0">
                    <a:pos x="210" y="503"/>
                  </a:cxn>
                  <a:cxn ang="0">
                    <a:pos x="227" y="500"/>
                  </a:cxn>
                  <a:cxn ang="0">
                    <a:pos x="247" y="492"/>
                  </a:cxn>
                  <a:cxn ang="0">
                    <a:pos x="259" y="458"/>
                  </a:cxn>
                  <a:cxn ang="0">
                    <a:pos x="302" y="421"/>
                  </a:cxn>
                  <a:cxn ang="0">
                    <a:pos x="324" y="400"/>
                  </a:cxn>
                  <a:cxn ang="0">
                    <a:pos x="332" y="379"/>
                  </a:cxn>
                  <a:cxn ang="0">
                    <a:pos x="334" y="352"/>
                  </a:cxn>
                  <a:cxn ang="0">
                    <a:pos x="356" y="332"/>
                  </a:cxn>
                  <a:cxn ang="0">
                    <a:pos x="364" y="316"/>
                  </a:cxn>
                  <a:cxn ang="0">
                    <a:pos x="351" y="288"/>
                  </a:cxn>
                  <a:cxn ang="0">
                    <a:pos x="340" y="268"/>
                  </a:cxn>
                  <a:cxn ang="0">
                    <a:pos x="313" y="204"/>
                  </a:cxn>
                  <a:cxn ang="0">
                    <a:pos x="288" y="121"/>
                  </a:cxn>
                  <a:cxn ang="0">
                    <a:pos x="250" y="81"/>
                  </a:cxn>
                  <a:cxn ang="0">
                    <a:pos x="226" y="60"/>
                  </a:cxn>
                  <a:cxn ang="0">
                    <a:pos x="206" y="55"/>
                  </a:cxn>
                  <a:cxn ang="0">
                    <a:pos x="155" y="62"/>
                  </a:cxn>
                  <a:cxn ang="0">
                    <a:pos x="137" y="54"/>
                  </a:cxn>
                  <a:cxn ang="0">
                    <a:pos x="99" y="16"/>
                  </a:cxn>
                  <a:cxn ang="0">
                    <a:pos x="92" y="0"/>
                  </a:cxn>
                </a:cxnLst>
                <a:rect l="0" t="0" r="r" b="b"/>
                <a:pathLst>
                  <a:path w="364" h="624">
                    <a:moveTo>
                      <a:pt x="92" y="0"/>
                    </a:moveTo>
                    <a:lnTo>
                      <a:pt x="92" y="0"/>
                    </a:lnTo>
                    <a:lnTo>
                      <a:pt x="92" y="0"/>
                    </a:lnTo>
                    <a:lnTo>
                      <a:pt x="92" y="0"/>
                    </a:lnTo>
                    <a:lnTo>
                      <a:pt x="81" y="5"/>
                    </a:lnTo>
                    <a:lnTo>
                      <a:pt x="72" y="8"/>
                    </a:lnTo>
                    <a:lnTo>
                      <a:pt x="68" y="11"/>
                    </a:lnTo>
                    <a:lnTo>
                      <a:pt x="65" y="14"/>
                    </a:lnTo>
                    <a:lnTo>
                      <a:pt x="64" y="17"/>
                    </a:lnTo>
                    <a:lnTo>
                      <a:pt x="63" y="22"/>
                    </a:lnTo>
                    <a:lnTo>
                      <a:pt x="63" y="22"/>
                    </a:lnTo>
                    <a:lnTo>
                      <a:pt x="64" y="31"/>
                    </a:lnTo>
                    <a:lnTo>
                      <a:pt x="66" y="39"/>
                    </a:lnTo>
                    <a:lnTo>
                      <a:pt x="69" y="46"/>
                    </a:lnTo>
                    <a:lnTo>
                      <a:pt x="74" y="53"/>
                    </a:lnTo>
                    <a:lnTo>
                      <a:pt x="77" y="59"/>
                    </a:lnTo>
                    <a:lnTo>
                      <a:pt x="81" y="66"/>
                    </a:lnTo>
                    <a:lnTo>
                      <a:pt x="83" y="73"/>
                    </a:lnTo>
                    <a:lnTo>
                      <a:pt x="84" y="81"/>
                    </a:lnTo>
                    <a:lnTo>
                      <a:pt x="84" y="81"/>
                    </a:lnTo>
                    <a:lnTo>
                      <a:pt x="83" y="92"/>
                    </a:lnTo>
                    <a:lnTo>
                      <a:pt x="81" y="103"/>
                    </a:lnTo>
                    <a:lnTo>
                      <a:pt x="77" y="113"/>
                    </a:lnTo>
                    <a:lnTo>
                      <a:pt x="74" y="122"/>
                    </a:lnTo>
                    <a:lnTo>
                      <a:pt x="66" y="142"/>
                    </a:lnTo>
                    <a:lnTo>
                      <a:pt x="64" y="152"/>
                    </a:lnTo>
                    <a:lnTo>
                      <a:pt x="63" y="161"/>
                    </a:lnTo>
                    <a:lnTo>
                      <a:pt x="63" y="161"/>
                    </a:lnTo>
                    <a:lnTo>
                      <a:pt x="64" y="167"/>
                    </a:lnTo>
                    <a:lnTo>
                      <a:pt x="65" y="171"/>
                    </a:lnTo>
                    <a:lnTo>
                      <a:pt x="68" y="173"/>
                    </a:lnTo>
                    <a:lnTo>
                      <a:pt x="72" y="174"/>
                    </a:lnTo>
                    <a:lnTo>
                      <a:pt x="80" y="173"/>
                    </a:lnTo>
                    <a:lnTo>
                      <a:pt x="89" y="172"/>
                    </a:lnTo>
                    <a:lnTo>
                      <a:pt x="89" y="172"/>
                    </a:lnTo>
                    <a:lnTo>
                      <a:pt x="102" y="172"/>
                    </a:lnTo>
                    <a:lnTo>
                      <a:pt x="112" y="172"/>
                    </a:lnTo>
                    <a:lnTo>
                      <a:pt x="122" y="173"/>
                    </a:lnTo>
                    <a:lnTo>
                      <a:pt x="129" y="176"/>
                    </a:lnTo>
                    <a:lnTo>
                      <a:pt x="135" y="181"/>
                    </a:lnTo>
                    <a:lnTo>
                      <a:pt x="140" y="187"/>
                    </a:lnTo>
                    <a:lnTo>
                      <a:pt x="142" y="195"/>
                    </a:lnTo>
                    <a:lnTo>
                      <a:pt x="143" y="205"/>
                    </a:lnTo>
                    <a:lnTo>
                      <a:pt x="143" y="205"/>
                    </a:lnTo>
                    <a:lnTo>
                      <a:pt x="143" y="212"/>
                    </a:lnTo>
                    <a:lnTo>
                      <a:pt x="141" y="219"/>
                    </a:lnTo>
                    <a:lnTo>
                      <a:pt x="138" y="226"/>
                    </a:lnTo>
                    <a:lnTo>
                      <a:pt x="135" y="232"/>
                    </a:lnTo>
                    <a:lnTo>
                      <a:pt x="127" y="243"/>
                    </a:lnTo>
                    <a:lnTo>
                      <a:pt x="118" y="253"/>
                    </a:lnTo>
                    <a:lnTo>
                      <a:pt x="109" y="265"/>
                    </a:lnTo>
                    <a:lnTo>
                      <a:pt x="100" y="278"/>
                    </a:lnTo>
                    <a:lnTo>
                      <a:pt x="97" y="284"/>
                    </a:lnTo>
                    <a:lnTo>
                      <a:pt x="95" y="291"/>
                    </a:lnTo>
                    <a:lnTo>
                      <a:pt x="92" y="299"/>
                    </a:lnTo>
                    <a:lnTo>
                      <a:pt x="92" y="307"/>
                    </a:lnTo>
                    <a:lnTo>
                      <a:pt x="92" y="307"/>
                    </a:lnTo>
                    <a:lnTo>
                      <a:pt x="94" y="321"/>
                    </a:lnTo>
                    <a:lnTo>
                      <a:pt x="96" y="335"/>
                    </a:lnTo>
                    <a:lnTo>
                      <a:pt x="100" y="348"/>
                    </a:lnTo>
                    <a:lnTo>
                      <a:pt x="105" y="360"/>
                    </a:lnTo>
                    <a:lnTo>
                      <a:pt x="114" y="385"/>
                    </a:lnTo>
                    <a:lnTo>
                      <a:pt x="117" y="396"/>
                    </a:lnTo>
                    <a:lnTo>
                      <a:pt x="118" y="408"/>
                    </a:lnTo>
                    <a:lnTo>
                      <a:pt x="118" y="408"/>
                    </a:lnTo>
                    <a:lnTo>
                      <a:pt x="118" y="414"/>
                    </a:lnTo>
                    <a:lnTo>
                      <a:pt x="117" y="420"/>
                    </a:lnTo>
                    <a:lnTo>
                      <a:pt x="113" y="432"/>
                    </a:lnTo>
                    <a:lnTo>
                      <a:pt x="107" y="442"/>
                    </a:lnTo>
                    <a:lnTo>
                      <a:pt x="99" y="451"/>
                    </a:lnTo>
                    <a:lnTo>
                      <a:pt x="91" y="459"/>
                    </a:lnTo>
                    <a:lnTo>
                      <a:pt x="81" y="466"/>
                    </a:lnTo>
                    <a:lnTo>
                      <a:pt x="59" y="480"/>
                    </a:lnTo>
                    <a:lnTo>
                      <a:pt x="37" y="493"/>
                    </a:lnTo>
                    <a:lnTo>
                      <a:pt x="28" y="500"/>
                    </a:lnTo>
                    <a:lnTo>
                      <a:pt x="19" y="508"/>
                    </a:lnTo>
                    <a:lnTo>
                      <a:pt x="11" y="516"/>
                    </a:lnTo>
                    <a:lnTo>
                      <a:pt x="5" y="525"/>
                    </a:lnTo>
                    <a:lnTo>
                      <a:pt x="2" y="535"/>
                    </a:lnTo>
                    <a:lnTo>
                      <a:pt x="0" y="541"/>
                    </a:lnTo>
                    <a:lnTo>
                      <a:pt x="0" y="547"/>
                    </a:lnTo>
                    <a:lnTo>
                      <a:pt x="0" y="547"/>
                    </a:lnTo>
                    <a:lnTo>
                      <a:pt x="0" y="549"/>
                    </a:lnTo>
                    <a:lnTo>
                      <a:pt x="2" y="551"/>
                    </a:lnTo>
                    <a:lnTo>
                      <a:pt x="6" y="555"/>
                    </a:lnTo>
                    <a:lnTo>
                      <a:pt x="11" y="558"/>
                    </a:lnTo>
                    <a:lnTo>
                      <a:pt x="11" y="558"/>
                    </a:lnTo>
                    <a:lnTo>
                      <a:pt x="11" y="572"/>
                    </a:lnTo>
                    <a:lnTo>
                      <a:pt x="11" y="572"/>
                    </a:lnTo>
                    <a:lnTo>
                      <a:pt x="11" y="572"/>
                    </a:lnTo>
                    <a:lnTo>
                      <a:pt x="6" y="587"/>
                    </a:lnTo>
                    <a:lnTo>
                      <a:pt x="5" y="594"/>
                    </a:lnTo>
                    <a:lnTo>
                      <a:pt x="4" y="602"/>
                    </a:lnTo>
                    <a:lnTo>
                      <a:pt x="4" y="602"/>
                    </a:lnTo>
                    <a:lnTo>
                      <a:pt x="5" y="605"/>
                    </a:lnTo>
                    <a:lnTo>
                      <a:pt x="8" y="610"/>
                    </a:lnTo>
                    <a:lnTo>
                      <a:pt x="14" y="614"/>
                    </a:lnTo>
                    <a:lnTo>
                      <a:pt x="20" y="617"/>
                    </a:lnTo>
                    <a:lnTo>
                      <a:pt x="35" y="622"/>
                    </a:lnTo>
                    <a:lnTo>
                      <a:pt x="42" y="623"/>
                    </a:lnTo>
                    <a:lnTo>
                      <a:pt x="48" y="624"/>
                    </a:lnTo>
                    <a:lnTo>
                      <a:pt x="48" y="624"/>
                    </a:lnTo>
                    <a:lnTo>
                      <a:pt x="53" y="623"/>
                    </a:lnTo>
                    <a:lnTo>
                      <a:pt x="58" y="620"/>
                    </a:lnTo>
                    <a:lnTo>
                      <a:pt x="63" y="617"/>
                    </a:lnTo>
                    <a:lnTo>
                      <a:pt x="67" y="612"/>
                    </a:lnTo>
                    <a:lnTo>
                      <a:pt x="75" y="602"/>
                    </a:lnTo>
                    <a:lnTo>
                      <a:pt x="81" y="594"/>
                    </a:lnTo>
                    <a:lnTo>
                      <a:pt x="81" y="594"/>
                    </a:lnTo>
                    <a:lnTo>
                      <a:pt x="84" y="580"/>
                    </a:lnTo>
                    <a:lnTo>
                      <a:pt x="114" y="580"/>
                    </a:lnTo>
                    <a:lnTo>
                      <a:pt x="114" y="580"/>
                    </a:lnTo>
                    <a:lnTo>
                      <a:pt x="114" y="580"/>
                    </a:lnTo>
                    <a:lnTo>
                      <a:pt x="121" y="584"/>
                    </a:lnTo>
                    <a:lnTo>
                      <a:pt x="128" y="586"/>
                    </a:lnTo>
                    <a:lnTo>
                      <a:pt x="136" y="586"/>
                    </a:lnTo>
                    <a:lnTo>
                      <a:pt x="143" y="586"/>
                    </a:lnTo>
                    <a:lnTo>
                      <a:pt x="151" y="586"/>
                    </a:lnTo>
                    <a:lnTo>
                      <a:pt x="158" y="584"/>
                    </a:lnTo>
                    <a:lnTo>
                      <a:pt x="165" y="581"/>
                    </a:lnTo>
                    <a:lnTo>
                      <a:pt x="172" y="578"/>
                    </a:lnTo>
                    <a:lnTo>
                      <a:pt x="184" y="570"/>
                    </a:lnTo>
                    <a:lnTo>
                      <a:pt x="195" y="559"/>
                    </a:lnTo>
                    <a:lnTo>
                      <a:pt x="199" y="555"/>
                    </a:lnTo>
                    <a:lnTo>
                      <a:pt x="203" y="549"/>
                    </a:lnTo>
                    <a:lnTo>
                      <a:pt x="205" y="544"/>
                    </a:lnTo>
                    <a:lnTo>
                      <a:pt x="206" y="540"/>
                    </a:lnTo>
                    <a:lnTo>
                      <a:pt x="206" y="540"/>
                    </a:lnTo>
                    <a:lnTo>
                      <a:pt x="205" y="518"/>
                    </a:lnTo>
                    <a:lnTo>
                      <a:pt x="206" y="510"/>
                    </a:lnTo>
                    <a:lnTo>
                      <a:pt x="207" y="505"/>
                    </a:lnTo>
                    <a:lnTo>
                      <a:pt x="210" y="503"/>
                    </a:lnTo>
                    <a:lnTo>
                      <a:pt x="210" y="503"/>
                    </a:lnTo>
                    <a:lnTo>
                      <a:pt x="214" y="501"/>
                    </a:lnTo>
                    <a:lnTo>
                      <a:pt x="218" y="500"/>
                    </a:lnTo>
                    <a:lnTo>
                      <a:pt x="227" y="500"/>
                    </a:lnTo>
                    <a:lnTo>
                      <a:pt x="236" y="502"/>
                    </a:lnTo>
                    <a:lnTo>
                      <a:pt x="247" y="503"/>
                    </a:lnTo>
                    <a:lnTo>
                      <a:pt x="247" y="503"/>
                    </a:lnTo>
                    <a:lnTo>
                      <a:pt x="247" y="492"/>
                    </a:lnTo>
                    <a:lnTo>
                      <a:pt x="249" y="481"/>
                    </a:lnTo>
                    <a:lnTo>
                      <a:pt x="251" y="473"/>
                    </a:lnTo>
                    <a:lnTo>
                      <a:pt x="255" y="465"/>
                    </a:lnTo>
                    <a:lnTo>
                      <a:pt x="259" y="458"/>
                    </a:lnTo>
                    <a:lnTo>
                      <a:pt x="265" y="451"/>
                    </a:lnTo>
                    <a:lnTo>
                      <a:pt x="277" y="440"/>
                    </a:lnTo>
                    <a:lnTo>
                      <a:pt x="289" y="431"/>
                    </a:lnTo>
                    <a:lnTo>
                      <a:pt x="302" y="421"/>
                    </a:lnTo>
                    <a:lnTo>
                      <a:pt x="315" y="411"/>
                    </a:lnTo>
                    <a:lnTo>
                      <a:pt x="319" y="405"/>
                    </a:lnTo>
                    <a:lnTo>
                      <a:pt x="324" y="400"/>
                    </a:lnTo>
                    <a:lnTo>
                      <a:pt x="324" y="400"/>
                    </a:lnTo>
                    <a:lnTo>
                      <a:pt x="328" y="395"/>
                    </a:lnTo>
                    <a:lnTo>
                      <a:pt x="331" y="389"/>
                    </a:lnTo>
                    <a:lnTo>
                      <a:pt x="332" y="383"/>
                    </a:lnTo>
                    <a:lnTo>
                      <a:pt x="332" y="379"/>
                    </a:lnTo>
                    <a:lnTo>
                      <a:pt x="332" y="366"/>
                    </a:lnTo>
                    <a:lnTo>
                      <a:pt x="333" y="359"/>
                    </a:lnTo>
                    <a:lnTo>
                      <a:pt x="334" y="352"/>
                    </a:lnTo>
                    <a:lnTo>
                      <a:pt x="334" y="352"/>
                    </a:lnTo>
                    <a:lnTo>
                      <a:pt x="336" y="348"/>
                    </a:lnTo>
                    <a:lnTo>
                      <a:pt x="341" y="344"/>
                    </a:lnTo>
                    <a:lnTo>
                      <a:pt x="350" y="336"/>
                    </a:lnTo>
                    <a:lnTo>
                      <a:pt x="356" y="332"/>
                    </a:lnTo>
                    <a:lnTo>
                      <a:pt x="359" y="327"/>
                    </a:lnTo>
                    <a:lnTo>
                      <a:pt x="363" y="321"/>
                    </a:lnTo>
                    <a:lnTo>
                      <a:pt x="364" y="316"/>
                    </a:lnTo>
                    <a:lnTo>
                      <a:pt x="364" y="316"/>
                    </a:lnTo>
                    <a:lnTo>
                      <a:pt x="363" y="310"/>
                    </a:lnTo>
                    <a:lnTo>
                      <a:pt x="362" y="305"/>
                    </a:lnTo>
                    <a:lnTo>
                      <a:pt x="356" y="297"/>
                    </a:lnTo>
                    <a:lnTo>
                      <a:pt x="351" y="288"/>
                    </a:lnTo>
                    <a:lnTo>
                      <a:pt x="350" y="283"/>
                    </a:lnTo>
                    <a:lnTo>
                      <a:pt x="349" y="279"/>
                    </a:lnTo>
                    <a:lnTo>
                      <a:pt x="349" y="279"/>
                    </a:lnTo>
                    <a:lnTo>
                      <a:pt x="340" y="268"/>
                    </a:lnTo>
                    <a:lnTo>
                      <a:pt x="333" y="257"/>
                    </a:lnTo>
                    <a:lnTo>
                      <a:pt x="327" y="244"/>
                    </a:lnTo>
                    <a:lnTo>
                      <a:pt x="321" y="232"/>
                    </a:lnTo>
                    <a:lnTo>
                      <a:pt x="313" y="204"/>
                    </a:lnTo>
                    <a:lnTo>
                      <a:pt x="306" y="175"/>
                    </a:lnTo>
                    <a:lnTo>
                      <a:pt x="298" y="148"/>
                    </a:lnTo>
                    <a:lnTo>
                      <a:pt x="294" y="134"/>
                    </a:lnTo>
                    <a:lnTo>
                      <a:pt x="288" y="121"/>
                    </a:lnTo>
                    <a:lnTo>
                      <a:pt x="281" y="110"/>
                    </a:lnTo>
                    <a:lnTo>
                      <a:pt x="272" y="99"/>
                    </a:lnTo>
                    <a:lnTo>
                      <a:pt x="263" y="90"/>
                    </a:lnTo>
                    <a:lnTo>
                      <a:pt x="250" y="81"/>
                    </a:lnTo>
                    <a:lnTo>
                      <a:pt x="250" y="81"/>
                    </a:lnTo>
                    <a:lnTo>
                      <a:pt x="241" y="73"/>
                    </a:lnTo>
                    <a:lnTo>
                      <a:pt x="231" y="64"/>
                    </a:lnTo>
                    <a:lnTo>
                      <a:pt x="226" y="60"/>
                    </a:lnTo>
                    <a:lnTo>
                      <a:pt x="220" y="58"/>
                    </a:lnTo>
                    <a:lnTo>
                      <a:pt x="213" y="55"/>
                    </a:lnTo>
                    <a:lnTo>
                      <a:pt x="206" y="55"/>
                    </a:lnTo>
                    <a:lnTo>
                      <a:pt x="206" y="55"/>
                    </a:lnTo>
                    <a:lnTo>
                      <a:pt x="194" y="57"/>
                    </a:lnTo>
                    <a:lnTo>
                      <a:pt x="182" y="59"/>
                    </a:lnTo>
                    <a:lnTo>
                      <a:pt x="170" y="61"/>
                    </a:lnTo>
                    <a:lnTo>
                      <a:pt x="155" y="62"/>
                    </a:lnTo>
                    <a:lnTo>
                      <a:pt x="155" y="62"/>
                    </a:lnTo>
                    <a:lnTo>
                      <a:pt x="151" y="61"/>
                    </a:lnTo>
                    <a:lnTo>
                      <a:pt x="147" y="60"/>
                    </a:lnTo>
                    <a:lnTo>
                      <a:pt x="137" y="54"/>
                    </a:lnTo>
                    <a:lnTo>
                      <a:pt x="127" y="46"/>
                    </a:lnTo>
                    <a:lnTo>
                      <a:pt x="117" y="37"/>
                    </a:lnTo>
                    <a:lnTo>
                      <a:pt x="107" y="27"/>
                    </a:lnTo>
                    <a:lnTo>
                      <a:pt x="99" y="16"/>
                    </a:lnTo>
                    <a:lnTo>
                      <a:pt x="94" y="7"/>
                    </a:lnTo>
                    <a:lnTo>
                      <a:pt x="92" y="4"/>
                    </a:lnTo>
                    <a:lnTo>
                      <a:pt x="92" y="0"/>
                    </a:lnTo>
                    <a:lnTo>
                      <a:pt x="92" y="0"/>
                    </a:lnTo>
                    <a:lnTo>
                      <a:pt x="92" y="0"/>
                    </a:lnTo>
                    <a:lnTo>
                      <a:pt x="92" y="0"/>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6" name="Freeform 121"/>
              <p:cNvSpPr>
                <a:spLocks noChangeAspect="1"/>
              </p:cNvSpPr>
              <p:nvPr/>
            </p:nvSpPr>
            <p:spPr bwMode="auto">
              <a:xfrm>
                <a:off x="457368" y="4592877"/>
                <a:ext cx="133149" cy="173948"/>
              </a:xfrm>
              <a:custGeom>
                <a:avLst/>
                <a:gdLst/>
                <a:ahLst/>
                <a:cxnLst>
                  <a:cxn ang="0">
                    <a:pos x="166" y="146"/>
                  </a:cxn>
                  <a:cxn ang="0">
                    <a:pos x="165" y="131"/>
                  </a:cxn>
                  <a:cxn ang="0">
                    <a:pos x="164" y="117"/>
                  </a:cxn>
                  <a:cxn ang="0">
                    <a:pos x="157" y="95"/>
                  </a:cxn>
                  <a:cxn ang="0">
                    <a:pos x="129" y="54"/>
                  </a:cxn>
                  <a:cxn ang="0">
                    <a:pos x="103" y="39"/>
                  </a:cxn>
                  <a:cxn ang="0">
                    <a:pos x="92" y="36"/>
                  </a:cxn>
                  <a:cxn ang="0">
                    <a:pos x="63" y="28"/>
                  </a:cxn>
                  <a:cxn ang="0">
                    <a:pos x="43" y="11"/>
                  </a:cxn>
                  <a:cxn ang="0">
                    <a:pos x="18" y="0"/>
                  </a:cxn>
                  <a:cxn ang="0">
                    <a:pos x="18" y="25"/>
                  </a:cxn>
                  <a:cxn ang="0">
                    <a:pos x="33" y="48"/>
                  </a:cxn>
                  <a:cxn ang="0">
                    <a:pos x="57" y="67"/>
                  </a:cxn>
                  <a:cxn ang="0">
                    <a:pos x="77" y="72"/>
                  </a:cxn>
                  <a:cxn ang="0">
                    <a:pos x="93" y="66"/>
                  </a:cxn>
                  <a:cxn ang="0">
                    <a:pos x="102" y="66"/>
                  </a:cxn>
                  <a:cxn ang="0">
                    <a:pos x="110" y="76"/>
                  </a:cxn>
                  <a:cxn ang="0">
                    <a:pos x="112" y="92"/>
                  </a:cxn>
                  <a:cxn ang="0">
                    <a:pos x="105" y="104"/>
                  </a:cxn>
                  <a:cxn ang="0">
                    <a:pos x="79" y="123"/>
                  </a:cxn>
                  <a:cxn ang="0">
                    <a:pos x="54" y="131"/>
                  </a:cxn>
                  <a:cxn ang="0">
                    <a:pos x="55" y="161"/>
                  </a:cxn>
                  <a:cxn ang="0">
                    <a:pos x="51" y="183"/>
                  </a:cxn>
                  <a:cxn ang="0">
                    <a:pos x="43" y="189"/>
                  </a:cxn>
                  <a:cxn ang="0">
                    <a:pos x="36" y="183"/>
                  </a:cxn>
                  <a:cxn ang="0">
                    <a:pos x="27" y="172"/>
                  </a:cxn>
                  <a:cxn ang="0">
                    <a:pos x="18" y="173"/>
                  </a:cxn>
                  <a:cxn ang="0">
                    <a:pos x="2" y="183"/>
                  </a:cxn>
                  <a:cxn ang="0">
                    <a:pos x="0" y="191"/>
                  </a:cxn>
                  <a:cxn ang="0">
                    <a:pos x="5" y="224"/>
                  </a:cxn>
                  <a:cxn ang="0">
                    <a:pos x="23" y="245"/>
                  </a:cxn>
                  <a:cxn ang="0">
                    <a:pos x="40" y="249"/>
                  </a:cxn>
                  <a:cxn ang="0">
                    <a:pos x="58" y="242"/>
                  </a:cxn>
                  <a:cxn ang="0">
                    <a:pos x="76" y="226"/>
                  </a:cxn>
                  <a:cxn ang="0">
                    <a:pos x="104" y="179"/>
                  </a:cxn>
                  <a:cxn ang="0">
                    <a:pos x="117" y="150"/>
                  </a:cxn>
                  <a:cxn ang="0">
                    <a:pos x="135" y="150"/>
                  </a:cxn>
                  <a:cxn ang="0">
                    <a:pos x="138" y="178"/>
                  </a:cxn>
                  <a:cxn ang="0">
                    <a:pos x="143" y="193"/>
                  </a:cxn>
                  <a:cxn ang="0">
                    <a:pos x="149" y="194"/>
                  </a:cxn>
                  <a:cxn ang="0">
                    <a:pos x="155" y="187"/>
                  </a:cxn>
                  <a:cxn ang="0">
                    <a:pos x="157" y="162"/>
                  </a:cxn>
                  <a:cxn ang="0">
                    <a:pos x="161" y="148"/>
                  </a:cxn>
                  <a:cxn ang="0">
                    <a:pos x="164" y="146"/>
                  </a:cxn>
                </a:cxnLst>
                <a:rect l="0" t="0" r="r" b="b"/>
                <a:pathLst>
                  <a:path w="168" h="249">
                    <a:moveTo>
                      <a:pt x="164" y="146"/>
                    </a:moveTo>
                    <a:lnTo>
                      <a:pt x="164" y="146"/>
                    </a:lnTo>
                    <a:lnTo>
                      <a:pt x="166" y="146"/>
                    </a:lnTo>
                    <a:lnTo>
                      <a:pt x="168" y="143"/>
                    </a:lnTo>
                    <a:lnTo>
                      <a:pt x="168" y="138"/>
                    </a:lnTo>
                    <a:lnTo>
                      <a:pt x="165" y="131"/>
                    </a:lnTo>
                    <a:lnTo>
                      <a:pt x="164" y="124"/>
                    </a:lnTo>
                    <a:lnTo>
                      <a:pt x="164" y="124"/>
                    </a:lnTo>
                    <a:lnTo>
                      <a:pt x="164" y="117"/>
                    </a:lnTo>
                    <a:lnTo>
                      <a:pt x="163" y="110"/>
                    </a:lnTo>
                    <a:lnTo>
                      <a:pt x="161" y="102"/>
                    </a:lnTo>
                    <a:lnTo>
                      <a:pt x="157" y="95"/>
                    </a:lnTo>
                    <a:lnTo>
                      <a:pt x="150" y="80"/>
                    </a:lnTo>
                    <a:lnTo>
                      <a:pt x="140" y="66"/>
                    </a:lnTo>
                    <a:lnTo>
                      <a:pt x="129" y="54"/>
                    </a:lnTo>
                    <a:lnTo>
                      <a:pt x="117" y="44"/>
                    </a:lnTo>
                    <a:lnTo>
                      <a:pt x="110" y="41"/>
                    </a:lnTo>
                    <a:lnTo>
                      <a:pt x="103" y="39"/>
                    </a:lnTo>
                    <a:lnTo>
                      <a:pt x="97" y="36"/>
                    </a:lnTo>
                    <a:lnTo>
                      <a:pt x="92" y="36"/>
                    </a:lnTo>
                    <a:lnTo>
                      <a:pt x="92" y="36"/>
                    </a:lnTo>
                    <a:lnTo>
                      <a:pt x="81" y="35"/>
                    </a:lnTo>
                    <a:lnTo>
                      <a:pt x="72" y="33"/>
                    </a:lnTo>
                    <a:lnTo>
                      <a:pt x="63" y="28"/>
                    </a:lnTo>
                    <a:lnTo>
                      <a:pt x="56" y="24"/>
                    </a:lnTo>
                    <a:lnTo>
                      <a:pt x="49" y="18"/>
                    </a:lnTo>
                    <a:lnTo>
                      <a:pt x="43" y="11"/>
                    </a:lnTo>
                    <a:lnTo>
                      <a:pt x="32" y="0"/>
                    </a:lnTo>
                    <a:lnTo>
                      <a:pt x="32" y="0"/>
                    </a:lnTo>
                    <a:lnTo>
                      <a:pt x="18" y="0"/>
                    </a:lnTo>
                    <a:lnTo>
                      <a:pt x="18" y="25"/>
                    </a:lnTo>
                    <a:lnTo>
                      <a:pt x="18" y="25"/>
                    </a:lnTo>
                    <a:lnTo>
                      <a:pt x="18" y="25"/>
                    </a:lnTo>
                    <a:lnTo>
                      <a:pt x="21" y="32"/>
                    </a:lnTo>
                    <a:lnTo>
                      <a:pt x="26" y="40"/>
                    </a:lnTo>
                    <a:lnTo>
                      <a:pt x="33" y="48"/>
                    </a:lnTo>
                    <a:lnTo>
                      <a:pt x="40" y="56"/>
                    </a:lnTo>
                    <a:lnTo>
                      <a:pt x="48" y="62"/>
                    </a:lnTo>
                    <a:lnTo>
                      <a:pt x="57" y="67"/>
                    </a:lnTo>
                    <a:lnTo>
                      <a:pt x="66" y="71"/>
                    </a:lnTo>
                    <a:lnTo>
                      <a:pt x="77" y="72"/>
                    </a:lnTo>
                    <a:lnTo>
                      <a:pt x="77" y="72"/>
                    </a:lnTo>
                    <a:lnTo>
                      <a:pt x="80" y="71"/>
                    </a:lnTo>
                    <a:lnTo>
                      <a:pt x="86" y="69"/>
                    </a:lnTo>
                    <a:lnTo>
                      <a:pt x="93" y="66"/>
                    </a:lnTo>
                    <a:lnTo>
                      <a:pt x="99" y="65"/>
                    </a:lnTo>
                    <a:lnTo>
                      <a:pt x="99" y="65"/>
                    </a:lnTo>
                    <a:lnTo>
                      <a:pt x="102" y="66"/>
                    </a:lnTo>
                    <a:lnTo>
                      <a:pt x="105" y="69"/>
                    </a:lnTo>
                    <a:lnTo>
                      <a:pt x="108" y="72"/>
                    </a:lnTo>
                    <a:lnTo>
                      <a:pt x="110" y="76"/>
                    </a:lnTo>
                    <a:lnTo>
                      <a:pt x="112" y="84"/>
                    </a:lnTo>
                    <a:lnTo>
                      <a:pt x="112" y="92"/>
                    </a:lnTo>
                    <a:lnTo>
                      <a:pt x="112" y="92"/>
                    </a:lnTo>
                    <a:lnTo>
                      <a:pt x="112" y="94"/>
                    </a:lnTo>
                    <a:lnTo>
                      <a:pt x="111" y="97"/>
                    </a:lnTo>
                    <a:lnTo>
                      <a:pt x="105" y="104"/>
                    </a:lnTo>
                    <a:lnTo>
                      <a:pt x="99" y="110"/>
                    </a:lnTo>
                    <a:lnTo>
                      <a:pt x="89" y="117"/>
                    </a:lnTo>
                    <a:lnTo>
                      <a:pt x="79" y="123"/>
                    </a:lnTo>
                    <a:lnTo>
                      <a:pt x="70" y="127"/>
                    </a:lnTo>
                    <a:lnTo>
                      <a:pt x="61" y="130"/>
                    </a:lnTo>
                    <a:lnTo>
                      <a:pt x="54" y="131"/>
                    </a:lnTo>
                    <a:lnTo>
                      <a:pt x="54" y="131"/>
                    </a:lnTo>
                    <a:lnTo>
                      <a:pt x="55" y="151"/>
                    </a:lnTo>
                    <a:lnTo>
                      <a:pt x="55" y="161"/>
                    </a:lnTo>
                    <a:lnTo>
                      <a:pt x="55" y="169"/>
                    </a:lnTo>
                    <a:lnTo>
                      <a:pt x="54" y="177"/>
                    </a:lnTo>
                    <a:lnTo>
                      <a:pt x="51" y="183"/>
                    </a:lnTo>
                    <a:lnTo>
                      <a:pt x="49" y="186"/>
                    </a:lnTo>
                    <a:lnTo>
                      <a:pt x="47" y="187"/>
                    </a:lnTo>
                    <a:lnTo>
                      <a:pt x="43" y="189"/>
                    </a:lnTo>
                    <a:lnTo>
                      <a:pt x="40" y="191"/>
                    </a:lnTo>
                    <a:lnTo>
                      <a:pt x="40" y="191"/>
                    </a:lnTo>
                    <a:lnTo>
                      <a:pt x="36" y="183"/>
                    </a:lnTo>
                    <a:lnTo>
                      <a:pt x="33" y="177"/>
                    </a:lnTo>
                    <a:lnTo>
                      <a:pt x="30" y="173"/>
                    </a:lnTo>
                    <a:lnTo>
                      <a:pt x="27" y="172"/>
                    </a:lnTo>
                    <a:lnTo>
                      <a:pt x="25" y="172"/>
                    </a:lnTo>
                    <a:lnTo>
                      <a:pt x="25" y="172"/>
                    </a:lnTo>
                    <a:lnTo>
                      <a:pt x="18" y="173"/>
                    </a:lnTo>
                    <a:lnTo>
                      <a:pt x="9" y="177"/>
                    </a:lnTo>
                    <a:lnTo>
                      <a:pt x="5" y="180"/>
                    </a:lnTo>
                    <a:lnTo>
                      <a:pt x="2" y="183"/>
                    </a:lnTo>
                    <a:lnTo>
                      <a:pt x="1" y="186"/>
                    </a:lnTo>
                    <a:lnTo>
                      <a:pt x="0" y="191"/>
                    </a:lnTo>
                    <a:lnTo>
                      <a:pt x="0" y="191"/>
                    </a:lnTo>
                    <a:lnTo>
                      <a:pt x="0" y="202"/>
                    </a:lnTo>
                    <a:lnTo>
                      <a:pt x="2" y="214"/>
                    </a:lnTo>
                    <a:lnTo>
                      <a:pt x="5" y="224"/>
                    </a:lnTo>
                    <a:lnTo>
                      <a:pt x="10" y="232"/>
                    </a:lnTo>
                    <a:lnTo>
                      <a:pt x="16" y="239"/>
                    </a:lnTo>
                    <a:lnTo>
                      <a:pt x="23" y="245"/>
                    </a:lnTo>
                    <a:lnTo>
                      <a:pt x="31" y="248"/>
                    </a:lnTo>
                    <a:lnTo>
                      <a:pt x="40" y="249"/>
                    </a:lnTo>
                    <a:lnTo>
                      <a:pt x="40" y="249"/>
                    </a:lnTo>
                    <a:lnTo>
                      <a:pt x="46" y="248"/>
                    </a:lnTo>
                    <a:lnTo>
                      <a:pt x="51" y="246"/>
                    </a:lnTo>
                    <a:lnTo>
                      <a:pt x="58" y="242"/>
                    </a:lnTo>
                    <a:lnTo>
                      <a:pt x="64" y="238"/>
                    </a:lnTo>
                    <a:lnTo>
                      <a:pt x="70" y="233"/>
                    </a:lnTo>
                    <a:lnTo>
                      <a:pt x="76" y="226"/>
                    </a:lnTo>
                    <a:lnTo>
                      <a:pt x="87" y="211"/>
                    </a:lnTo>
                    <a:lnTo>
                      <a:pt x="96" y="196"/>
                    </a:lnTo>
                    <a:lnTo>
                      <a:pt x="104" y="179"/>
                    </a:lnTo>
                    <a:lnTo>
                      <a:pt x="112" y="164"/>
                    </a:lnTo>
                    <a:lnTo>
                      <a:pt x="117" y="150"/>
                    </a:lnTo>
                    <a:lnTo>
                      <a:pt x="117" y="150"/>
                    </a:lnTo>
                    <a:lnTo>
                      <a:pt x="124" y="151"/>
                    </a:lnTo>
                    <a:lnTo>
                      <a:pt x="129" y="151"/>
                    </a:lnTo>
                    <a:lnTo>
                      <a:pt x="135" y="150"/>
                    </a:lnTo>
                    <a:lnTo>
                      <a:pt x="135" y="150"/>
                    </a:lnTo>
                    <a:lnTo>
                      <a:pt x="135" y="163"/>
                    </a:lnTo>
                    <a:lnTo>
                      <a:pt x="138" y="178"/>
                    </a:lnTo>
                    <a:lnTo>
                      <a:pt x="140" y="184"/>
                    </a:lnTo>
                    <a:lnTo>
                      <a:pt x="141" y="189"/>
                    </a:lnTo>
                    <a:lnTo>
                      <a:pt x="143" y="193"/>
                    </a:lnTo>
                    <a:lnTo>
                      <a:pt x="147" y="194"/>
                    </a:lnTo>
                    <a:lnTo>
                      <a:pt x="147" y="194"/>
                    </a:lnTo>
                    <a:lnTo>
                      <a:pt x="149" y="194"/>
                    </a:lnTo>
                    <a:lnTo>
                      <a:pt x="152" y="192"/>
                    </a:lnTo>
                    <a:lnTo>
                      <a:pt x="154" y="189"/>
                    </a:lnTo>
                    <a:lnTo>
                      <a:pt x="155" y="187"/>
                    </a:lnTo>
                    <a:lnTo>
                      <a:pt x="156" y="179"/>
                    </a:lnTo>
                    <a:lnTo>
                      <a:pt x="157" y="170"/>
                    </a:lnTo>
                    <a:lnTo>
                      <a:pt x="157" y="162"/>
                    </a:lnTo>
                    <a:lnTo>
                      <a:pt x="158" y="154"/>
                    </a:lnTo>
                    <a:lnTo>
                      <a:pt x="160" y="150"/>
                    </a:lnTo>
                    <a:lnTo>
                      <a:pt x="161" y="148"/>
                    </a:lnTo>
                    <a:lnTo>
                      <a:pt x="162" y="147"/>
                    </a:lnTo>
                    <a:lnTo>
                      <a:pt x="164" y="146"/>
                    </a:lnTo>
                    <a:lnTo>
                      <a:pt x="164" y="146"/>
                    </a:lnTo>
                    <a:lnTo>
                      <a:pt x="164" y="146"/>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7" name="Freeform 122"/>
              <p:cNvSpPr>
                <a:spLocks noChangeAspect="1"/>
              </p:cNvSpPr>
              <p:nvPr/>
            </p:nvSpPr>
            <p:spPr bwMode="auto">
              <a:xfrm>
                <a:off x="742687" y="4587311"/>
                <a:ext cx="421639" cy="413300"/>
              </a:xfrm>
              <a:custGeom>
                <a:avLst/>
                <a:gdLst/>
                <a:ahLst/>
                <a:cxnLst>
                  <a:cxn ang="0">
                    <a:pos x="297" y="63"/>
                  </a:cxn>
                  <a:cxn ang="0">
                    <a:pos x="305" y="77"/>
                  </a:cxn>
                  <a:cxn ang="0">
                    <a:pos x="327" y="66"/>
                  </a:cxn>
                  <a:cxn ang="0">
                    <a:pos x="344" y="80"/>
                  </a:cxn>
                  <a:cxn ang="0">
                    <a:pos x="325" y="126"/>
                  </a:cxn>
                  <a:cxn ang="0">
                    <a:pos x="246" y="158"/>
                  </a:cxn>
                  <a:cxn ang="0">
                    <a:pos x="235" y="177"/>
                  </a:cxn>
                  <a:cxn ang="0">
                    <a:pos x="226" y="200"/>
                  </a:cxn>
                  <a:cxn ang="0">
                    <a:pos x="208" y="206"/>
                  </a:cxn>
                  <a:cxn ang="0">
                    <a:pos x="179" y="195"/>
                  </a:cxn>
                  <a:cxn ang="0">
                    <a:pos x="155" y="158"/>
                  </a:cxn>
                  <a:cxn ang="0">
                    <a:pos x="122" y="110"/>
                  </a:cxn>
                  <a:cxn ang="0">
                    <a:pos x="99" y="58"/>
                  </a:cxn>
                  <a:cxn ang="0">
                    <a:pos x="79" y="69"/>
                  </a:cxn>
                  <a:cxn ang="0">
                    <a:pos x="62" y="88"/>
                  </a:cxn>
                  <a:cxn ang="0">
                    <a:pos x="25" y="73"/>
                  </a:cxn>
                  <a:cxn ang="0">
                    <a:pos x="2" y="86"/>
                  </a:cxn>
                  <a:cxn ang="0">
                    <a:pos x="4" y="112"/>
                  </a:cxn>
                  <a:cxn ang="0">
                    <a:pos x="29" y="128"/>
                  </a:cxn>
                  <a:cxn ang="0">
                    <a:pos x="58" y="118"/>
                  </a:cxn>
                  <a:cxn ang="0">
                    <a:pos x="81" y="149"/>
                  </a:cxn>
                  <a:cxn ang="0">
                    <a:pos x="115" y="159"/>
                  </a:cxn>
                  <a:cxn ang="0">
                    <a:pos x="128" y="192"/>
                  </a:cxn>
                  <a:cxn ang="0">
                    <a:pos x="175" y="239"/>
                  </a:cxn>
                  <a:cxn ang="0">
                    <a:pos x="177" y="271"/>
                  </a:cxn>
                  <a:cxn ang="0">
                    <a:pos x="169" y="310"/>
                  </a:cxn>
                  <a:cxn ang="0">
                    <a:pos x="207" y="383"/>
                  </a:cxn>
                  <a:cxn ang="0">
                    <a:pos x="245" y="448"/>
                  </a:cxn>
                  <a:cxn ang="0">
                    <a:pos x="247" y="494"/>
                  </a:cxn>
                  <a:cxn ang="0">
                    <a:pos x="299" y="536"/>
                  </a:cxn>
                  <a:cxn ang="0">
                    <a:pos x="319" y="578"/>
                  </a:cxn>
                  <a:cxn ang="0">
                    <a:pos x="323" y="594"/>
                  </a:cxn>
                  <a:cxn ang="0">
                    <a:pos x="393" y="561"/>
                  </a:cxn>
                  <a:cxn ang="0">
                    <a:pos x="426" y="528"/>
                  </a:cxn>
                  <a:cxn ang="0">
                    <a:pos x="422" y="507"/>
                  </a:cxn>
                  <a:cxn ang="0">
                    <a:pos x="399" y="485"/>
                  </a:cxn>
                  <a:cxn ang="0">
                    <a:pos x="426" y="455"/>
                  </a:cxn>
                  <a:cxn ang="0">
                    <a:pos x="451" y="426"/>
                  </a:cxn>
                  <a:cxn ang="0">
                    <a:pos x="437" y="391"/>
                  </a:cxn>
                  <a:cxn ang="0">
                    <a:pos x="444" y="365"/>
                  </a:cxn>
                  <a:cxn ang="0">
                    <a:pos x="462" y="369"/>
                  </a:cxn>
                  <a:cxn ang="0">
                    <a:pos x="483" y="371"/>
                  </a:cxn>
                  <a:cxn ang="0">
                    <a:pos x="521" y="345"/>
                  </a:cxn>
                  <a:cxn ang="0">
                    <a:pos x="510" y="288"/>
                  </a:cxn>
                  <a:cxn ang="0">
                    <a:pos x="523" y="256"/>
                  </a:cxn>
                  <a:cxn ang="0">
                    <a:pos x="521" y="222"/>
                  </a:cxn>
                  <a:cxn ang="0">
                    <a:pos x="495" y="181"/>
                  </a:cxn>
                  <a:cxn ang="0">
                    <a:pos x="483" y="97"/>
                  </a:cxn>
                  <a:cxn ang="0">
                    <a:pos x="446" y="47"/>
                  </a:cxn>
                  <a:cxn ang="0">
                    <a:pos x="424" y="35"/>
                  </a:cxn>
                  <a:cxn ang="0">
                    <a:pos x="408" y="3"/>
                  </a:cxn>
                  <a:cxn ang="0">
                    <a:pos x="388" y="43"/>
                  </a:cxn>
                  <a:cxn ang="0">
                    <a:pos x="357" y="34"/>
                  </a:cxn>
                  <a:cxn ang="0">
                    <a:pos x="322" y="31"/>
                  </a:cxn>
                  <a:cxn ang="0">
                    <a:pos x="293" y="55"/>
                  </a:cxn>
                </a:cxnLst>
                <a:rect l="0" t="0" r="r" b="b"/>
                <a:pathLst>
                  <a:path w="531" h="594">
                    <a:moveTo>
                      <a:pt x="293" y="55"/>
                    </a:moveTo>
                    <a:lnTo>
                      <a:pt x="293" y="55"/>
                    </a:lnTo>
                    <a:lnTo>
                      <a:pt x="293" y="61"/>
                    </a:lnTo>
                    <a:lnTo>
                      <a:pt x="296" y="63"/>
                    </a:lnTo>
                    <a:lnTo>
                      <a:pt x="297" y="63"/>
                    </a:lnTo>
                    <a:lnTo>
                      <a:pt x="297" y="63"/>
                    </a:lnTo>
                    <a:lnTo>
                      <a:pt x="297" y="63"/>
                    </a:lnTo>
                    <a:lnTo>
                      <a:pt x="297" y="66"/>
                    </a:lnTo>
                    <a:lnTo>
                      <a:pt x="298" y="71"/>
                    </a:lnTo>
                    <a:lnTo>
                      <a:pt x="299" y="73"/>
                    </a:lnTo>
                    <a:lnTo>
                      <a:pt x="301" y="75"/>
                    </a:lnTo>
                    <a:lnTo>
                      <a:pt x="305" y="77"/>
                    </a:lnTo>
                    <a:lnTo>
                      <a:pt x="308" y="77"/>
                    </a:lnTo>
                    <a:lnTo>
                      <a:pt x="308" y="77"/>
                    </a:lnTo>
                    <a:lnTo>
                      <a:pt x="316" y="77"/>
                    </a:lnTo>
                    <a:lnTo>
                      <a:pt x="320" y="74"/>
                    </a:lnTo>
                    <a:lnTo>
                      <a:pt x="322" y="71"/>
                    </a:lnTo>
                    <a:lnTo>
                      <a:pt x="327" y="66"/>
                    </a:lnTo>
                    <a:lnTo>
                      <a:pt x="327" y="66"/>
                    </a:lnTo>
                    <a:lnTo>
                      <a:pt x="344" y="66"/>
                    </a:lnTo>
                    <a:lnTo>
                      <a:pt x="344" y="66"/>
                    </a:lnTo>
                    <a:lnTo>
                      <a:pt x="344" y="66"/>
                    </a:lnTo>
                    <a:lnTo>
                      <a:pt x="344" y="80"/>
                    </a:lnTo>
                    <a:lnTo>
                      <a:pt x="344" y="80"/>
                    </a:lnTo>
                    <a:lnTo>
                      <a:pt x="344" y="90"/>
                    </a:lnTo>
                    <a:lnTo>
                      <a:pt x="342" y="100"/>
                    </a:lnTo>
                    <a:lnTo>
                      <a:pt x="339" y="108"/>
                    </a:lnTo>
                    <a:lnTo>
                      <a:pt x="336" y="115"/>
                    </a:lnTo>
                    <a:lnTo>
                      <a:pt x="331" y="120"/>
                    </a:lnTo>
                    <a:lnTo>
                      <a:pt x="325" y="126"/>
                    </a:lnTo>
                    <a:lnTo>
                      <a:pt x="320" y="131"/>
                    </a:lnTo>
                    <a:lnTo>
                      <a:pt x="313" y="134"/>
                    </a:lnTo>
                    <a:lnTo>
                      <a:pt x="298" y="141"/>
                    </a:lnTo>
                    <a:lnTo>
                      <a:pt x="282" y="147"/>
                    </a:lnTo>
                    <a:lnTo>
                      <a:pt x="263" y="151"/>
                    </a:lnTo>
                    <a:lnTo>
                      <a:pt x="246" y="158"/>
                    </a:lnTo>
                    <a:lnTo>
                      <a:pt x="246" y="158"/>
                    </a:lnTo>
                    <a:lnTo>
                      <a:pt x="241" y="159"/>
                    </a:lnTo>
                    <a:lnTo>
                      <a:pt x="238" y="163"/>
                    </a:lnTo>
                    <a:lnTo>
                      <a:pt x="237" y="166"/>
                    </a:lnTo>
                    <a:lnTo>
                      <a:pt x="236" y="170"/>
                    </a:lnTo>
                    <a:lnTo>
                      <a:pt x="235" y="177"/>
                    </a:lnTo>
                    <a:lnTo>
                      <a:pt x="233" y="180"/>
                    </a:lnTo>
                    <a:lnTo>
                      <a:pt x="231" y="184"/>
                    </a:lnTo>
                    <a:lnTo>
                      <a:pt x="231" y="184"/>
                    </a:lnTo>
                    <a:lnTo>
                      <a:pt x="230" y="193"/>
                    </a:lnTo>
                    <a:lnTo>
                      <a:pt x="229" y="197"/>
                    </a:lnTo>
                    <a:lnTo>
                      <a:pt x="226" y="200"/>
                    </a:lnTo>
                    <a:lnTo>
                      <a:pt x="224" y="202"/>
                    </a:lnTo>
                    <a:lnTo>
                      <a:pt x="221" y="204"/>
                    </a:lnTo>
                    <a:lnTo>
                      <a:pt x="217" y="206"/>
                    </a:lnTo>
                    <a:lnTo>
                      <a:pt x="212" y="206"/>
                    </a:lnTo>
                    <a:lnTo>
                      <a:pt x="212" y="206"/>
                    </a:lnTo>
                    <a:lnTo>
                      <a:pt x="208" y="206"/>
                    </a:lnTo>
                    <a:lnTo>
                      <a:pt x="205" y="204"/>
                    </a:lnTo>
                    <a:lnTo>
                      <a:pt x="198" y="200"/>
                    </a:lnTo>
                    <a:lnTo>
                      <a:pt x="189" y="196"/>
                    </a:lnTo>
                    <a:lnTo>
                      <a:pt x="184" y="195"/>
                    </a:lnTo>
                    <a:lnTo>
                      <a:pt x="179" y="195"/>
                    </a:lnTo>
                    <a:lnTo>
                      <a:pt x="179" y="195"/>
                    </a:lnTo>
                    <a:lnTo>
                      <a:pt x="171" y="194"/>
                    </a:lnTo>
                    <a:lnTo>
                      <a:pt x="165" y="191"/>
                    </a:lnTo>
                    <a:lnTo>
                      <a:pt x="162" y="187"/>
                    </a:lnTo>
                    <a:lnTo>
                      <a:pt x="160" y="181"/>
                    </a:lnTo>
                    <a:lnTo>
                      <a:pt x="157" y="166"/>
                    </a:lnTo>
                    <a:lnTo>
                      <a:pt x="155" y="158"/>
                    </a:lnTo>
                    <a:lnTo>
                      <a:pt x="153" y="150"/>
                    </a:lnTo>
                    <a:lnTo>
                      <a:pt x="153" y="150"/>
                    </a:lnTo>
                    <a:lnTo>
                      <a:pt x="151" y="146"/>
                    </a:lnTo>
                    <a:lnTo>
                      <a:pt x="148" y="140"/>
                    </a:lnTo>
                    <a:lnTo>
                      <a:pt x="140" y="130"/>
                    </a:lnTo>
                    <a:lnTo>
                      <a:pt x="122" y="110"/>
                    </a:lnTo>
                    <a:lnTo>
                      <a:pt x="114" y="100"/>
                    </a:lnTo>
                    <a:lnTo>
                      <a:pt x="106" y="88"/>
                    </a:lnTo>
                    <a:lnTo>
                      <a:pt x="102" y="81"/>
                    </a:lnTo>
                    <a:lnTo>
                      <a:pt x="101" y="74"/>
                    </a:lnTo>
                    <a:lnTo>
                      <a:pt x="99" y="66"/>
                    </a:lnTo>
                    <a:lnTo>
                      <a:pt x="99" y="58"/>
                    </a:lnTo>
                    <a:lnTo>
                      <a:pt x="99" y="58"/>
                    </a:lnTo>
                    <a:lnTo>
                      <a:pt x="84" y="58"/>
                    </a:lnTo>
                    <a:lnTo>
                      <a:pt x="84" y="58"/>
                    </a:lnTo>
                    <a:lnTo>
                      <a:pt x="84" y="58"/>
                    </a:lnTo>
                    <a:lnTo>
                      <a:pt x="81" y="63"/>
                    </a:lnTo>
                    <a:lnTo>
                      <a:pt x="79" y="69"/>
                    </a:lnTo>
                    <a:lnTo>
                      <a:pt x="76" y="78"/>
                    </a:lnTo>
                    <a:lnTo>
                      <a:pt x="73" y="82"/>
                    </a:lnTo>
                    <a:lnTo>
                      <a:pt x="70" y="85"/>
                    </a:lnTo>
                    <a:lnTo>
                      <a:pt x="67" y="87"/>
                    </a:lnTo>
                    <a:lnTo>
                      <a:pt x="62" y="88"/>
                    </a:lnTo>
                    <a:lnTo>
                      <a:pt x="62" y="88"/>
                    </a:lnTo>
                    <a:lnTo>
                      <a:pt x="56" y="87"/>
                    </a:lnTo>
                    <a:lnTo>
                      <a:pt x="52" y="86"/>
                    </a:lnTo>
                    <a:lnTo>
                      <a:pt x="44" y="81"/>
                    </a:lnTo>
                    <a:lnTo>
                      <a:pt x="35" y="75"/>
                    </a:lnTo>
                    <a:lnTo>
                      <a:pt x="31" y="74"/>
                    </a:lnTo>
                    <a:lnTo>
                      <a:pt x="25" y="73"/>
                    </a:lnTo>
                    <a:lnTo>
                      <a:pt x="25" y="73"/>
                    </a:lnTo>
                    <a:lnTo>
                      <a:pt x="16" y="74"/>
                    </a:lnTo>
                    <a:lnTo>
                      <a:pt x="12" y="77"/>
                    </a:lnTo>
                    <a:lnTo>
                      <a:pt x="8" y="79"/>
                    </a:lnTo>
                    <a:lnTo>
                      <a:pt x="4" y="82"/>
                    </a:lnTo>
                    <a:lnTo>
                      <a:pt x="2" y="86"/>
                    </a:lnTo>
                    <a:lnTo>
                      <a:pt x="0" y="90"/>
                    </a:lnTo>
                    <a:lnTo>
                      <a:pt x="0" y="95"/>
                    </a:lnTo>
                    <a:lnTo>
                      <a:pt x="0" y="95"/>
                    </a:lnTo>
                    <a:lnTo>
                      <a:pt x="0" y="101"/>
                    </a:lnTo>
                    <a:lnTo>
                      <a:pt x="2" y="107"/>
                    </a:lnTo>
                    <a:lnTo>
                      <a:pt x="4" y="112"/>
                    </a:lnTo>
                    <a:lnTo>
                      <a:pt x="9" y="118"/>
                    </a:lnTo>
                    <a:lnTo>
                      <a:pt x="12" y="122"/>
                    </a:lnTo>
                    <a:lnTo>
                      <a:pt x="18" y="126"/>
                    </a:lnTo>
                    <a:lnTo>
                      <a:pt x="23" y="128"/>
                    </a:lnTo>
                    <a:lnTo>
                      <a:pt x="29" y="128"/>
                    </a:lnTo>
                    <a:lnTo>
                      <a:pt x="29" y="128"/>
                    </a:lnTo>
                    <a:lnTo>
                      <a:pt x="33" y="128"/>
                    </a:lnTo>
                    <a:lnTo>
                      <a:pt x="38" y="127"/>
                    </a:lnTo>
                    <a:lnTo>
                      <a:pt x="44" y="125"/>
                    </a:lnTo>
                    <a:lnTo>
                      <a:pt x="49" y="120"/>
                    </a:lnTo>
                    <a:lnTo>
                      <a:pt x="58" y="118"/>
                    </a:lnTo>
                    <a:lnTo>
                      <a:pt x="58" y="118"/>
                    </a:lnTo>
                    <a:lnTo>
                      <a:pt x="60" y="131"/>
                    </a:lnTo>
                    <a:lnTo>
                      <a:pt x="63" y="139"/>
                    </a:lnTo>
                    <a:lnTo>
                      <a:pt x="65" y="142"/>
                    </a:lnTo>
                    <a:lnTo>
                      <a:pt x="68" y="145"/>
                    </a:lnTo>
                    <a:lnTo>
                      <a:pt x="73" y="147"/>
                    </a:lnTo>
                    <a:lnTo>
                      <a:pt x="81" y="149"/>
                    </a:lnTo>
                    <a:lnTo>
                      <a:pt x="90" y="149"/>
                    </a:lnTo>
                    <a:lnTo>
                      <a:pt x="99" y="151"/>
                    </a:lnTo>
                    <a:lnTo>
                      <a:pt x="109" y="154"/>
                    </a:lnTo>
                    <a:lnTo>
                      <a:pt x="109" y="154"/>
                    </a:lnTo>
                    <a:lnTo>
                      <a:pt x="113" y="157"/>
                    </a:lnTo>
                    <a:lnTo>
                      <a:pt x="115" y="159"/>
                    </a:lnTo>
                    <a:lnTo>
                      <a:pt x="117" y="165"/>
                    </a:lnTo>
                    <a:lnTo>
                      <a:pt x="118" y="172"/>
                    </a:lnTo>
                    <a:lnTo>
                      <a:pt x="121" y="180"/>
                    </a:lnTo>
                    <a:lnTo>
                      <a:pt x="121" y="180"/>
                    </a:lnTo>
                    <a:lnTo>
                      <a:pt x="123" y="186"/>
                    </a:lnTo>
                    <a:lnTo>
                      <a:pt x="128" y="192"/>
                    </a:lnTo>
                    <a:lnTo>
                      <a:pt x="136" y="201"/>
                    </a:lnTo>
                    <a:lnTo>
                      <a:pt x="146" y="209"/>
                    </a:lnTo>
                    <a:lnTo>
                      <a:pt x="155" y="217"/>
                    </a:lnTo>
                    <a:lnTo>
                      <a:pt x="164" y="225"/>
                    </a:lnTo>
                    <a:lnTo>
                      <a:pt x="172" y="234"/>
                    </a:lnTo>
                    <a:lnTo>
                      <a:pt x="175" y="239"/>
                    </a:lnTo>
                    <a:lnTo>
                      <a:pt x="177" y="245"/>
                    </a:lnTo>
                    <a:lnTo>
                      <a:pt x="178" y="250"/>
                    </a:lnTo>
                    <a:lnTo>
                      <a:pt x="179" y="257"/>
                    </a:lnTo>
                    <a:lnTo>
                      <a:pt x="179" y="257"/>
                    </a:lnTo>
                    <a:lnTo>
                      <a:pt x="178" y="264"/>
                    </a:lnTo>
                    <a:lnTo>
                      <a:pt x="177" y="271"/>
                    </a:lnTo>
                    <a:lnTo>
                      <a:pt x="174" y="280"/>
                    </a:lnTo>
                    <a:lnTo>
                      <a:pt x="170" y="288"/>
                    </a:lnTo>
                    <a:lnTo>
                      <a:pt x="169" y="293"/>
                    </a:lnTo>
                    <a:lnTo>
                      <a:pt x="168" y="298"/>
                    </a:lnTo>
                    <a:lnTo>
                      <a:pt x="168" y="298"/>
                    </a:lnTo>
                    <a:lnTo>
                      <a:pt x="169" y="310"/>
                    </a:lnTo>
                    <a:lnTo>
                      <a:pt x="171" y="322"/>
                    </a:lnTo>
                    <a:lnTo>
                      <a:pt x="175" y="333"/>
                    </a:lnTo>
                    <a:lnTo>
                      <a:pt x="180" y="344"/>
                    </a:lnTo>
                    <a:lnTo>
                      <a:pt x="186" y="354"/>
                    </a:lnTo>
                    <a:lnTo>
                      <a:pt x="192" y="364"/>
                    </a:lnTo>
                    <a:lnTo>
                      <a:pt x="207" y="383"/>
                    </a:lnTo>
                    <a:lnTo>
                      <a:pt x="221" y="401"/>
                    </a:lnTo>
                    <a:lnTo>
                      <a:pt x="228" y="409"/>
                    </a:lnTo>
                    <a:lnTo>
                      <a:pt x="233" y="420"/>
                    </a:lnTo>
                    <a:lnTo>
                      <a:pt x="238" y="429"/>
                    </a:lnTo>
                    <a:lnTo>
                      <a:pt x="243" y="438"/>
                    </a:lnTo>
                    <a:lnTo>
                      <a:pt x="245" y="448"/>
                    </a:lnTo>
                    <a:lnTo>
                      <a:pt x="246" y="459"/>
                    </a:lnTo>
                    <a:lnTo>
                      <a:pt x="246" y="459"/>
                    </a:lnTo>
                    <a:lnTo>
                      <a:pt x="246" y="485"/>
                    </a:lnTo>
                    <a:lnTo>
                      <a:pt x="246" y="485"/>
                    </a:lnTo>
                    <a:lnTo>
                      <a:pt x="246" y="490"/>
                    </a:lnTo>
                    <a:lnTo>
                      <a:pt x="247" y="494"/>
                    </a:lnTo>
                    <a:lnTo>
                      <a:pt x="249" y="498"/>
                    </a:lnTo>
                    <a:lnTo>
                      <a:pt x="252" y="501"/>
                    </a:lnTo>
                    <a:lnTo>
                      <a:pt x="260" y="509"/>
                    </a:lnTo>
                    <a:lnTo>
                      <a:pt x="268" y="515"/>
                    </a:lnTo>
                    <a:lnTo>
                      <a:pt x="289" y="529"/>
                    </a:lnTo>
                    <a:lnTo>
                      <a:pt x="299" y="536"/>
                    </a:lnTo>
                    <a:lnTo>
                      <a:pt x="308" y="543"/>
                    </a:lnTo>
                    <a:lnTo>
                      <a:pt x="308" y="543"/>
                    </a:lnTo>
                    <a:lnTo>
                      <a:pt x="312" y="547"/>
                    </a:lnTo>
                    <a:lnTo>
                      <a:pt x="314" y="553"/>
                    </a:lnTo>
                    <a:lnTo>
                      <a:pt x="316" y="567"/>
                    </a:lnTo>
                    <a:lnTo>
                      <a:pt x="319" y="578"/>
                    </a:lnTo>
                    <a:lnTo>
                      <a:pt x="321" y="584"/>
                    </a:lnTo>
                    <a:lnTo>
                      <a:pt x="323" y="588"/>
                    </a:lnTo>
                    <a:lnTo>
                      <a:pt x="323" y="588"/>
                    </a:lnTo>
                    <a:lnTo>
                      <a:pt x="323" y="594"/>
                    </a:lnTo>
                    <a:lnTo>
                      <a:pt x="323" y="594"/>
                    </a:lnTo>
                    <a:lnTo>
                      <a:pt x="323" y="594"/>
                    </a:lnTo>
                    <a:lnTo>
                      <a:pt x="340" y="591"/>
                    </a:lnTo>
                    <a:lnTo>
                      <a:pt x="351" y="588"/>
                    </a:lnTo>
                    <a:lnTo>
                      <a:pt x="361" y="583"/>
                    </a:lnTo>
                    <a:lnTo>
                      <a:pt x="373" y="577"/>
                    </a:lnTo>
                    <a:lnTo>
                      <a:pt x="383" y="570"/>
                    </a:lnTo>
                    <a:lnTo>
                      <a:pt x="393" y="561"/>
                    </a:lnTo>
                    <a:lnTo>
                      <a:pt x="404" y="551"/>
                    </a:lnTo>
                    <a:lnTo>
                      <a:pt x="404" y="551"/>
                    </a:lnTo>
                    <a:lnTo>
                      <a:pt x="408" y="543"/>
                    </a:lnTo>
                    <a:lnTo>
                      <a:pt x="414" y="537"/>
                    </a:lnTo>
                    <a:lnTo>
                      <a:pt x="420" y="531"/>
                    </a:lnTo>
                    <a:lnTo>
                      <a:pt x="426" y="528"/>
                    </a:lnTo>
                    <a:lnTo>
                      <a:pt x="431" y="524"/>
                    </a:lnTo>
                    <a:lnTo>
                      <a:pt x="438" y="522"/>
                    </a:lnTo>
                    <a:lnTo>
                      <a:pt x="451" y="519"/>
                    </a:lnTo>
                    <a:lnTo>
                      <a:pt x="451" y="519"/>
                    </a:lnTo>
                    <a:lnTo>
                      <a:pt x="439" y="514"/>
                    </a:lnTo>
                    <a:lnTo>
                      <a:pt x="422" y="507"/>
                    </a:lnTo>
                    <a:lnTo>
                      <a:pt x="414" y="502"/>
                    </a:lnTo>
                    <a:lnTo>
                      <a:pt x="407" y="498"/>
                    </a:lnTo>
                    <a:lnTo>
                      <a:pt x="401" y="492"/>
                    </a:lnTo>
                    <a:lnTo>
                      <a:pt x="400" y="489"/>
                    </a:lnTo>
                    <a:lnTo>
                      <a:pt x="399" y="485"/>
                    </a:lnTo>
                    <a:lnTo>
                      <a:pt x="399" y="485"/>
                    </a:lnTo>
                    <a:lnTo>
                      <a:pt x="400" y="479"/>
                    </a:lnTo>
                    <a:lnTo>
                      <a:pt x="401" y="475"/>
                    </a:lnTo>
                    <a:lnTo>
                      <a:pt x="405" y="470"/>
                    </a:lnTo>
                    <a:lnTo>
                      <a:pt x="407" y="467"/>
                    </a:lnTo>
                    <a:lnTo>
                      <a:pt x="416" y="461"/>
                    </a:lnTo>
                    <a:lnTo>
                      <a:pt x="426" y="455"/>
                    </a:lnTo>
                    <a:lnTo>
                      <a:pt x="435" y="451"/>
                    </a:lnTo>
                    <a:lnTo>
                      <a:pt x="443" y="445"/>
                    </a:lnTo>
                    <a:lnTo>
                      <a:pt x="446" y="441"/>
                    </a:lnTo>
                    <a:lnTo>
                      <a:pt x="449" y="437"/>
                    </a:lnTo>
                    <a:lnTo>
                      <a:pt x="450" y="432"/>
                    </a:lnTo>
                    <a:lnTo>
                      <a:pt x="451" y="426"/>
                    </a:lnTo>
                    <a:lnTo>
                      <a:pt x="451" y="426"/>
                    </a:lnTo>
                    <a:lnTo>
                      <a:pt x="450" y="421"/>
                    </a:lnTo>
                    <a:lnTo>
                      <a:pt x="449" y="416"/>
                    </a:lnTo>
                    <a:lnTo>
                      <a:pt x="444" y="406"/>
                    </a:lnTo>
                    <a:lnTo>
                      <a:pt x="438" y="397"/>
                    </a:lnTo>
                    <a:lnTo>
                      <a:pt x="437" y="391"/>
                    </a:lnTo>
                    <a:lnTo>
                      <a:pt x="436" y="386"/>
                    </a:lnTo>
                    <a:lnTo>
                      <a:pt x="436" y="386"/>
                    </a:lnTo>
                    <a:lnTo>
                      <a:pt x="437" y="378"/>
                    </a:lnTo>
                    <a:lnTo>
                      <a:pt x="439" y="371"/>
                    </a:lnTo>
                    <a:lnTo>
                      <a:pt x="442" y="368"/>
                    </a:lnTo>
                    <a:lnTo>
                      <a:pt x="444" y="365"/>
                    </a:lnTo>
                    <a:lnTo>
                      <a:pt x="447" y="364"/>
                    </a:lnTo>
                    <a:lnTo>
                      <a:pt x="451" y="364"/>
                    </a:lnTo>
                    <a:lnTo>
                      <a:pt x="451" y="364"/>
                    </a:lnTo>
                    <a:lnTo>
                      <a:pt x="454" y="364"/>
                    </a:lnTo>
                    <a:lnTo>
                      <a:pt x="458" y="365"/>
                    </a:lnTo>
                    <a:lnTo>
                      <a:pt x="462" y="369"/>
                    </a:lnTo>
                    <a:lnTo>
                      <a:pt x="467" y="372"/>
                    </a:lnTo>
                    <a:lnTo>
                      <a:pt x="469" y="374"/>
                    </a:lnTo>
                    <a:lnTo>
                      <a:pt x="473" y="375"/>
                    </a:lnTo>
                    <a:lnTo>
                      <a:pt x="473" y="375"/>
                    </a:lnTo>
                    <a:lnTo>
                      <a:pt x="477" y="374"/>
                    </a:lnTo>
                    <a:lnTo>
                      <a:pt x="483" y="371"/>
                    </a:lnTo>
                    <a:lnTo>
                      <a:pt x="499" y="364"/>
                    </a:lnTo>
                    <a:lnTo>
                      <a:pt x="507" y="360"/>
                    </a:lnTo>
                    <a:lnTo>
                      <a:pt x="514" y="354"/>
                    </a:lnTo>
                    <a:lnTo>
                      <a:pt x="519" y="349"/>
                    </a:lnTo>
                    <a:lnTo>
                      <a:pt x="520" y="347"/>
                    </a:lnTo>
                    <a:lnTo>
                      <a:pt x="521" y="345"/>
                    </a:lnTo>
                    <a:lnTo>
                      <a:pt x="521" y="345"/>
                    </a:lnTo>
                    <a:lnTo>
                      <a:pt x="520" y="336"/>
                    </a:lnTo>
                    <a:lnTo>
                      <a:pt x="519" y="327"/>
                    </a:lnTo>
                    <a:lnTo>
                      <a:pt x="515" y="313"/>
                    </a:lnTo>
                    <a:lnTo>
                      <a:pt x="512" y="296"/>
                    </a:lnTo>
                    <a:lnTo>
                      <a:pt x="510" y="288"/>
                    </a:lnTo>
                    <a:lnTo>
                      <a:pt x="510" y="279"/>
                    </a:lnTo>
                    <a:lnTo>
                      <a:pt x="510" y="279"/>
                    </a:lnTo>
                    <a:lnTo>
                      <a:pt x="510" y="276"/>
                    </a:lnTo>
                    <a:lnTo>
                      <a:pt x="512" y="271"/>
                    </a:lnTo>
                    <a:lnTo>
                      <a:pt x="516" y="264"/>
                    </a:lnTo>
                    <a:lnTo>
                      <a:pt x="523" y="256"/>
                    </a:lnTo>
                    <a:lnTo>
                      <a:pt x="531" y="247"/>
                    </a:lnTo>
                    <a:lnTo>
                      <a:pt x="531" y="247"/>
                    </a:lnTo>
                    <a:lnTo>
                      <a:pt x="531" y="224"/>
                    </a:lnTo>
                    <a:lnTo>
                      <a:pt x="531" y="224"/>
                    </a:lnTo>
                    <a:lnTo>
                      <a:pt x="531" y="224"/>
                    </a:lnTo>
                    <a:lnTo>
                      <a:pt x="521" y="222"/>
                    </a:lnTo>
                    <a:lnTo>
                      <a:pt x="512" y="219"/>
                    </a:lnTo>
                    <a:lnTo>
                      <a:pt x="506" y="215"/>
                    </a:lnTo>
                    <a:lnTo>
                      <a:pt x="502" y="209"/>
                    </a:lnTo>
                    <a:lnTo>
                      <a:pt x="498" y="202"/>
                    </a:lnTo>
                    <a:lnTo>
                      <a:pt x="496" y="193"/>
                    </a:lnTo>
                    <a:lnTo>
                      <a:pt x="495" y="181"/>
                    </a:lnTo>
                    <a:lnTo>
                      <a:pt x="495" y="169"/>
                    </a:lnTo>
                    <a:lnTo>
                      <a:pt x="495" y="169"/>
                    </a:lnTo>
                    <a:lnTo>
                      <a:pt x="493" y="146"/>
                    </a:lnTo>
                    <a:lnTo>
                      <a:pt x="491" y="127"/>
                    </a:lnTo>
                    <a:lnTo>
                      <a:pt x="488" y="111"/>
                    </a:lnTo>
                    <a:lnTo>
                      <a:pt x="483" y="97"/>
                    </a:lnTo>
                    <a:lnTo>
                      <a:pt x="473" y="70"/>
                    </a:lnTo>
                    <a:lnTo>
                      <a:pt x="469" y="55"/>
                    </a:lnTo>
                    <a:lnTo>
                      <a:pt x="466" y="38"/>
                    </a:lnTo>
                    <a:lnTo>
                      <a:pt x="466" y="38"/>
                    </a:lnTo>
                    <a:lnTo>
                      <a:pt x="453" y="43"/>
                    </a:lnTo>
                    <a:lnTo>
                      <a:pt x="446" y="47"/>
                    </a:lnTo>
                    <a:lnTo>
                      <a:pt x="441" y="48"/>
                    </a:lnTo>
                    <a:lnTo>
                      <a:pt x="441" y="48"/>
                    </a:lnTo>
                    <a:lnTo>
                      <a:pt x="437" y="47"/>
                    </a:lnTo>
                    <a:lnTo>
                      <a:pt x="434" y="46"/>
                    </a:lnTo>
                    <a:lnTo>
                      <a:pt x="429" y="42"/>
                    </a:lnTo>
                    <a:lnTo>
                      <a:pt x="424" y="35"/>
                    </a:lnTo>
                    <a:lnTo>
                      <a:pt x="421" y="28"/>
                    </a:lnTo>
                    <a:lnTo>
                      <a:pt x="415" y="12"/>
                    </a:lnTo>
                    <a:lnTo>
                      <a:pt x="413" y="5"/>
                    </a:lnTo>
                    <a:lnTo>
                      <a:pt x="411" y="0"/>
                    </a:lnTo>
                    <a:lnTo>
                      <a:pt x="411" y="0"/>
                    </a:lnTo>
                    <a:lnTo>
                      <a:pt x="408" y="3"/>
                    </a:lnTo>
                    <a:lnTo>
                      <a:pt x="406" y="9"/>
                    </a:lnTo>
                    <a:lnTo>
                      <a:pt x="400" y="24"/>
                    </a:lnTo>
                    <a:lnTo>
                      <a:pt x="398" y="31"/>
                    </a:lnTo>
                    <a:lnTo>
                      <a:pt x="394" y="38"/>
                    </a:lnTo>
                    <a:lnTo>
                      <a:pt x="390" y="42"/>
                    </a:lnTo>
                    <a:lnTo>
                      <a:pt x="388" y="43"/>
                    </a:lnTo>
                    <a:lnTo>
                      <a:pt x="385" y="44"/>
                    </a:lnTo>
                    <a:lnTo>
                      <a:pt x="385" y="44"/>
                    </a:lnTo>
                    <a:lnTo>
                      <a:pt x="378" y="43"/>
                    </a:lnTo>
                    <a:lnTo>
                      <a:pt x="373" y="42"/>
                    </a:lnTo>
                    <a:lnTo>
                      <a:pt x="362" y="36"/>
                    </a:lnTo>
                    <a:lnTo>
                      <a:pt x="357" y="34"/>
                    </a:lnTo>
                    <a:lnTo>
                      <a:pt x="350" y="32"/>
                    </a:lnTo>
                    <a:lnTo>
                      <a:pt x="343" y="29"/>
                    </a:lnTo>
                    <a:lnTo>
                      <a:pt x="333" y="29"/>
                    </a:lnTo>
                    <a:lnTo>
                      <a:pt x="333" y="29"/>
                    </a:lnTo>
                    <a:lnTo>
                      <a:pt x="328" y="29"/>
                    </a:lnTo>
                    <a:lnTo>
                      <a:pt x="322" y="31"/>
                    </a:lnTo>
                    <a:lnTo>
                      <a:pt x="312" y="35"/>
                    </a:lnTo>
                    <a:lnTo>
                      <a:pt x="301" y="39"/>
                    </a:lnTo>
                    <a:lnTo>
                      <a:pt x="296" y="40"/>
                    </a:lnTo>
                    <a:lnTo>
                      <a:pt x="290" y="41"/>
                    </a:lnTo>
                    <a:lnTo>
                      <a:pt x="290" y="41"/>
                    </a:lnTo>
                    <a:lnTo>
                      <a:pt x="293" y="55"/>
                    </a:lnTo>
                    <a:lnTo>
                      <a:pt x="293" y="5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8" name="Freeform 123"/>
              <p:cNvSpPr>
                <a:spLocks noChangeAspect="1"/>
              </p:cNvSpPr>
              <p:nvPr/>
            </p:nvSpPr>
            <p:spPr bwMode="auto">
              <a:xfrm>
                <a:off x="736347" y="4925464"/>
                <a:ext cx="263128" cy="435565"/>
              </a:xfrm>
              <a:custGeom>
                <a:avLst/>
                <a:gdLst/>
                <a:ahLst/>
                <a:cxnLst>
                  <a:cxn ang="0">
                    <a:pos x="312" y="114"/>
                  </a:cxn>
                  <a:cxn ang="0">
                    <a:pos x="301" y="124"/>
                  </a:cxn>
                  <a:cxn ang="0">
                    <a:pos x="287" y="162"/>
                  </a:cxn>
                  <a:cxn ang="0">
                    <a:pos x="300" y="210"/>
                  </a:cxn>
                  <a:cxn ang="0">
                    <a:pos x="315" y="239"/>
                  </a:cxn>
                  <a:cxn ang="0">
                    <a:pos x="306" y="271"/>
                  </a:cxn>
                  <a:cxn ang="0">
                    <a:pos x="269" y="310"/>
                  </a:cxn>
                  <a:cxn ang="0">
                    <a:pos x="254" y="330"/>
                  </a:cxn>
                  <a:cxn ang="0">
                    <a:pos x="225" y="373"/>
                  </a:cxn>
                  <a:cxn ang="0">
                    <a:pos x="224" y="417"/>
                  </a:cxn>
                  <a:cxn ang="0">
                    <a:pos x="233" y="483"/>
                  </a:cxn>
                  <a:cxn ang="0">
                    <a:pos x="236" y="532"/>
                  </a:cxn>
                  <a:cxn ang="0">
                    <a:pos x="239" y="602"/>
                  </a:cxn>
                  <a:cxn ang="0">
                    <a:pos x="222" y="610"/>
                  </a:cxn>
                  <a:cxn ang="0">
                    <a:pos x="154" y="609"/>
                  </a:cxn>
                  <a:cxn ang="0">
                    <a:pos x="133" y="618"/>
                  </a:cxn>
                  <a:cxn ang="0">
                    <a:pos x="110" y="627"/>
                  </a:cxn>
                  <a:cxn ang="0">
                    <a:pos x="91" y="618"/>
                  </a:cxn>
                  <a:cxn ang="0">
                    <a:pos x="71" y="593"/>
                  </a:cxn>
                  <a:cxn ang="0">
                    <a:pos x="70" y="506"/>
                  </a:cxn>
                  <a:cxn ang="0">
                    <a:pos x="55" y="479"/>
                  </a:cxn>
                  <a:cxn ang="0">
                    <a:pos x="40" y="426"/>
                  </a:cxn>
                  <a:cxn ang="0">
                    <a:pos x="32" y="411"/>
                  </a:cxn>
                  <a:cxn ang="0">
                    <a:pos x="5" y="389"/>
                  </a:cxn>
                  <a:cxn ang="0">
                    <a:pos x="0" y="367"/>
                  </a:cxn>
                  <a:cxn ang="0">
                    <a:pos x="4" y="344"/>
                  </a:cxn>
                  <a:cxn ang="0">
                    <a:pos x="22" y="321"/>
                  </a:cxn>
                  <a:cxn ang="0">
                    <a:pos x="57" y="305"/>
                  </a:cxn>
                  <a:cxn ang="0">
                    <a:pos x="96" y="300"/>
                  </a:cxn>
                  <a:cxn ang="0">
                    <a:pos x="121" y="311"/>
                  </a:cxn>
                  <a:cxn ang="0">
                    <a:pos x="136" y="310"/>
                  </a:cxn>
                  <a:cxn ang="0">
                    <a:pos x="149" y="299"/>
                  </a:cxn>
                  <a:cxn ang="0">
                    <a:pos x="162" y="258"/>
                  </a:cxn>
                  <a:cxn ang="0">
                    <a:pos x="202" y="208"/>
                  </a:cxn>
                  <a:cxn ang="0">
                    <a:pos x="232" y="183"/>
                  </a:cxn>
                  <a:cxn ang="0">
                    <a:pos x="228" y="180"/>
                  </a:cxn>
                  <a:cxn ang="0">
                    <a:pos x="187" y="167"/>
                  </a:cxn>
                  <a:cxn ang="0">
                    <a:pos x="155" y="128"/>
                  </a:cxn>
                  <a:cxn ang="0">
                    <a:pos x="142" y="99"/>
                  </a:cxn>
                  <a:cxn ang="0">
                    <a:pos x="146" y="75"/>
                  </a:cxn>
                  <a:cxn ang="0">
                    <a:pos x="148" y="59"/>
                  </a:cxn>
                  <a:cxn ang="0">
                    <a:pos x="169" y="51"/>
                  </a:cxn>
                  <a:cxn ang="0">
                    <a:pos x="150" y="19"/>
                  </a:cxn>
                  <a:cxn ang="0">
                    <a:pos x="222" y="14"/>
                  </a:cxn>
                  <a:cxn ang="0">
                    <a:pos x="254" y="0"/>
                  </a:cxn>
                  <a:cxn ang="0">
                    <a:pos x="260" y="16"/>
                  </a:cxn>
                  <a:cxn ang="0">
                    <a:pos x="307" y="51"/>
                  </a:cxn>
                  <a:cxn ang="0">
                    <a:pos x="322" y="68"/>
                  </a:cxn>
                  <a:cxn ang="0">
                    <a:pos x="331" y="103"/>
                  </a:cxn>
                </a:cxnLst>
                <a:rect l="0" t="0" r="r" b="b"/>
                <a:pathLst>
                  <a:path w="331" h="627">
                    <a:moveTo>
                      <a:pt x="331" y="109"/>
                    </a:moveTo>
                    <a:lnTo>
                      <a:pt x="331" y="109"/>
                    </a:lnTo>
                    <a:lnTo>
                      <a:pt x="321" y="112"/>
                    </a:lnTo>
                    <a:lnTo>
                      <a:pt x="312" y="114"/>
                    </a:lnTo>
                    <a:lnTo>
                      <a:pt x="308" y="115"/>
                    </a:lnTo>
                    <a:lnTo>
                      <a:pt x="305" y="118"/>
                    </a:lnTo>
                    <a:lnTo>
                      <a:pt x="302" y="120"/>
                    </a:lnTo>
                    <a:lnTo>
                      <a:pt x="301" y="124"/>
                    </a:lnTo>
                    <a:lnTo>
                      <a:pt x="301" y="124"/>
                    </a:lnTo>
                    <a:lnTo>
                      <a:pt x="294" y="137"/>
                    </a:lnTo>
                    <a:lnTo>
                      <a:pt x="290" y="150"/>
                    </a:lnTo>
                    <a:lnTo>
                      <a:pt x="287" y="162"/>
                    </a:lnTo>
                    <a:lnTo>
                      <a:pt x="287" y="174"/>
                    </a:lnTo>
                    <a:lnTo>
                      <a:pt x="289" y="185"/>
                    </a:lnTo>
                    <a:lnTo>
                      <a:pt x="293" y="197"/>
                    </a:lnTo>
                    <a:lnTo>
                      <a:pt x="300" y="210"/>
                    </a:lnTo>
                    <a:lnTo>
                      <a:pt x="308" y="223"/>
                    </a:lnTo>
                    <a:lnTo>
                      <a:pt x="308" y="223"/>
                    </a:lnTo>
                    <a:lnTo>
                      <a:pt x="313" y="231"/>
                    </a:lnTo>
                    <a:lnTo>
                      <a:pt x="315" y="239"/>
                    </a:lnTo>
                    <a:lnTo>
                      <a:pt x="315" y="248"/>
                    </a:lnTo>
                    <a:lnTo>
                      <a:pt x="313" y="256"/>
                    </a:lnTo>
                    <a:lnTo>
                      <a:pt x="310" y="264"/>
                    </a:lnTo>
                    <a:lnTo>
                      <a:pt x="306" y="271"/>
                    </a:lnTo>
                    <a:lnTo>
                      <a:pt x="300" y="277"/>
                    </a:lnTo>
                    <a:lnTo>
                      <a:pt x="294" y="286"/>
                    </a:lnTo>
                    <a:lnTo>
                      <a:pt x="282" y="298"/>
                    </a:lnTo>
                    <a:lnTo>
                      <a:pt x="269" y="310"/>
                    </a:lnTo>
                    <a:lnTo>
                      <a:pt x="259" y="321"/>
                    </a:lnTo>
                    <a:lnTo>
                      <a:pt x="255" y="326"/>
                    </a:lnTo>
                    <a:lnTo>
                      <a:pt x="254" y="330"/>
                    </a:lnTo>
                    <a:lnTo>
                      <a:pt x="254" y="330"/>
                    </a:lnTo>
                    <a:lnTo>
                      <a:pt x="244" y="341"/>
                    </a:lnTo>
                    <a:lnTo>
                      <a:pt x="236" y="352"/>
                    </a:lnTo>
                    <a:lnTo>
                      <a:pt x="230" y="363"/>
                    </a:lnTo>
                    <a:lnTo>
                      <a:pt x="225" y="373"/>
                    </a:lnTo>
                    <a:lnTo>
                      <a:pt x="223" y="384"/>
                    </a:lnTo>
                    <a:lnTo>
                      <a:pt x="223" y="395"/>
                    </a:lnTo>
                    <a:lnTo>
                      <a:pt x="223" y="406"/>
                    </a:lnTo>
                    <a:lnTo>
                      <a:pt x="224" y="417"/>
                    </a:lnTo>
                    <a:lnTo>
                      <a:pt x="229" y="439"/>
                    </a:lnTo>
                    <a:lnTo>
                      <a:pt x="232" y="460"/>
                    </a:lnTo>
                    <a:lnTo>
                      <a:pt x="233" y="472"/>
                    </a:lnTo>
                    <a:lnTo>
                      <a:pt x="233" y="483"/>
                    </a:lnTo>
                    <a:lnTo>
                      <a:pt x="233" y="495"/>
                    </a:lnTo>
                    <a:lnTo>
                      <a:pt x="231" y="506"/>
                    </a:lnTo>
                    <a:lnTo>
                      <a:pt x="231" y="506"/>
                    </a:lnTo>
                    <a:lnTo>
                      <a:pt x="236" y="532"/>
                    </a:lnTo>
                    <a:lnTo>
                      <a:pt x="239" y="556"/>
                    </a:lnTo>
                    <a:lnTo>
                      <a:pt x="240" y="579"/>
                    </a:lnTo>
                    <a:lnTo>
                      <a:pt x="239" y="602"/>
                    </a:lnTo>
                    <a:lnTo>
                      <a:pt x="239" y="602"/>
                    </a:lnTo>
                    <a:lnTo>
                      <a:pt x="234" y="605"/>
                    </a:lnTo>
                    <a:lnTo>
                      <a:pt x="231" y="608"/>
                    </a:lnTo>
                    <a:lnTo>
                      <a:pt x="226" y="609"/>
                    </a:lnTo>
                    <a:lnTo>
                      <a:pt x="222" y="610"/>
                    </a:lnTo>
                    <a:lnTo>
                      <a:pt x="213" y="610"/>
                    </a:lnTo>
                    <a:lnTo>
                      <a:pt x="202" y="609"/>
                    </a:lnTo>
                    <a:lnTo>
                      <a:pt x="202" y="609"/>
                    </a:lnTo>
                    <a:lnTo>
                      <a:pt x="154" y="609"/>
                    </a:lnTo>
                    <a:lnTo>
                      <a:pt x="154" y="609"/>
                    </a:lnTo>
                    <a:lnTo>
                      <a:pt x="148" y="610"/>
                    </a:lnTo>
                    <a:lnTo>
                      <a:pt x="142" y="612"/>
                    </a:lnTo>
                    <a:lnTo>
                      <a:pt x="133" y="618"/>
                    </a:lnTo>
                    <a:lnTo>
                      <a:pt x="129" y="622"/>
                    </a:lnTo>
                    <a:lnTo>
                      <a:pt x="124" y="625"/>
                    </a:lnTo>
                    <a:lnTo>
                      <a:pt x="117" y="626"/>
                    </a:lnTo>
                    <a:lnTo>
                      <a:pt x="110" y="627"/>
                    </a:lnTo>
                    <a:lnTo>
                      <a:pt x="110" y="627"/>
                    </a:lnTo>
                    <a:lnTo>
                      <a:pt x="103" y="626"/>
                    </a:lnTo>
                    <a:lnTo>
                      <a:pt x="96" y="623"/>
                    </a:lnTo>
                    <a:lnTo>
                      <a:pt x="91" y="618"/>
                    </a:lnTo>
                    <a:lnTo>
                      <a:pt x="85" y="612"/>
                    </a:lnTo>
                    <a:lnTo>
                      <a:pt x="79" y="607"/>
                    </a:lnTo>
                    <a:lnTo>
                      <a:pt x="75" y="600"/>
                    </a:lnTo>
                    <a:lnTo>
                      <a:pt x="71" y="593"/>
                    </a:lnTo>
                    <a:lnTo>
                      <a:pt x="70" y="587"/>
                    </a:lnTo>
                    <a:lnTo>
                      <a:pt x="70" y="587"/>
                    </a:lnTo>
                    <a:lnTo>
                      <a:pt x="70" y="506"/>
                    </a:lnTo>
                    <a:lnTo>
                      <a:pt x="70" y="506"/>
                    </a:lnTo>
                    <a:lnTo>
                      <a:pt x="70" y="506"/>
                    </a:lnTo>
                    <a:lnTo>
                      <a:pt x="63" y="497"/>
                    </a:lnTo>
                    <a:lnTo>
                      <a:pt x="58" y="488"/>
                    </a:lnTo>
                    <a:lnTo>
                      <a:pt x="55" y="479"/>
                    </a:lnTo>
                    <a:lnTo>
                      <a:pt x="53" y="468"/>
                    </a:lnTo>
                    <a:lnTo>
                      <a:pt x="47" y="448"/>
                    </a:lnTo>
                    <a:lnTo>
                      <a:pt x="43" y="436"/>
                    </a:lnTo>
                    <a:lnTo>
                      <a:pt x="40" y="426"/>
                    </a:lnTo>
                    <a:lnTo>
                      <a:pt x="40" y="426"/>
                    </a:lnTo>
                    <a:lnTo>
                      <a:pt x="39" y="421"/>
                    </a:lnTo>
                    <a:lnTo>
                      <a:pt x="38" y="418"/>
                    </a:lnTo>
                    <a:lnTo>
                      <a:pt x="32" y="411"/>
                    </a:lnTo>
                    <a:lnTo>
                      <a:pt x="26" y="406"/>
                    </a:lnTo>
                    <a:lnTo>
                      <a:pt x="18" y="402"/>
                    </a:lnTo>
                    <a:lnTo>
                      <a:pt x="11" y="396"/>
                    </a:lnTo>
                    <a:lnTo>
                      <a:pt x="5" y="389"/>
                    </a:lnTo>
                    <a:lnTo>
                      <a:pt x="3" y="384"/>
                    </a:lnTo>
                    <a:lnTo>
                      <a:pt x="1" y="380"/>
                    </a:lnTo>
                    <a:lnTo>
                      <a:pt x="0" y="374"/>
                    </a:lnTo>
                    <a:lnTo>
                      <a:pt x="0" y="367"/>
                    </a:lnTo>
                    <a:lnTo>
                      <a:pt x="0" y="367"/>
                    </a:lnTo>
                    <a:lnTo>
                      <a:pt x="0" y="359"/>
                    </a:lnTo>
                    <a:lnTo>
                      <a:pt x="2" y="351"/>
                    </a:lnTo>
                    <a:lnTo>
                      <a:pt x="4" y="344"/>
                    </a:lnTo>
                    <a:lnTo>
                      <a:pt x="7" y="338"/>
                    </a:lnTo>
                    <a:lnTo>
                      <a:pt x="11" y="332"/>
                    </a:lnTo>
                    <a:lnTo>
                      <a:pt x="16" y="327"/>
                    </a:lnTo>
                    <a:lnTo>
                      <a:pt x="22" y="321"/>
                    </a:lnTo>
                    <a:lnTo>
                      <a:pt x="27" y="317"/>
                    </a:lnTo>
                    <a:lnTo>
                      <a:pt x="34" y="313"/>
                    </a:lnTo>
                    <a:lnTo>
                      <a:pt x="41" y="310"/>
                    </a:lnTo>
                    <a:lnTo>
                      <a:pt x="57" y="305"/>
                    </a:lnTo>
                    <a:lnTo>
                      <a:pt x="75" y="302"/>
                    </a:lnTo>
                    <a:lnTo>
                      <a:pt x="92" y="300"/>
                    </a:lnTo>
                    <a:lnTo>
                      <a:pt x="92" y="300"/>
                    </a:lnTo>
                    <a:lnTo>
                      <a:pt x="96" y="300"/>
                    </a:lnTo>
                    <a:lnTo>
                      <a:pt x="100" y="302"/>
                    </a:lnTo>
                    <a:lnTo>
                      <a:pt x="108" y="306"/>
                    </a:lnTo>
                    <a:lnTo>
                      <a:pt x="116" y="310"/>
                    </a:lnTo>
                    <a:lnTo>
                      <a:pt x="121" y="311"/>
                    </a:lnTo>
                    <a:lnTo>
                      <a:pt x="125" y="312"/>
                    </a:lnTo>
                    <a:lnTo>
                      <a:pt x="125" y="312"/>
                    </a:lnTo>
                    <a:lnTo>
                      <a:pt x="131" y="311"/>
                    </a:lnTo>
                    <a:lnTo>
                      <a:pt x="136" y="310"/>
                    </a:lnTo>
                    <a:lnTo>
                      <a:pt x="140" y="309"/>
                    </a:lnTo>
                    <a:lnTo>
                      <a:pt x="144" y="306"/>
                    </a:lnTo>
                    <a:lnTo>
                      <a:pt x="147" y="303"/>
                    </a:lnTo>
                    <a:lnTo>
                      <a:pt x="149" y="299"/>
                    </a:lnTo>
                    <a:lnTo>
                      <a:pt x="153" y="291"/>
                    </a:lnTo>
                    <a:lnTo>
                      <a:pt x="156" y="281"/>
                    </a:lnTo>
                    <a:lnTo>
                      <a:pt x="159" y="269"/>
                    </a:lnTo>
                    <a:lnTo>
                      <a:pt x="162" y="258"/>
                    </a:lnTo>
                    <a:lnTo>
                      <a:pt x="165" y="245"/>
                    </a:lnTo>
                    <a:lnTo>
                      <a:pt x="165" y="245"/>
                    </a:lnTo>
                    <a:lnTo>
                      <a:pt x="202" y="208"/>
                    </a:lnTo>
                    <a:lnTo>
                      <a:pt x="202" y="208"/>
                    </a:lnTo>
                    <a:lnTo>
                      <a:pt x="210" y="203"/>
                    </a:lnTo>
                    <a:lnTo>
                      <a:pt x="223" y="192"/>
                    </a:lnTo>
                    <a:lnTo>
                      <a:pt x="229" y="188"/>
                    </a:lnTo>
                    <a:lnTo>
                      <a:pt x="232" y="183"/>
                    </a:lnTo>
                    <a:lnTo>
                      <a:pt x="232" y="182"/>
                    </a:lnTo>
                    <a:lnTo>
                      <a:pt x="232" y="181"/>
                    </a:lnTo>
                    <a:lnTo>
                      <a:pt x="231" y="180"/>
                    </a:lnTo>
                    <a:lnTo>
                      <a:pt x="228" y="180"/>
                    </a:lnTo>
                    <a:lnTo>
                      <a:pt x="228" y="180"/>
                    </a:lnTo>
                    <a:lnTo>
                      <a:pt x="211" y="176"/>
                    </a:lnTo>
                    <a:lnTo>
                      <a:pt x="198" y="172"/>
                    </a:lnTo>
                    <a:lnTo>
                      <a:pt x="187" y="167"/>
                    </a:lnTo>
                    <a:lnTo>
                      <a:pt x="178" y="160"/>
                    </a:lnTo>
                    <a:lnTo>
                      <a:pt x="170" y="151"/>
                    </a:lnTo>
                    <a:lnTo>
                      <a:pt x="162" y="141"/>
                    </a:lnTo>
                    <a:lnTo>
                      <a:pt x="155" y="128"/>
                    </a:lnTo>
                    <a:lnTo>
                      <a:pt x="147" y="113"/>
                    </a:lnTo>
                    <a:lnTo>
                      <a:pt x="147" y="113"/>
                    </a:lnTo>
                    <a:lnTo>
                      <a:pt x="144" y="105"/>
                    </a:lnTo>
                    <a:lnTo>
                      <a:pt x="142" y="99"/>
                    </a:lnTo>
                    <a:lnTo>
                      <a:pt x="142" y="94"/>
                    </a:lnTo>
                    <a:lnTo>
                      <a:pt x="142" y="91"/>
                    </a:lnTo>
                    <a:lnTo>
                      <a:pt x="145" y="82"/>
                    </a:lnTo>
                    <a:lnTo>
                      <a:pt x="146" y="75"/>
                    </a:lnTo>
                    <a:lnTo>
                      <a:pt x="147" y="66"/>
                    </a:lnTo>
                    <a:lnTo>
                      <a:pt x="147" y="66"/>
                    </a:lnTo>
                    <a:lnTo>
                      <a:pt x="147" y="61"/>
                    </a:lnTo>
                    <a:lnTo>
                      <a:pt x="148" y="59"/>
                    </a:lnTo>
                    <a:lnTo>
                      <a:pt x="150" y="57"/>
                    </a:lnTo>
                    <a:lnTo>
                      <a:pt x="154" y="55"/>
                    </a:lnTo>
                    <a:lnTo>
                      <a:pt x="161" y="53"/>
                    </a:lnTo>
                    <a:lnTo>
                      <a:pt x="169" y="51"/>
                    </a:lnTo>
                    <a:lnTo>
                      <a:pt x="169" y="51"/>
                    </a:lnTo>
                    <a:lnTo>
                      <a:pt x="150" y="19"/>
                    </a:lnTo>
                    <a:lnTo>
                      <a:pt x="150" y="19"/>
                    </a:lnTo>
                    <a:lnTo>
                      <a:pt x="150" y="19"/>
                    </a:lnTo>
                    <a:lnTo>
                      <a:pt x="182" y="19"/>
                    </a:lnTo>
                    <a:lnTo>
                      <a:pt x="195" y="17"/>
                    </a:lnTo>
                    <a:lnTo>
                      <a:pt x="209" y="16"/>
                    </a:lnTo>
                    <a:lnTo>
                      <a:pt x="222" y="14"/>
                    </a:lnTo>
                    <a:lnTo>
                      <a:pt x="233" y="10"/>
                    </a:lnTo>
                    <a:lnTo>
                      <a:pt x="244" y="6"/>
                    </a:lnTo>
                    <a:lnTo>
                      <a:pt x="254" y="0"/>
                    </a:lnTo>
                    <a:lnTo>
                      <a:pt x="254" y="0"/>
                    </a:lnTo>
                    <a:lnTo>
                      <a:pt x="254" y="5"/>
                    </a:lnTo>
                    <a:lnTo>
                      <a:pt x="255" y="9"/>
                    </a:lnTo>
                    <a:lnTo>
                      <a:pt x="257" y="13"/>
                    </a:lnTo>
                    <a:lnTo>
                      <a:pt x="260" y="16"/>
                    </a:lnTo>
                    <a:lnTo>
                      <a:pt x="268" y="24"/>
                    </a:lnTo>
                    <a:lnTo>
                      <a:pt x="276" y="30"/>
                    </a:lnTo>
                    <a:lnTo>
                      <a:pt x="297" y="44"/>
                    </a:lnTo>
                    <a:lnTo>
                      <a:pt x="307" y="51"/>
                    </a:lnTo>
                    <a:lnTo>
                      <a:pt x="316" y="58"/>
                    </a:lnTo>
                    <a:lnTo>
                      <a:pt x="316" y="58"/>
                    </a:lnTo>
                    <a:lnTo>
                      <a:pt x="320" y="62"/>
                    </a:lnTo>
                    <a:lnTo>
                      <a:pt x="322" y="68"/>
                    </a:lnTo>
                    <a:lnTo>
                      <a:pt x="324" y="82"/>
                    </a:lnTo>
                    <a:lnTo>
                      <a:pt x="327" y="93"/>
                    </a:lnTo>
                    <a:lnTo>
                      <a:pt x="329" y="99"/>
                    </a:lnTo>
                    <a:lnTo>
                      <a:pt x="331" y="103"/>
                    </a:lnTo>
                    <a:lnTo>
                      <a:pt x="331" y="103"/>
                    </a:lnTo>
                    <a:lnTo>
                      <a:pt x="331" y="109"/>
                    </a:lnTo>
                    <a:lnTo>
                      <a:pt x="331" y="10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39" name="Freeform 124"/>
              <p:cNvSpPr>
                <a:spLocks noChangeAspect="1"/>
              </p:cNvSpPr>
              <p:nvPr/>
            </p:nvSpPr>
            <p:spPr bwMode="auto">
              <a:xfrm>
                <a:off x="706230" y="4988086"/>
                <a:ext cx="215575" cy="155857"/>
              </a:xfrm>
              <a:custGeom>
                <a:avLst/>
                <a:gdLst/>
                <a:ahLst/>
                <a:cxnLst>
                  <a:cxn ang="0">
                    <a:pos x="177" y="15"/>
                  </a:cxn>
                  <a:cxn ang="0">
                    <a:pos x="160" y="15"/>
                  </a:cxn>
                  <a:cxn ang="0">
                    <a:pos x="154" y="13"/>
                  </a:cxn>
                  <a:cxn ang="0">
                    <a:pos x="146" y="5"/>
                  </a:cxn>
                  <a:cxn ang="0">
                    <a:pos x="139" y="1"/>
                  </a:cxn>
                  <a:cxn ang="0">
                    <a:pos x="133" y="0"/>
                  </a:cxn>
                  <a:cxn ang="0">
                    <a:pos x="113" y="2"/>
                  </a:cxn>
                  <a:cxn ang="0">
                    <a:pos x="80" y="9"/>
                  </a:cxn>
                  <a:cxn ang="0">
                    <a:pos x="50" y="21"/>
                  </a:cxn>
                  <a:cxn ang="0">
                    <a:pos x="41" y="28"/>
                  </a:cxn>
                  <a:cxn ang="0">
                    <a:pos x="38" y="37"/>
                  </a:cxn>
                  <a:cxn ang="0">
                    <a:pos x="39" y="45"/>
                  </a:cxn>
                  <a:cxn ang="0">
                    <a:pos x="43" y="63"/>
                  </a:cxn>
                  <a:cxn ang="0">
                    <a:pos x="46" y="74"/>
                  </a:cxn>
                  <a:cxn ang="0">
                    <a:pos x="43" y="94"/>
                  </a:cxn>
                  <a:cxn ang="0">
                    <a:pos x="39" y="105"/>
                  </a:cxn>
                  <a:cxn ang="0">
                    <a:pos x="32" y="109"/>
                  </a:cxn>
                  <a:cxn ang="0">
                    <a:pos x="27" y="111"/>
                  </a:cxn>
                  <a:cxn ang="0">
                    <a:pos x="14" y="106"/>
                  </a:cxn>
                  <a:cxn ang="0">
                    <a:pos x="4" y="96"/>
                  </a:cxn>
                  <a:cxn ang="0">
                    <a:pos x="1" y="102"/>
                  </a:cxn>
                  <a:cxn ang="0">
                    <a:pos x="1" y="111"/>
                  </a:cxn>
                  <a:cxn ang="0">
                    <a:pos x="1" y="117"/>
                  </a:cxn>
                  <a:cxn ang="0">
                    <a:pos x="2" y="124"/>
                  </a:cxn>
                  <a:cxn ang="0">
                    <a:pos x="7" y="130"/>
                  </a:cxn>
                  <a:cxn ang="0">
                    <a:pos x="19" y="138"/>
                  </a:cxn>
                  <a:cxn ang="0">
                    <a:pos x="37" y="147"/>
                  </a:cxn>
                  <a:cxn ang="0">
                    <a:pos x="53" y="162"/>
                  </a:cxn>
                  <a:cxn ang="0">
                    <a:pos x="56" y="168"/>
                  </a:cxn>
                  <a:cxn ang="0">
                    <a:pos x="62" y="192"/>
                  </a:cxn>
                  <a:cxn ang="0">
                    <a:pos x="67" y="208"/>
                  </a:cxn>
                  <a:cxn ang="0">
                    <a:pos x="75" y="224"/>
                  </a:cxn>
                  <a:cxn ang="0">
                    <a:pos x="78" y="224"/>
                  </a:cxn>
                  <a:cxn ang="0">
                    <a:pos x="78" y="224"/>
                  </a:cxn>
                  <a:cxn ang="0">
                    <a:pos x="101" y="213"/>
                  </a:cxn>
                  <a:cxn ang="0">
                    <a:pos x="130" y="209"/>
                  </a:cxn>
                  <a:cxn ang="0">
                    <a:pos x="134" y="209"/>
                  </a:cxn>
                  <a:cxn ang="0">
                    <a:pos x="146" y="215"/>
                  </a:cxn>
                  <a:cxn ang="0">
                    <a:pos x="159" y="220"/>
                  </a:cxn>
                  <a:cxn ang="0">
                    <a:pos x="163" y="221"/>
                  </a:cxn>
                  <a:cxn ang="0">
                    <a:pos x="174" y="219"/>
                  </a:cxn>
                  <a:cxn ang="0">
                    <a:pos x="182" y="215"/>
                  </a:cxn>
                  <a:cxn ang="0">
                    <a:pos x="187" y="208"/>
                  </a:cxn>
                  <a:cxn ang="0">
                    <a:pos x="194" y="190"/>
                  </a:cxn>
                  <a:cxn ang="0">
                    <a:pos x="200" y="167"/>
                  </a:cxn>
                  <a:cxn ang="0">
                    <a:pos x="203" y="154"/>
                  </a:cxn>
                  <a:cxn ang="0">
                    <a:pos x="240" y="117"/>
                  </a:cxn>
                  <a:cxn ang="0">
                    <a:pos x="261" y="101"/>
                  </a:cxn>
                  <a:cxn ang="0">
                    <a:pos x="270" y="92"/>
                  </a:cxn>
                  <a:cxn ang="0">
                    <a:pos x="270" y="90"/>
                  </a:cxn>
                  <a:cxn ang="0">
                    <a:pos x="266" y="89"/>
                  </a:cxn>
                  <a:cxn ang="0">
                    <a:pos x="249" y="85"/>
                  </a:cxn>
                  <a:cxn ang="0">
                    <a:pos x="225" y="76"/>
                  </a:cxn>
                  <a:cxn ang="0">
                    <a:pos x="208" y="60"/>
                  </a:cxn>
                  <a:cxn ang="0">
                    <a:pos x="193" y="37"/>
                  </a:cxn>
                  <a:cxn ang="0">
                    <a:pos x="185" y="22"/>
                  </a:cxn>
                  <a:cxn ang="0">
                    <a:pos x="177" y="15"/>
                  </a:cxn>
                </a:cxnLst>
                <a:rect l="0" t="0" r="r" b="b"/>
                <a:pathLst>
                  <a:path w="270" h="224">
                    <a:moveTo>
                      <a:pt x="177" y="15"/>
                    </a:moveTo>
                    <a:lnTo>
                      <a:pt x="177" y="15"/>
                    </a:lnTo>
                    <a:lnTo>
                      <a:pt x="160" y="15"/>
                    </a:lnTo>
                    <a:lnTo>
                      <a:pt x="160" y="15"/>
                    </a:lnTo>
                    <a:lnTo>
                      <a:pt x="156" y="14"/>
                    </a:lnTo>
                    <a:lnTo>
                      <a:pt x="154" y="13"/>
                    </a:lnTo>
                    <a:lnTo>
                      <a:pt x="149" y="7"/>
                    </a:lnTo>
                    <a:lnTo>
                      <a:pt x="146" y="5"/>
                    </a:lnTo>
                    <a:lnTo>
                      <a:pt x="142" y="2"/>
                    </a:lnTo>
                    <a:lnTo>
                      <a:pt x="139" y="1"/>
                    </a:lnTo>
                    <a:lnTo>
                      <a:pt x="133" y="0"/>
                    </a:lnTo>
                    <a:lnTo>
                      <a:pt x="133" y="0"/>
                    </a:lnTo>
                    <a:lnTo>
                      <a:pt x="125" y="1"/>
                    </a:lnTo>
                    <a:lnTo>
                      <a:pt x="113" y="2"/>
                    </a:lnTo>
                    <a:lnTo>
                      <a:pt x="96" y="5"/>
                    </a:lnTo>
                    <a:lnTo>
                      <a:pt x="80" y="9"/>
                    </a:lnTo>
                    <a:lnTo>
                      <a:pt x="64" y="14"/>
                    </a:lnTo>
                    <a:lnTo>
                      <a:pt x="50" y="21"/>
                    </a:lnTo>
                    <a:lnTo>
                      <a:pt x="45" y="24"/>
                    </a:lnTo>
                    <a:lnTo>
                      <a:pt x="41" y="28"/>
                    </a:lnTo>
                    <a:lnTo>
                      <a:pt x="39" y="32"/>
                    </a:lnTo>
                    <a:lnTo>
                      <a:pt x="38" y="37"/>
                    </a:lnTo>
                    <a:lnTo>
                      <a:pt x="38" y="37"/>
                    </a:lnTo>
                    <a:lnTo>
                      <a:pt x="39" y="45"/>
                    </a:lnTo>
                    <a:lnTo>
                      <a:pt x="41" y="54"/>
                    </a:lnTo>
                    <a:lnTo>
                      <a:pt x="43" y="63"/>
                    </a:lnTo>
                    <a:lnTo>
                      <a:pt x="46" y="74"/>
                    </a:lnTo>
                    <a:lnTo>
                      <a:pt x="46" y="74"/>
                    </a:lnTo>
                    <a:lnTo>
                      <a:pt x="45" y="89"/>
                    </a:lnTo>
                    <a:lnTo>
                      <a:pt x="43" y="94"/>
                    </a:lnTo>
                    <a:lnTo>
                      <a:pt x="41" y="100"/>
                    </a:lnTo>
                    <a:lnTo>
                      <a:pt x="39" y="105"/>
                    </a:lnTo>
                    <a:lnTo>
                      <a:pt x="37" y="107"/>
                    </a:lnTo>
                    <a:lnTo>
                      <a:pt x="32" y="109"/>
                    </a:lnTo>
                    <a:lnTo>
                      <a:pt x="27" y="111"/>
                    </a:lnTo>
                    <a:lnTo>
                      <a:pt x="27" y="111"/>
                    </a:lnTo>
                    <a:lnTo>
                      <a:pt x="19" y="109"/>
                    </a:lnTo>
                    <a:lnTo>
                      <a:pt x="14" y="106"/>
                    </a:lnTo>
                    <a:lnTo>
                      <a:pt x="8" y="101"/>
                    </a:lnTo>
                    <a:lnTo>
                      <a:pt x="4" y="96"/>
                    </a:lnTo>
                    <a:lnTo>
                      <a:pt x="4" y="96"/>
                    </a:lnTo>
                    <a:lnTo>
                      <a:pt x="1" y="102"/>
                    </a:lnTo>
                    <a:lnTo>
                      <a:pt x="0" y="107"/>
                    </a:lnTo>
                    <a:lnTo>
                      <a:pt x="1" y="111"/>
                    </a:lnTo>
                    <a:lnTo>
                      <a:pt x="1" y="117"/>
                    </a:lnTo>
                    <a:lnTo>
                      <a:pt x="1" y="117"/>
                    </a:lnTo>
                    <a:lnTo>
                      <a:pt x="2" y="122"/>
                    </a:lnTo>
                    <a:lnTo>
                      <a:pt x="2" y="124"/>
                    </a:lnTo>
                    <a:lnTo>
                      <a:pt x="4" y="128"/>
                    </a:lnTo>
                    <a:lnTo>
                      <a:pt x="7" y="130"/>
                    </a:lnTo>
                    <a:lnTo>
                      <a:pt x="12" y="135"/>
                    </a:lnTo>
                    <a:lnTo>
                      <a:pt x="19" y="138"/>
                    </a:lnTo>
                    <a:lnTo>
                      <a:pt x="29" y="143"/>
                    </a:lnTo>
                    <a:lnTo>
                      <a:pt x="37" y="147"/>
                    </a:lnTo>
                    <a:lnTo>
                      <a:pt x="45" y="153"/>
                    </a:lnTo>
                    <a:lnTo>
                      <a:pt x="53" y="162"/>
                    </a:lnTo>
                    <a:lnTo>
                      <a:pt x="53" y="162"/>
                    </a:lnTo>
                    <a:lnTo>
                      <a:pt x="56" y="168"/>
                    </a:lnTo>
                    <a:lnTo>
                      <a:pt x="58" y="175"/>
                    </a:lnTo>
                    <a:lnTo>
                      <a:pt x="62" y="192"/>
                    </a:lnTo>
                    <a:lnTo>
                      <a:pt x="64" y="200"/>
                    </a:lnTo>
                    <a:lnTo>
                      <a:pt x="67" y="208"/>
                    </a:lnTo>
                    <a:lnTo>
                      <a:pt x="70" y="216"/>
                    </a:lnTo>
                    <a:lnTo>
                      <a:pt x="75" y="224"/>
                    </a:lnTo>
                    <a:lnTo>
                      <a:pt x="75" y="224"/>
                    </a:lnTo>
                    <a:lnTo>
                      <a:pt x="78" y="224"/>
                    </a:lnTo>
                    <a:lnTo>
                      <a:pt x="78" y="224"/>
                    </a:lnTo>
                    <a:lnTo>
                      <a:pt x="78" y="224"/>
                    </a:lnTo>
                    <a:lnTo>
                      <a:pt x="90" y="218"/>
                    </a:lnTo>
                    <a:lnTo>
                      <a:pt x="101" y="213"/>
                    </a:lnTo>
                    <a:lnTo>
                      <a:pt x="115" y="211"/>
                    </a:lnTo>
                    <a:lnTo>
                      <a:pt x="130" y="209"/>
                    </a:lnTo>
                    <a:lnTo>
                      <a:pt x="130" y="209"/>
                    </a:lnTo>
                    <a:lnTo>
                      <a:pt x="134" y="209"/>
                    </a:lnTo>
                    <a:lnTo>
                      <a:pt x="138" y="211"/>
                    </a:lnTo>
                    <a:lnTo>
                      <a:pt x="146" y="215"/>
                    </a:lnTo>
                    <a:lnTo>
                      <a:pt x="154" y="219"/>
                    </a:lnTo>
                    <a:lnTo>
                      <a:pt x="159" y="220"/>
                    </a:lnTo>
                    <a:lnTo>
                      <a:pt x="163" y="221"/>
                    </a:lnTo>
                    <a:lnTo>
                      <a:pt x="163" y="221"/>
                    </a:lnTo>
                    <a:lnTo>
                      <a:pt x="169" y="220"/>
                    </a:lnTo>
                    <a:lnTo>
                      <a:pt x="174" y="219"/>
                    </a:lnTo>
                    <a:lnTo>
                      <a:pt x="178" y="218"/>
                    </a:lnTo>
                    <a:lnTo>
                      <a:pt x="182" y="215"/>
                    </a:lnTo>
                    <a:lnTo>
                      <a:pt x="185" y="212"/>
                    </a:lnTo>
                    <a:lnTo>
                      <a:pt x="187" y="208"/>
                    </a:lnTo>
                    <a:lnTo>
                      <a:pt x="191" y="200"/>
                    </a:lnTo>
                    <a:lnTo>
                      <a:pt x="194" y="190"/>
                    </a:lnTo>
                    <a:lnTo>
                      <a:pt x="197" y="178"/>
                    </a:lnTo>
                    <a:lnTo>
                      <a:pt x="200" y="167"/>
                    </a:lnTo>
                    <a:lnTo>
                      <a:pt x="203" y="154"/>
                    </a:lnTo>
                    <a:lnTo>
                      <a:pt x="203" y="154"/>
                    </a:lnTo>
                    <a:lnTo>
                      <a:pt x="240" y="117"/>
                    </a:lnTo>
                    <a:lnTo>
                      <a:pt x="240" y="117"/>
                    </a:lnTo>
                    <a:lnTo>
                      <a:pt x="248" y="112"/>
                    </a:lnTo>
                    <a:lnTo>
                      <a:pt x="261" y="101"/>
                    </a:lnTo>
                    <a:lnTo>
                      <a:pt x="267" y="97"/>
                    </a:lnTo>
                    <a:lnTo>
                      <a:pt x="270" y="92"/>
                    </a:lnTo>
                    <a:lnTo>
                      <a:pt x="270" y="91"/>
                    </a:lnTo>
                    <a:lnTo>
                      <a:pt x="270" y="90"/>
                    </a:lnTo>
                    <a:lnTo>
                      <a:pt x="269" y="89"/>
                    </a:lnTo>
                    <a:lnTo>
                      <a:pt x="266" y="89"/>
                    </a:lnTo>
                    <a:lnTo>
                      <a:pt x="266" y="89"/>
                    </a:lnTo>
                    <a:lnTo>
                      <a:pt x="249" y="85"/>
                    </a:lnTo>
                    <a:lnTo>
                      <a:pt x="236" y="81"/>
                    </a:lnTo>
                    <a:lnTo>
                      <a:pt x="225" y="76"/>
                    </a:lnTo>
                    <a:lnTo>
                      <a:pt x="216" y="69"/>
                    </a:lnTo>
                    <a:lnTo>
                      <a:pt x="208" y="60"/>
                    </a:lnTo>
                    <a:lnTo>
                      <a:pt x="200" y="50"/>
                    </a:lnTo>
                    <a:lnTo>
                      <a:pt x="193" y="37"/>
                    </a:lnTo>
                    <a:lnTo>
                      <a:pt x="185" y="22"/>
                    </a:lnTo>
                    <a:lnTo>
                      <a:pt x="185" y="22"/>
                    </a:lnTo>
                    <a:lnTo>
                      <a:pt x="177" y="15"/>
                    </a:lnTo>
                    <a:lnTo>
                      <a:pt x="177" y="1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0" name="Freeform 125"/>
              <p:cNvSpPr>
                <a:spLocks noChangeAspect="1"/>
              </p:cNvSpPr>
              <p:nvPr/>
            </p:nvSpPr>
            <p:spPr bwMode="auto">
              <a:xfrm>
                <a:off x="489070" y="4776565"/>
                <a:ext cx="174362" cy="140550"/>
              </a:xfrm>
              <a:custGeom>
                <a:avLst/>
                <a:gdLst/>
                <a:ahLst/>
                <a:cxnLst>
                  <a:cxn ang="0">
                    <a:pos x="173" y="8"/>
                  </a:cxn>
                  <a:cxn ang="0">
                    <a:pos x="163" y="24"/>
                  </a:cxn>
                  <a:cxn ang="0">
                    <a:pos x="154" y="35"/>
                  </a:cxn>
                  <a:cxn ang="0">
                    <a:pos x="141" y="39"/>
                  </a:cxn>
                  <a:cxn ang="0">
                    <a:pos x="124" y="42"/>
                  </a:cxn>
                  <a:cxn ang="0">
                    <a:pos x="118" y="40"/>
                  </a:cxn>
                  <a:cxn ang="0">
                    <a:pos x="109" y="37"/>
                  </a:cxn>
                  <a:cxn ang="0">
                    <a:pos x="101" y="29"/>
                  </a:cxn>
                  <a:cxn ang="0">
                    <a:pos x="95" y="14"/>
                  </a:cxn>
                  <a:cxn ang="0">
                    <a:pos x="90" y="7"/>
                  </a:cxn>
                  <a:cxn ang="0">
                    <a:pos x="82" y="2"/>
                  </a:cxn>
                  <a:cxn ang="0">
                    <a:pos x="69" y="0"/>
                  </a:cxn>
                  <a:cxn ang="0">
                    <a:pos x="59" y="1"/>
                  </a:cxn>
                  <a:cxn ang="0">
                    <a:pos x="36" y="9"/>
                  </a:cxn>
                  <a:cxn ang="0">
                    <a:pos x="15" y="23"/>
                  </a:cxn>
                  <a:cxn ang="0">
                    <a:pos x="3" y="37"/>
                  </a:cxn>
                  <a:cxn ang="0">
                    <a:pos x="0" y="47"/>
                  </a:cxn>
                  <a:cxn ang="0">
                    <a:pos x="0" y="52"/>
                  </a:cxn>
                  <a:cxn ang="0">
                    <a:pos x="2" y="73"/>
                  </a:cxn>
                  <a:cxn ang="0">
                    <a:pos x="11" y="94"/>
                  </a:cxn>
                  <a:cxn ang="0">
                    <a:pos x="24" y="117"/>
                  </a:cxn>
                  <a:cxn ang="0">
                    <a:pos x="59" y="161"/>
                  </a:cxn>
                  <a:cxn ang="0">
                    <a:pos x="94" y="193"/>
                  </a:cxn>
                  <a:cxn ang="0">
                    <a:pos x="110" y="203"/>
                  </a:cxn>
                  <a:cxn ang="0">
                    <a:pos x="110" y="199"/>
                  </a:cxn>
                  <a:cxn ang="0">
                    <a:pos x="115" y="192"/>
                  </a:cxn>
                  <a:cxn ang="0">
                    <a:pos x="129" y="182"/>
                  </a:cxn>
                  <a:cxn ang="0">
                    <a:pos x="155" y="170"/>
                  </a:cxn>
                  <a:cxn ang="0">
                    <a:pos x="183" y="164"/>
                  </a:cxn>
                  <a:cxn ang="0">
                    <a:pos x="194" y="162"/>
                  </a:cxn>
                  <a:cxn ang="0">
                    <a:pos x="201" y="162"/>
                  </a:cxn>
                  <a:cxn ang="0">
                    <a:pos x="201" y="145"/>
                  </a:cxn>
                  <a:cxn ang="0">
                    <a:pos x="198" y="130"/>
                  </a:cxn>
                  <a:cxn ang="0">
                    <a:pos x="191" y="111"/>
                  </a:cxn>
                  <a:cxn ang="0">
                    <a:pos x="191" y="104"/>
                  </a:cxn>
                  <a:cxn ang="0">
                    <a:pos x="192" y="97"/>
                  </a:cxn>
                  <a:cxn ang="0">
                    <a:pos x="200" y="90"/>
                  </a:cxn>
                  <a:cxn ang="0">
                    <a:pos x="210" y="85"/>
                  </a:cxn>
                  <a:cxn ang="0">
                    <a:pos x="219" y="77"/>
                  </a:cxn>
                  <a:cxn ang="0">
                    <a:pos x="220" y="70"/>
                  </a:cxn>
                  <a:cxn ang="0">
                    <a:pos x="220" y="65"/>
                  </a:cxn>
                  <a:cxn ang="0">
                    <a:pos x="215" y="55"/>
                  </a:cxn>
                  <a:cxn ang="0">
                    <a:pos x="205" y="43"/>
                  </a:cxn>
                  <a:cxn ang="0">
                    <a:pos x="187" y="29"/>
                  </a:cxn>
                  <a:cxn ang="0">
                    <a:pos x="177" y="16"/>
                  </a:cxn>
                  <a:cxn ang="0">
                    <a:pos x="173" y="7"/>
                  </a:cxn>
                  <a:cxn ang="0">
                    <a:pos x="173" y="0"/>
                  </a:cxn>
                  <a:cxn ang="0">
                    <a:pos x="173" y="8"/>
                  </a:cxn>
                </a:cxnLst>
                <a:rect l="0" t="0" r="r" b="b"/>
                <a:pathLst>
                  <a:path w="220" h="203">
                    <a:moveTo>
                      <a:pt x="173" y="8"/>
                    </a:moveTo>
                    <a:lnTo>
                      <a:pt x="173" y="8"/>
                    </a:lnTo>
                    <a:lnTo>
                      <a:pt x="168" y="17"/>
                    </a:lnTo>
                    <a:lnTo>
                      <a:pt x="163" y="24"/>
                    </a:lnTo>
                    <a:lnTo>
                      <a:pt x="159" y="30"/>
                    </a:lnTo>
                    <a:lnTo>
                      <a:pt x="154" y="35"/>
                    </a:lnTo>
                    <a:lnTo>
                      <a:pt x="148" y="38"/>
                    </a:lnTo>
                    <a:lnTo>
                      <a:pt x="141" y="39"/>
                    </a:lnTo>
                    <a:lnTo>
                      <a:pt x="133" y="40"/>
                    </a:lnTo>
                    <a:lnTo>
                      <a:pt x="124" y="42"/>
                    </a:lnTo>
                    <a:lnTo>
                      <a:pt x="124" y="42"/>
                    </a:lnTo>
                    <a:lnTo>
                      <a:pt x="118" y="40"/>
                    </a:lnTo>
                    <a:lnTo>
                      <a:pt x="114" y="39"/>
                    </a:lnTo>
                    <a:lnTo>
                      <a:pt x="109" y="37"/>
                    </a:lnTo>
                    <a:lnTo>
                      <a:pt x="106" y="35"/>
                    </a:lnTo>
                    <a:lnTo>
                      <a:pt x="101" y="29"/>
                    </a:lnTo>
                    <a:lnTo>
                      <a:pt x="99" y="21"/>
                    </a:lnTo>
                    <a:lnTo>
                      <a:pt x="95" y="14"/>
                    </a:lnTo>
                    <a:lnTo>
                      <a:pt x="93" y="10"/>
                    </a:lnTo>
                    <a:lnTo>
                      <a:pt x="90" y="7"/>
                    </a:lnTo>
                    <a:lnTo>
                      <a:pt x="86" y="5"/>
                    </a:lnTo>
                    <a:lnTo>
                      <a:pt x="82" y="2"/>
                    </a:lnTo>
                    <a:lnTo>
                      <a:pt x="76" y="1"/>
                    </a:lnTo>
                    <a:lnTo>
                      <a:pt x="69" y="0"/>
                    </a:lnTo>
                    <a:lnTo>
                      <a:pt x="69" y="0"/>
                    </a:lnTo>
                    <a:lnTo>
                      <a:pt x="59" y="1"/>
                    </a:lnTo>
                    <a:lnTo>
                      <a:pt x="47" y="5"/>
                    </a:lnTo>
                    <a:lnTo>
                      <a:pt x="36" y="9"/>
                    </a:lnTo>
                    <a:lnTo>
                      <a:pt x="24" y="15"/>
                    </a:lnTo>
                    <a:lnTo>
                      <a:pt x="15" y="23"/>
                    </a:lnTo>
                    <a:lnTo>
                      <a:pt x="7" y="32"/>
                    </a:lnTo>
                    <a:lnTo>
                      <a:pt x="3" y="37"/>
                    </a:lnTo>
                    <a:lnTo>
                      <a:pt x="1" y="42"/>
                    </a:lnTo>
                    <a:lnTo>
                      <a:pt x="0" y="47"/>
                    </a:lnTo>
                    <a:lnTo>
                      <a:pt x="0" y="52"/>
                    </a:lnTo>
                    <a:lnTo>
                      <a:pt x="0" y="52"/>
                    </a:lnTo>
                    <a:lnTo>
                      <a:pt x="0" y="62"/>
                    </a:lnTo>
                    <a:lnTo>
                      <a:pt x="2" y="73"/>
                    </a:lnTo>
                    <a:lnTo>
                      <a:pt x="7" y="84"/>
                    </a:lnTo>
                    <a:lnTo>
                      <a:pt x="11" y="94"/>
                    </a:lnTo>
                    <a:lnTo>
                      <a:pt x="17" y="106"/>
                    </a:lnTo>
                    <a:lnTo>
                      <a:pt x="24" y="117"/>
                    </a:lnTo>
                    <a:lnTo>
                      <a:pt x="40" y="140"/>
                    </a:lnTo>
                    <a:lnTo>
                      <a:pt x="59" y="161"/>
                    </a:lnTo>
                    <a:lnTo>
                      <a:pt x="77" y="178"/>
                    </a:lnTo>
                    <a:lnTo>
                      <a:pt x="94" y="193"/>
                    </a:lnTo>
                    <a:lnTo>
                      <a:pt x="102" y="199"/>
                    </a:lnTo>
                    <a:lnTo>
                      <a:pt x="110" y="203"/>
                    </a:lnTo>
                    <a:lnTo>
                      <a:pt x="110" y="203"/>
                    </a:lnTo>
                    <a:lnTo>
                      <a:pt x="110" y="199"/>
                    </a:lnTo>
                    <a:lnTo>
                      <a:pt x="113" y="196"/>
                    </a:lnTo>
                    <a:lnTo>
                      <a:pt x="115" y="192"/>
                    </a:lnTo>
                    <a:lnTo>
                      <a:pt x="120" y="189"/>
                    </a:lnTo>
                    <a:lnTo>
                      <a:pt x="129" y="182"/>
                    </a:lnTo>
                    <a:lnTo>
                      <a:pt x="141" y="176"/>
                    </a:lnTo>
                    <a:lnTo>
                      <a:pt x="155" y="170"/>
                    </a:lnTo>
                    <a:lnTo>
                      <a:pt x="169" y="166"/>
                    </a:lnTo>
                    <a:lnTo>
                      <a:pt x="183" y="164"/>
                    </a:lnTo>
                    <a:lnTo>
                      <a:pt x="194" y="162"/>
                    </a:lnTo>
                    <a:lnTo>
                      <a:pt x="194" y="162"/>
                    </a:lnTo>
                    <a:lnTo>
                      <a:pt x="201" y="162"/>
                    </a:lnTo>
                    <a:lnTo>
                      <a:pt x="201" y="162"/>
                    </a:lnTo>
                    <a:lnTo>
                      <a:pt x="202" y="153"/>
                    </a:lnTo>
                    <a:lnTo>
                      <a:pt x="201" y="145"/>
                    </a:lnTo>
                    <a:lnTo>
                      <a:pt x="200" y="137"/>
                    </a:lnTo>
                    <a:lnTo>
                      <a:pt x="198" y="130"/>
                    </a:lnTo>
                    <a:lnTo>
                      <a:pt x="193" y="117"/>
                    </a:lnTo>
                    <a:lnTo>
                      <a:pt x="191" y="111"/>
                    </a:lnTo>
                    <a:lnTo>
                      <a:pt x="191" y="104"/>
                    </a:lnTo>
                    <a:lnTo>
                      <a:pt x="191" y="104"/>
                    </a:lnTo>
                    <a:lnTo>
                      <a:pt x="191" y="100"/>
                    </a:lnTo>
                    <a:lnTo>
                      <a:pt x="192" y="97"/>
                    </a:lnTo>
                    <a:lnTo>
                      <a:pt x="196" y="92"/>
                    </a:lnTo>
                    <a:lnTo>
                      <a:pt x="200" y="90"/>
                    </a:lnTo>
                    <a:lnTo>
                      <a:pt x="205" y="88"/>
                    </a:lnTo>
                    <a:lnTo>
                      <a:pt x="210" y="85"/>
                    </a:lnTo>
                    <a:lnTo>
                      <a:pt x="215" y="82"/>
                    </a:lnTo>
                    <a:lnTo>
                      <a:pt x="219" y="77"/>
                    </a:lnTo>
                    <a:lnTo>
                      <a:pt x="220" y="75"/>
                    </a:lnTo>
                    <a:lnTo>
                      <a:pt x="220" y="70"/>
                    </a:lnTo>
                    <a:lnTo>
                      <a:pt x="220" y="70"/>
                    </a:lnTo>
                    <a:lnTo>
                      <a:pt x="220" y="65"/>
                    </a:lnTo>
                    <a:lnTo>
                      <a:pt x="217" y="60"/>
                    </a:lnTo>
                    <a:lnTo>
                      <a:pt x="215" y="55"/>
                    </a:lnTo>
                    <a:lnTo>
                      <a:pt x="213" y="51"/>
                    </a:lnTo>
                    <a:lnTo>
                      <a:pt x="205" y="43"/>
                    </a:lnTo>
                    <a:lnTo>
                      <a:pt x="196" y="36"/>
                    </a:lnTo>
                    <a:lnTo>
                      <a:pt x="187" y="29"/>
                    </a:lnTo>
                    <a:lnTo>
                      <a:pt x="179" y="21"/>
                    </a:lnTo>
                    <a:lnTo>
                      <a:pt x="177" y="16"/>
                    </a:lnTo>
                    <a:lnTo>
                      <a:pt x="175" y="12"/>
                    </a:lnTo>
                    <a:lnTo>
                      <a:pt x="173" y="7"/>
                    </a:lnTo>
                    <a:lnTo>
                      <a:pt x="173" y="0"/>
                    </a:lnTo>
                    <a:lnTo>
                      <a:pt x="173" y="0"/>
                    </a:lnTo>
                    <a:lnTo>
                      <a:pt x="173" y="8"/>
                    </a:lnTo>
                    <a:lnTo>
                      <a:pt x="173" y="8"/>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1" name="Freeform 126"/>
              <p:cNvSpPr>
                <a:spLocks noChangeAspect="1"/>
              </p:cNvSpPr>
              <p:nvPr/>
            </p:nvSpPr>
            <p:spPr bwMode="auto">
              <a:xfrm>
                <a:off x="574666" y="4889284"/>
                <a:ext cx="191798" cy="109935"/>
              </a:xfrm>
              <a:custGeom>
                <a:avLst/>
                <a:gdLst/>
                <a:ahLst/>
                <a:cxnLst>
                  <a:cxn ang="0">
                    <a:pos x="227" y="103"/>
                  </a:cxn>
                  <a:cxn ang="0">
                    <a:pos x="236" y="92"/>
                  </a:cxn>
                  <a:cxn ang="0">
                    <a:pos x="242" y="86"/>
                  </a:cxn>
                  <a:cxn ang="0">
                    <a:pos x="220" y="69"/>
                  </a:cxn>
                  <a:cxn ang="0">
                    <a:pos x="201" y="52"/>
                  </a:cxn>
                  <a:cxn ang="0">
                    <a:pos x="193" y="56"/>
                  </a:cxn>
                  <a:cxn ang="0">
                    <a:pos x="181" y="57"/>
                  </a:cxn>
                  <a:cxn ang="0">
                    <a:pos x="168" y="51"/>
                  </a:cxn>
                  <a:cxn ang="0">
                    <a:pos x="150" y="36"/>
                  </a:cxn>
                  <a:cxn ang="0">
                    <a:pos x="130" y="18"/>
                  </a:cxn>
                  <a:cxn ang="0">
                    <a:pos x="115" y="7"/>
                  </a:cxn>
                  <a:cxn ang="0">
                    <a:pos x="98" y="2"/>
                  </a:cxn>
                  <a:cxn ang="0">
                    <a:pos x="87" y="0"/>
                  </a:cxn>
                  <a:cxn ang="0">
                    <a:pos x="61" y="4"/>
                  </a:cxn>
                  <a:cxn ang="0">
                    <a:pos x="32" y="14"/>
                  </a:cxn>
                  <a:cxn ang="0">
                    <a:pos x="9" y="27"/>
                  </a:cxn>
                  <a:cxn ang="0">
                    <a:pos x="2" y="34"/>
                  </a:cxn>
                  <a:cxn ang="0">
                    <a:pos x="0" y="41"/>
                  </a:cxn>
                  <a:cxn ang="0">
                    <a:pos x="0" y="44"/>
                  </a:cxn>
                  <a:cxn ang="0">
                    <a:pos x="8" y="53"/>
                  </a:cxn>
                  <a:cxn ang="0">
                    <a:pos x="17" y="59"/>
                  </a:cxn>
                  <a:cxn ang="0">
                    <a:pos x="28" y="80"/>
                  </a:cxn>
                  <a:cxn ang="0">
                    <a:pos x="45" y="127"/>
                  </a:cxn>
                  <a:cxn ang="0">
                    <a:pos x="59" y="152"/>
                  </a:cxn>
                  <a:cxn ang="0">
                    <a:pos x="66" y="158"/>
                  </a:cxn>
                  <a:cxn ang="0">
                    <a:pos x="66" y="156"/>
                  </a:cxn>
                  <a:cxn ang="0">
                    <a:pos x="72" y="150"/>
                  </a:cxn>
                  <a:cxn ang="0">
                    <a:pos x="92" y="144"/>
                  </a:cxn>
                  <a:cxn ang="0">
                    <a:pos x="132" y="140"/>
                  </a:cxn>
                  <a:cxn ang="0">
                    <a:pos x="135" y="140"/>
                  </a:cxn>
                  <a:cxn ang="0">
                    <a:pos x="140" y="145"/>
                  </a:cxn>
                  <a:cxn ang="0">
                    <a:pos x="147" y="150"/>
                  </a:cxn>
                  <a:cxn ang="0">
                    <a:pos x="150" y="150"/>
                  </a:cxn>
                  <a:cxn ang="0">
                    <a:pos x="160" y="146"/>
                  </a:cxn>
                  <a:cxn ang="0">
                    <a:pos x="168" y="140"/>
                  </a:cxn>
                  <a:cxn ang="0">
                    <a:pos x="177" y="148"/>
                  </a:cxn>
                  <a:cxn ang="0">
                    <a:pos x="190" y="150"/>
                  </a:cxn>
                  <a:cxn ang="0">
                    <a:pos x="194" y="150"/>
                  </a:cxn>
                  <a:cxn ang="0">
                    <a:pos x="201" y="146"/>
                  </a:cxn>
                  <a:cxn ang="0">
                    <a:pos x="209" y="137"/>
                  </a:cxn>
                  <a:cxn ang="0">
                    <a:pos x="216" y="122"/>
                  </a:cxn>
                  <a:cxn ang="0">
                    <a:pos x="224" y="112"/>
                  </a:cxn>
                  <a:cxn ang="0">
                    <a:pos x="230" y="110"/>
                  </a:cxn>
                  <a:cxn ang="0">
                    <a:pos x="227" y="103"/>
                  </a:cxn>
                </a:cxnLst>
                <a:rect l="0" t="0" r="r" b="b"/>
                <a:pathLst>
                  <a:path w="242" h="158">
                    <a:moveTo>
                      <a:pt x="227" y="103"/>
                    </a:moveTo>
                    <a:lnTo>
                      <a:pt x="227" y="103"/>
                    </a:lnTo>
                    <a:lnTo>
                      <a:pt x="231" y="96"/>
                    </a:lnTo>
                    <a:lnTo>
                      <a:pt x="236" y="92"/>
                    </a:lnTo>
                    <a:lnTo>
                      <a:pt x="239" y="89"/>
                    </a:lnTo>
                    <a:lnTo>
                      <a:pt x="242" y="86"/>
                    </a:lnTo>
                    <a:lnTo>
                      <a:pt x="242" y="86"/>
                    </a:lnTo>
                    <a:lnTo>
                      <a:pt x="220" y="69"/>
                    </a:lnTo>
                    <a:lnTo>
                      <a:pt x="210" y="61"/>
                    </a:lnTo>
                    <a:lnTo>
                      <a:pt x="201" y="52"/>
                    </a:lnTo>
                    <a:lnTo>
                      <a:pt x="201" y="52"/>
                    </a:lnTo>
                    <a:lnTo>
                      <a:pt x="193" y="56"/>
                    </a:lnTo>
                    <a:lnTo>
                      <a:pt x="187" y="57"/>
                    </a:lnTo>
                    <a:lnTo>
                      <a:pt x="181" y="57"/>
                    </a:lnTo>
                    <a:lnTo>
                      <a:pt x="174" y="54"/>
                    </a:lnTo>
                    <a:lnTo>
                      <a:pt x="168" y="51"/>
                    </a:lnTo>
                    <a:lnTo>
                      <a:pt x="162" y="46"/>
                    </a:lnTo>
                    <a:lnTo>
                      <a:pt x="150" y="36"/>
                    </a:lnTo>
                    <a:lnTo>
                      <a:pt x="137" y="23"/>
                    </a:lnTo>
                    <a:lnTo>
                      <a:pt x="130" y="18"/>
                    </a:lnTo>
                    <a:lnTo>
                      <a:pt x="123" y="12"/>
                    </a:lnTo>
                    <a:lnTo>
                      <a:pt x="115" y="7"/>
                    </a:lnTo>
                    <a:lnTo>
                      <a:pt x="107" y="4"/>
                    </a:lnTo>
                    <a:lnTo>
                      <a:pt x="98" y="2"/>
                    </a:lnTo>
                    <a:lnTo>
                      <a:pt x="87" y="0"/>
                    </a:lnTo>
                    <a:lnTo>
                      <a:pt x="87" y="0"/>
                    </a:lnTo>
                    <a:lnTo>
                      <a:pt x="76" y="2"/>
                    </a:lnTo>
                    <a:lnTo>
                      <a:pt x="61" y="4"/>
                    </a:lnTo>
                    <a:lnTo>
                      <a:pt x="47" y="8"/>
                    </a:lnTo>
                    <a:lnTo>
                      <a:pt x="32" y="14"/>
                    </a:lnTo>
                    <a:lnTo>
                      <a:pt x="19" y="20"/>
                    </a:lnTo>
                    <a:lnTo>
                      <a:pt x="9" y="27"/>
                    </a:lnTo>
                    <a:lnTo>
                      <a:pt x="5" y="30"/>
                    </a:lnTo>
                    <a:lnTo>
                      <a:pt x="2" y="34"/>
                    </a:lnTo>
                    <a:lnTo>
                      <a:pt x="0" y="37"/>
                    </a:lnTo>
                    <a:lnTo>
                      <a:pt x="0" y="41"/>
                    </a:lnTo>
                    <a:lnTo>
                      <a:pt x="0" y="41"/>
                    </a:lnTo>
                    <a:lnTo>
                      <a:pt x="0" y="44"/>
                    </a:lnTo>
                    <a:lnTo>
                      <a:pt x="2" y="48"/>
                    </a:lnTo>
                    <a:lnTo>
                      <a:pt x="8" y="53"/>
                    </a:lnTo>
                    <a:lnTo>
                      <a:pt x="17" y="59"/>
                    </a:lnTo>
                    <a:lnTo>
                      <a:pt x="17" y="59"/>
                    </a:lnTo>
                    <a:lnTo>
                      <a:pt x="22" y="67"/>
                    </a:lnTo>
                    <a:lnTo>
                      <a:pt x="28" y="80"/>
                    </a:lnTo>
                    <a:lnTo>
                      <a:pt x="39" y="111"/>
                    </a:lnTo>
                    <a:lnTo>
                      <a:pt x="45" y="127"/>
                    </a:lnTo>
                    <a:lnTo>
                      <a:pt x="52" y="141"/>
                    </a:lnTo>
                    <a:lnTo>
                      <a:pt x="59" y="152"/>
                    </a:lnTo>
                    <a:lnTo>
                      <a:pt x="62" y="156"/>
                    </a:lnTo>
                    <a:lnTo>
                      <a:pt x="66" y="158"/>
                    </a:lnTo>
                    <a:lnTo>
                      <a:pt x="66" y="158"/>
                    </a:lnTo>
                    <a:lnTo>
                      <a:pt x="66" y="156"/>
                    </a:lnTo>
                    <a:lnTo>
                      <a:pt x="68" y="153"/>
                    </a:lnTo>
                    <a:lnTo>
                      <a:pt x="72" y="150"/>
                    </a:lnTo>
                    <a:lnTo>
                      <a:pt x="82" y="148"/>
                    </a:lnTo>
                    <a:lnTo>
                      <a:pt x="92" y="144"/>
                    </a:lnTo>
                    <a:lnTo>
                      <a:pt x="114" y="141"/>
                    </a:lnTo>
                    <a:lnTo>
                      <a:pt x="132" y="140"/>
                    </a:lnTo>
                    <a:lnTo>
                      <a:pt x="132" y="140"/>
                    </a:lnTo>
                    <a:lnTo>
                      <a:pt x="135" y="140"/>
                    </a:lnTo>
                    <a:lnTo>
                      <a:pt x="137" y="141"/>
                    </a:lnTo>
                    <a:lnTo>
                      <a:pt x="140" y="145"/>
                    </a:lnTo>
                    <a:lnTo>
                      <a:pt x="145" y="149"/>
                    </a:lnTo>
                    <a:lnTo>
                      <a:pt x="147" y="150"/>
                    </a:lnTo>
                    <a:lnTo>
                      <a:pt x="150" y="150"/>
                    </a:lnTo>
                    <a:lnTo>
                      <a:pt x="150" y="150"/>
                    </a:lnTo>
                    <a:lnTo>
                      <a:pt x="155" y="149"/>
                    </a:lnTo>
                    <a:lnTo>
                      <a:pt x="160" y="146"/>
                    </a:lnTo>
                    <a:lnTo>
                      <a:pt x="168" y="140"/>
                    </a:lnTo>
                    <a:lnTo>
                      <a:pt x="168" y="140"/>
                    </a:lnTo>
                    <a:lnTo>
                      <a:pt x="173" y="144"/>
                    </a:lnTo>
                    <a:lnTo>
                      <a:pt x="177" y="148"/>
                    </a:lnTo>
                    <a:lnTo>
                      <a:pt x="182" y="150"/>
                    </a:lnTo>
                    <a:lnTo>
                      <a:pt x="190" y="150"/>
                    </a:lnTo>
                    <a:lnTo>
                      <a:pt x="190" y="150"/>
                    </a:lnTo>
                    <a:lnTo>
                      <a:pt x="194" y="150"/>
                    </a:lnTo>
                    <a:lnTo>
                      <a:pt x="198" y="149"/>
                    </a:lnTo>
                    <a:lnTo>
                      <a:pt x="201" y="146"/>
                    </a:lnTo>
                    <a:lnTo>
                      <a:pt x="205" y="144"/>
                    </a:lnTo>
                    <a:lnTo>
                      <a:pt x="209" y="137"/>
                    </a:lnTo>
                    <a:lnTo>
                      <a:pt x="213" y="130"/>
                    </a:lnTo>
                    <a:lnTo>
                      <a:pt x="216" y="122"/>
                    </a:lnTo>
                    <a:lnTo>
                      <a:pt x="220" y="117"/>
                    </a:lnTo>
                    <a:lnTo>
                      <a:pt x="224" y="112"/>
                    </a:lnTo>
                    <a:lnTo>
                      <a:pt x="228" y="111"/>
                    </a:lnTo>
                    <a:lnTo>
                      <a:pt x="230" y="110"/>
                    </a:lnTo>
                    <a:lnTo>
                      <a:pt x="230" y="110"/>
                    </a:lnTo>
                    <a:lnTo>
                      <a:pt x="227" y="103"/>
                    </a:lnTo>
                    <a:lnTo>
                      <a:pt x="227" y="103"/>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2" name="Freeform 127"/>
              <p:cNvSpPr>
                <a:spLocks noChangeAspect="1"/>
              </p:cNvSpPr>
              <p:nvPr/>
            </p:nvSpPr>
            <p:spPr bwMode="auto">
              <a:xfrm>
                <a:off x="626975" y="4964429"/>
                <a:ext cx="163266" cy="100194"/>
              </a:xfrm>
              <a:custGeom>
                <a:avLst/>
                <a:gdLst/>
                <a:ahLst/>
                <a:cxnLst>
                  <a:cxn ang="0">
                    <a:pos x="110" y="132"/>
                  </a:cxn>
                  <a:cxn ang="0">
                    <a:pos x="123" y="142"/>
                  </a:cxn>
                  <a:cxn ang="0">
                    <a:pos x="128" y="144"/>
                  </a:cxn>
                  <a:cxn ang="0">
                    <a:pos x="138" y="140"/>
                  </a:cxn>
                  <a:cxn ang="0">
                    <a:pos x="142" y="133"/>
                  </a:cxn>
                  <a:cxn ang="0">
                    <a:pos x="146" y="122"/>
                  </a:cxn>
                  <a:cxn ang="0">
                    <a:pos x="147" y="107"/>
                  </a:cxn>
                  <a:cxn ang="0">
                    <a:pos x="142" y="87"/>
                  </a:cxn>
                  <a:cxn ang="0">
                    <a:pos x="139" y="70"/>
                  </a:cxn>
                  <a:cxn ang="0">
                    <a:pos x="139" y="66"/>
                  </a:cxn>
                  <a:cxn ang="0">
                    <a:pos x="144" y="57"/>
                  </a:cxn>
                  <a:cxn ang="0">
                    <a:pos x="161" y="48"/>
                  </a:cxn>
                  <a:cxn ang="0">
                    <a:pos x="182" y="41"/>
                  </a:cxn>
                  <a:cxn ang="0">
                    <a:pos x="205" y="36"/>
                  </a:cxn>
                  <a:cxn ang="0">
                    <a:pos x="199" y="22"/>
                  </a:cxn>
                  <a:cxn ang="0">
                    <a:pos x="191" y="10"/>
                  </a:cxn>
                  <a:cxn ang="0">
                    <a:pos x="179" y="3"/>
                  </a:cxn>
                  <a:cxn ang="0">
                    <a:pos x="164" y="0"/>
                  </a:cxn>
                  <a:cxn ang="0">
                    <a:pos x="162" y="1"/>
                  </a:cxn>
                  <a:cxn ang="0">
                    <a:pos x="154" y="7"/>
                  </a:cxn>
                  <a:cxn ang="0">
                    <a:pos x="147" y="20"/>
                  </a:cxn>
                  <a:cxn ang="0">
                    <a:pos x="139" y="34"/>
                  </a:cxn>
                  <a:cxn ang="0">
                    <a:pos x="132" y="39"/>
                  </a:cxn>
                  <a:cxn ang="0">
                    <a:pos x="124" y="40"/>
                  </a:cxn>
                  <a:cxn ang="0">
                    <a:pos x="116" y="40"/>
                  </a:cxn>
                  <a:cxn ang="0">
                    <a:pos x="107" y="34"/>
                  </a:cxn>
                  <a:cxn ang="0">
                    <a:pos x="102" y="30"/>
                  </a:cxn>
                  <a:cxn ang="0">
                    <a:pos x="89" y="39"/>
                  </a:cxn>
                  <a:cxn ang="0">
                    <a:pos x="84" y="40"/>
                  </a:cxn>
                  <a:cxn ang="0">
                    <a:pos x="79" y="39"/>
                  </a:cxn>
                  <a:cxn ang="0">
                    <a:pos x="71" y="31"/>
                  </a:cxn>
                  <a:cxn ang="0">
                    <a:pos x="66" y="30"/>
                  </a:cxn>
                  <a:cxn ang="0">
                    <a:pos x="48" y="31"/>
                  </a:cxn>
                  <a:cxn ang="0">
                    <a:pos x="16" y="38"/>
                  </a:cxn>
                  <a:cxn ang="0">
                    <a:pos x="2" y="43"/>
                  </a:cxn>
                  <a:cxn ang="0">
                    <a:pos x="0" y="48"/>
                  </a:cxn>
                  <a:cxn ang="0">
                    <a:pos x="1" y="54"/>
                  </a:cxn>
                  <a:cxn ang="0">
                    <a:pos x="6" y="65"/>
                  </a:cxn>
                  <a:cxn ang="0">
                    <a:pos x="18" y="78"/>
                  </a:cxn>
                  <a:cxn ang="0">
                    <a:pos x="21" y="88"/>
                  </a:cxn>
                  <a:cxn ang="0">
                    <a:pos x="21" y="91"/>
                  </a:cxn>
                  <a:cxn ang="0">
                    <a:pos x="16" y="97"/>
                  </a:cxn>
                  <a:cxn ang="0">
                    <a:pos x="11" y="104"/>
                  </a:cxn>
                  <a:cxn ang="0">
                    <a:pos x="10" y="107"/>
                  </a:cxn>
                  <a:cxn ang="0">
                    <a:pos x="13" y="116"/>
                  </a:cxn>
                  <a:cxn ang="0">
                    <a:pos x="21" y="124"/>
                  </a:cxn>
                  <a:cxn ang="0">
                    <a:pos x="33" y="129"/>
                  </a:cxn>
                  <a:cxn ang="0">
                    <a:pos x="62" y="134"/>
                  </a:cxn>
                  <a:cxn ang="0">
                    <a:pos x="102" y="135"/>
                  </a:cxn>
                  <a:cxn ang="0">
                    <a:pos x="110" y="132"/>
                  </a:cxn>
                </a:cxnLst>
                <a:rect l="0" t="0" r="r" b="b"/>
                <a:pathLst>
                  <a:path w="205" h="144">
                    <a:moveTo>
                      <a:pt x="110" y="132"/>
                    </a:moveTo>
                    <a:lnTo>
                      <a:pt x="110" y="132"/>
                    </a:lnTo>
                    <a:lnTo>
                      <a:pt x="117" y="139"/>
                    </a:lnTo>
                    <a:lnTo>
                      <a:pt x="123" y="142"/>
                    </a:lnTo>
                    <a:lnTo>
                      <a:pt x="128" y="144"/>
                    </a:lnTo>
                    <a:lnTo>
                      <a:pt x="128" y="144"/>
                    </a:lnTo>
                    <a:lnTo>
                      <a:pt x="133" y="142"/>
                    </a:lnTo>
                    <a:lnTo>
                      <a:pt x="138" y="140"/>
                    </a:lnTo>
                    <a:lnTo>
                      <a:pt x="140" y="138"/>
                    </a:lnTo>
                    <a:lnTo>
                      <a:pt x="142" y="133"/>
                    </a:lnTo>
                    <a:lnTo>
                      <a:pt x="144" y="127"/>
                    </a:lnTo>
                    <a:lnTo>
                      <a:pt x="146" y="122"/>
                    </a:lnTo>
                    <a:lnTo>
                      <a:pt x="147" y="107"/>
                    </a:lnTo>
                    <a:lnTo>
                      <a:pt x="147" y="107"/>
                    </a:lnTo>
                    <a:lnTo>
                      <a:pt x="144" y="96"/>
                    </a:lnTo>
                    <a:lnTo>
                      <a:pt x="142" y="87"/>
                    </a:lnTo>
                    <a:lnTo>
                      <a:pt x="140" y="78"/>
                    </a:lnTo>
                    <a:lnTo>
                      <a:pt x="139" y="70"/>
                    </a:lnTo>
                    <a:lnTo>
                      <a:pt x="139" y="70"/>
                    </a:lnTo>
                    <a:lnTo>
                      <a:pt x="139" y="66"/>
                    </a:lnTo>
                    <a:lnTo>
                      <a:pt x="140" y="63"/>
                    </a:lnTo>
                    <a:lnTo>
                      <a:pt x="144" y="57"/>
                    </a:lnTo>
                    <a:lnTo>
                      <a:pt x="151" y="51"/>
                    </a:lnTo>
                    <a:lnTo>
                      <a:pt x="161" y="48"/>
                    </a:lnTo>
                    <a:lnTo>
                      <a:pt x="171" y="43"/>
                    </a:lnTo>
                    <a:lnTo>
                      <a:pt x="182" y="41"/>
                    </a:lnTo>
                    <a:lnTo>
                      <a:pt x="194" y="39"/>
                    </a:lnTo>
                    <a:lnTo>
                      <a:pt x="205" y="36"/>
                    </a:lnTo>
                    <a:lnTo>
                      <a:pt x="205" y="36"/>
                    </a:lnTo>
                    <a:lnTo>
                      <a:pt x="199" y="22"/>
                    </a:lnTo>
                    <a:lnTo>
                      <a:pt x="195" y="16"/>
                    </a:lnTo>
                    <a:lnTo>
                      <a:pt x="191" y="10"/>
                    </a:lnTo>
                    <a:lnTo>
                      <a:pt x="185" y="5"/>
                    </a:lnTo>
                    <a:lnTo>
                      <a:pt x="179" y="3"/>
                    </a:lnTo>
                    <a:lnTo>
                      <a:pt x="172" y="1"/>
                    </a:lnTo>
                    <a:lnTo>
                      <a:pt x="164" y="0"/>
                    </a:lnTo>
                    <a:lnTo>
                      <a:pt x="164" y="0"/>
                    </a:lnTo>
                    <a:lnTo>
                      <a:pt x="162" y="1"/>
                    </a:lnTo>
                    <a:lnTo>
                      <a:pt x="158" y="2"/>
                    </a:lnTo>
                    <a:lnTo>
                      <a:pt x="154" y="7"/>
                    </a:lnTo>
                    <a:lnTo>
                      <a:pt x="150" y="12"/>
                    </a:lnTo>
                    <a:lnTo>
                      <a:pt x="147" y="20"/>
                    </a:lnTo>
                    <a:lnTo>
                      <a:pt x="143" y="27"/>
                    </a:lnTo>
                    <a:lnTo>
                      <a:pt x="139" y="34"/>
                    </a:lnTo>
                    <a:lnTo>
                      <a:pt x="135" y="36"/>
                    </a:lnTo>
                    <a:lnTo>
                      <a:pt x="132" y="39"/>
                    </a:lnTo>
                    <a:lnTo>
                      <a:pt x="128" y="40"/>
                    </a:lnTo>
                    <a:lnTo>
                      <a:pt x="124" y="40"/>
                    </a:lnTo>
                    <a:lnTo>
                      <a:pt x="124" y="40"/>
                    </a:lnTo>
                    <a:lnTo>
                      <a:pt x="116" y="40"/>
                    </a:lnTo>
                    <a:lnTo>
                      <a:pt x="111" y="38"/>
                    </a:lnTo>
                    <a:lnTo>
                      <a:pt x="107" y="34"/>
                    </a:lnTo>
                    <a:lnTo>
                      <a:pt x="102" y="30"/>
                    </a:lnTo>
                    <a:lnTo>
                      <a:pt x="102" y="30"/>
                    </a:lnTo>
                    <a:lnTo>
                      <a:pt x="94" y="36"/>
                    </a:lnTo>
                    <a:lnTo>
                      <a:pt x="89" y="39"/>
                    </a:lnTo>
                    <a:lnTo>
                      <a:pt x="84" y="40"/>
                    </a:lnTo>
                    <a:lnTo>
                      <a:pt x="84" y="40"/>
                    </a:lnTo>
                    <a:lnTo>
                      <a:pt x="81" y="40"/>
                    </a:lnTo>
                    <a:lnTo>
                      <a:pt x="79" y="39"/>
                    </a:lnTo>
                    <a:lnTo>
                      <a:pt x="74" y="35"/>
                    </a:lnTo>
                    <a:lnTo>
                      <a:pt x="71" y="31"/>
                    </a:lnTo>
                    <a:lnTo>
                      <a:pt x="69" y="30"/>
                    </a:lnTo>
                    <a:lnTo>
                      <a:pt x="66" y="30"/>
                    </a:lnTo>
                    <a:lnTo>
                      <a:pt x="66" y="30"/>
                    </a:lnTo>
                    <a:lnTo>
                      <a:pt x="48" y="31"/>
                    </a:lnTo>
                    <a:lnTo>
                      <a:pt x="26" y="34"/>
                    </a:lnTo>
                    <a:lnTo>
                      <a:pt x="16" y="38"/>
                    </a:lnTo>
                    <a:lnTo>
                      <a:pt x="6" y="40"/>
                    </a:lnTo>
                    <a:lnTo>
                      <a:pt x="2" y="43"/>
                    </a:lnTo>
                    <a:lnTo>
                      <a:pt x="0" y="46"/>
                    </a:lnTo>
                    <a:lnTo>
                      <a:pt x="0" y="48"/>
                    </a:lnTo>
                    <a:lnTo>
                      <a:pt x="0" y="48"/>
                    </a:lnTo>
                    <a:lnTo>
                      <a:pt x="1" y="54"/>
                    </a:lnTo>
                    <a:lnTo>
                      <a:pt x="3" y="60"/>
                    </a:lnTo>
                    <a:lnTo>
                      <a:pt x="6" y="65"/>
                    </a:lnTo>
                    <a:lnTo>
                      <a:pt x="11" y="70"/>
                    </a:lnTo>
                    <a:lnTo>
                      <a:pt x="18" y="78"/>
                    </a:lnTo>
                    <a:lnTo>
                      <a:pt x="20" y="84"/>
                    </a:lnTo>
                    <a:lnTo>
                      <a:pt x="21" y="88"/>
                    </a:lnTo>
                    <a:lnTo>
                      <a:pt x="21" y="88"/>
                    </a:lnTo>
                    <a:lnTo>
                      <a:pt x="21" y="91"/>
                    </a:lnTo>
                    <a:lnTo>
                      <a:pt x="20" y="93"/>
                    </a:lnTo>
                    <a:lnTo>
                      <a:pt x="16" y="97"/>
                    </a:lnTo>
                    <a:lnTo>
                      <a:pt x="12" y="101"/>
                    </a:lnTo>
                    <a:lnTo>
                      <a:pt x="11" y="104"/>
                    </a:lnTo>
                    <a:lnTo>
                      <a:pt x="10" y="107"/>
                    </a:lnTo>
                    <a:lnTo>
                      <a:pt x="10" y="107"/>
                    </a:lnTo>
                    <a:lnTo>
                      <a:pt x="11" y="111"/>
                    </a:lnTo>
                    <a:lnTo>
                      <a:pt x="13" y="116"/>
                    </a:lnTo>
                    <a:lnTo>
                      <a:pt x="17" y="120"/>
                    </a:lnTo>
                    <a:lnTo>
                      <a:pt x="21" y="124"/>
                    </a:lnTo>
                    <a:lnTo>
                      <a:pt x="26" y="126"/>
                    </a:lnTo>
                    <a:lnTo>
                      <a:pt x="33" y="129"/>
                    </a:lnTo>
                    <a:lnTo>
                      <a:pt x="47" y="132"/>
                    </a:lnTo>
                    <a:lnTo>
                      <a:pt x="62" y="134"/>
                    </a:lnTo>
                    <a:lnTo>
                      <a:pt x="77" y="135"/>
                    </a:lnTo>
                    <a:lnTo>
                      <a:pt x="102" y="135"/>
                    </a:lnTo>
                    <a:lnTo>
                      <a:pt x="102" y="135"/>
                    </a:lnTo>
                    <a:lnTo>
                      <a:pt x="110" y="132"/>
                    </a:lnTo>
                    <a:lnTo>
                      <a:pt x="110" y="13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3" name="Freeform 128"/>
              <p:cNvSpPr>
                <a:spLocks noChangeAspect="1"/>
              </p:cNvSpPr>
              <p:nvPr/>
            </p:nvSpPr>
            <p:spPr bwMode="auto">
              <a:xfrm>
                <a:off x="2009189" y="3969448"/>
                <a:ext cx="261543" cy="275533"/>
              </a:xfrm>
              <a:custGeom>
                <a:avLst/>
                <a:gdLst/>
                <a:ahLst/>
                <a:cxnLst>
                  <a:cxn ang="0">
                    <a:pos x="162" y="395"/>
                  </a:cxn>
                  <a:cxn ang="0">
                    <a:pos x="183" y="395"/>
                  </a:cxn>
                  <a:cxn ang="0">
                    <a:pos x="220" y="379"/>
                  </a:cxn>
                  <a:cxn ang="0">
                    <a:pos x="251" y="356"/>
                  </a:cxn>
                  <a:cxn ang="0">
                    <a:pos x="231" y="347"/>
                  </a:cxn>
                  <a:cxn ang="0">
                    <a:pos x="224" y="330"/>
                  </a:cxn>
                  <a:cxn ang="0">
                    <a:pos x="224" y="319"/>
                  </a:cxn>
                  <a:cxn ang="0">
                    <a:pos x="230" y="307"/>
                  </a:cxn>
                  <a:cxn ang="0">
                    <a:pos x="263" y="290"/>
                  </a:cxn>
                  <a:cxn ang="0">
                    <a:pos x="280" y="283"/>
                  </a:cxn>
                  <a:cxn ang="0">
                    <a:pos x="290" y="252"/>
                  </a:cxn>
                  <a:cxn ang="0">
                    <a:pos x="301" y="203"/>
                  </a:cxn>
                  <a:cxn ang="0">
                    <a:pos x="314" y="128"/>
                  </a:cxn>
                  <a:cxn ang="0">
                    <a:pos x="330" y="74"/>
                  </a:cxn>
                  <a:cxn ang="0">
                    <a:pos x="304" y="55"/>
                  </a:cxn>
                  <a:cxn ang="0">
                    <a:pos x="237" y="9"/>
                  </a:cxn>
                  <a:cxn ang="0">
                    <a:pos x="209" y="0"/>
                  </a:cxn>
                  <a:cxn ang="0">
                    <a:pos x="194" y="5"/>
                  </a:cxn>
                  <a:cxn ang="0">
                    <a:pos x="178" y="24"/>
                  </a:cxn>
                  <a:cxn ang="0">
                    <a:pos x="159" y="73"/>
                  </a:cxn>
                  <a:cxn ang="0">
                    <a:pos x="145" y="97"/>
                  </a:cxn>
                  <a:cxn ang="0">
                    <a:pos x="122" y="106"/>
                  </a:cxn>
                  <a:cxn ang="0">
                    <a:pos x="113" y="104"/>
                  </a:cxn>
                  <a:cxn ang="0">
                    <a:pos x="106" y="97"/>
                  </a:cxn>
                  <a:cxn ang="0">
                    <a:pos x="95" y="91"/>
                  </a:cxn>
                  <a:cxn ang="0">
                    <a:pos x="79" y="98"/>
                  </a:cxn>
                  <a:cxn ang="0">
                    <a:pos x="67" y="106"/>
                  </a:cxn>
                  <a:cxn ang="0">
                    <a:pos x="62" y="120"/>
                  </a:cxn>
                  <a:cxn ang="0">
                    <a:pos x="57" y="165"/>
                  </a:cxn>
                  <a:cxn ang="0">
                    <a:pos x="54" y="179"/>
                  </a:cxn>
                  <a:cxn ang="0">
                    <a:pos x="37" y="196"/>
                  </a:cxn>
                  <a:cxn ang="0">
                    <a:pos x="17" y="212"/>
                  </a:cxn>
                  <a:cxn ang="0">
                    <a:pos x="9" y="228"/>
                  </a:cxn>
                  <a:cxn ang="0">
                    <a:pos x="7" y="242"/>
                  </a:cxn>
                  <a:cxn ang="0">
                    <a:pos x="9" y="274"/>
                  </a:cxn>
                  <a:cxn ang="0">
                    <a:pos x="6" y="289"/>
                  </a:cxn>
                  <a:cxn ang="0">
                    <a:pos x="0" y="297"/>
                  </a:cxn>
                  <a:cxn ang="0">
                    <a:pos x="1" y="306"/>
                  </a:cxn>
                  <a:cxn ang="0">
                    <a:pos x="17" y="324"/>
                  </a:cxn>
                  <a:cxn ang="0">
                    <a:pos x="40" y="330"/>
                  </a:cxn>
                  <a:cxn ang="0">
                    <a:pos x="55" y="330"/>
                  </a:cxn>
                  <a:cxn ang="0">
                    <a:pos x="85" y="335"/>
                  </a:cxn>
                  <a:cxn ang="0">
                    <a:pos x="107" y="330"/>
                  </a:cxn>
                  <a:cxn ang="0">
                    <a:pos x="102" y="320"/>
                  </a:cxn>
                  <a:cxn ang="0">
                    <a:pos x="100" y="309"/>
                  </a:cxn>
                  <a:cxn ang="0">
                    <a:pos x="108" y="299"/>
                  </a:cxn>
                  <a:cxn ang="0">
                    <a:pos x="143" y="294"/>
                  </a:cxn>
                  <a:cxn ang="0">
                    <a:pos x="143" y="315"/>
                  </a:cxn>
                  <a:cxn ang="0">
                    <a:pos x="127" y="340"/>
                  </a:cxn>
                  <a:cxn ang="0">
                    <a:pos x="125" y="349"/>
                  </a:cxn>
                  <a:cxn ang="0">
                    <a:pos x="158" y="349"/>
                  </a:cxn>
                  <a:cxn ang="0">
                    <a:pos x="152" y="365"/>
                  </a:cxn>
                  <a:cxn ang="0">
                    <a:pos x="137" y="375"/>
                  </a:cxn>
                  <a:cxn ang="0">
                    <a:pos x="125" y="394"/>
                  </a:cxn>
                  <a:cxn ang="0">
                    <a:pos x="133" y="397"/>
                  </a:cxn>
                  <a:cxn ang="0">
                    <a:pos x="151" y="394"/>
                  </a:cxn>
                  <a:cxn ang="0">
                    <a:pos x="154" y="394"/>
                  </a:cxn>
                </a:cxnLst>
                <a:rect l="0" t="0" r="r" b="b"/>
                <a:pathLst>
                  <a:path w="330" h="397">
                    <a:moveTo>
                      <a:pt x="154" y="394"/>
                    </a:moveTo>
                    <a:lnTo>
                      <a:pt x="154" y="394"/>
                    </a:lnTo>
                    <a:lnTo>
                      <a:pt x="162" y="395"/>
                    </a:lnTo>
                    <a:lnTo>
                      <a:pt x="169" y="396"/>
                    </a:lnTo>
                    <a:lnTo>
                      <a:pt x="176" y="395"/>
                    </a:lnTo>
                    <a:lnTo>
                      <a:pt x="183" y="395"/>
                    </a:lnTo>
                    <a:lnTo>
                      <a:pt x="196" y="391"/>
                    </a:lnTo>
                    <a:lnTo>
                      <a:pt x="208" y="386"/>
                    </a:lnTo>
                    <a:lnTo>
                      <a:pt x="220" y="379"/>
                    </a:lnTo>
                    <a:lnTo>
                      <a:pt x="230" y="371"/>
                    </a:lnTo>
                    <a:lnTo>
                      <a:pt x="251" y="356"/>
                    </a:lnTo>
                    <a:lnTo>
                      <a:pt x="251" y="356"/>
                    </a:lnTo>
                    <a:lnTo>
                      <a:pt x="240" y="352"/>
                    </a:lnTo>
                    <a:lnTo>
                      <a:pt x="236" y="350"/>
                    </a:lnTo>
                    <a:lnTo>
                      <a:pt x="231" y="347"/>
                    </a:lnTo>
                    <a:lnTo>
                      <a:pt x="229" y="342"/>
                    </a:lnTo>
                    <a:lnTo>
                      <a:pt x="227" y="337"/>
                    </a:lnTo>
                    <a:lnTo>
                      <a:pt x="224" y="330"/>
                    </a:lnTo>
                    <a:lnTo>
                      <a:pt x="224" y="324"/>
                    </a:lnTo>
                    <a:lnTo>
                      <a:pt x="224" y="324"/>
                    </a:lnTo>
                    <a:lnTo>
                      <a:pt x="224" y="319"/>
                    </a:lnTo>
                    <a:lnTo>
                      <a:pt x="225" y="314"/>
                    </a:lnTo>
                    <a:lnTo>
                      <a:pt x="228" y="311"/>
                    </a:lnTo>
                    <a:lnTo>
                      <a:pt x="230" y="307"/>
                    </a:lnTo>
                    <a:lnTo>
                      <a:pt x="237" y="302"/>
                    </a:lnTo>
                    <a:lnTo>
                      <a:pt x="245" y="297"/>
                    </a:lnTo>
                    <a:lnTo>
                      <a:pt x="263" y="290"/>
                    </a:lnTo>
                    <a:lnTo>
                      <a:pt x="272" y="287"/>
                    </a:lnTo>
                    <a:lnTo>
                      <a:pt x="280" y="283"/>
                    </a:lnTo>
                    <a:lnTo>
                      <a:pt x="280" y="283"/>
                    </a:lnTo>
                    <a:lnTo>
                      <a:pt x="282" y="278"/>
                    </a:lnTo>
                    <a:lnTo>
                      <a:pt x="285" y="271"/>
                    </a:lnTo>
                    <a:lnTo>
                      <a:pt x="290" y="252"/>
                    </a:lnTo>
                    <a:lnTo>
                      <a:pt x="298" y="217"/>
                    </a:lnTo>
                    <a:lnTo>
                      <a:pt x="298" y="217"/>
                    </a:lnTo>
                    <a:lnTo>
                      <a:pt x="301" y="203"/>
                    </a:lnTo>
                    <a:lnTo>
                      <a:pt x="305" y="187"/>
                    </a:lnTo>
                    <a:lnTo>
                      <a:pt x="311" y="147"/>
                    </a:lnTo>
                    <a:lnTo>
                      <a:pt x="314" y="128"/>
                    </a:lnTo>
                    <a:lnTo>
                      <a:pt x="318" y="108"/>
                    </a:lnTo>
                    <a:lnTo>
                      <a:pt x="323" y="90"/>
                    </a:lnTo>
                    <a:lnTo>
                      <a:pt x="330" y="74"/>
                    </a:lnTo>
                    <a:lnTo>
                      <a:pt x="330" y="74"/>
                    </a:lnTo>
                    <a:lnTo>
                      <a:pt x="319" y="66"/>
                    </a:lnTo>
                    <a:lnTo>
                      <a:pt x="304" y="55"/>
                    </a:lnTo>
                    <a:lnTo>
                      <a:pt x="270" y="31"/>
                    </a:lnTo>
                    <a:lnTo>
                      <a:pt x="253" y="20"/>
                    </a:lnTo>
                    <a:lnTo>
                      <a:pt x="237" y="9"/>
                    </a:lnTo>
                    <a:lnTo>
                      <a:pt x="222" y="2"/>
                    </a:lnTo>
                    <a:lnTo>
                      <a:pt x="215" y="0"/>
                    </a:lnTo>
                    <a:lnTo>
                      <a:pt x="209" y="0"/>
                    </a:lnTo>
                    <a:lnTo>
                      <a:pt x="209" y="0"/>
                    </a:lnTo>
                    <a:lnTo>
                      <a:pt x="201" y="1"/>
                    </a:lnTo>
                    <a:lnTo>
                      <a:pt x="194" y="5"/>
                    </a:lnTo>
                    <a:lnTo>
                      <a:pt x="189" y="9"/>
                    </a:lnTo>
                    <a:lnTo>
                      <a:pt x="183" y="16"/>
                    </a:lnTo>
                    <a:lnTo>
                      <a:pt x="178" y="24"/>
                    </a:lnTo>
                    <a:lnTo>
                      <a:pt x="175" y="34"/>
                    </a:lnTo>
                    <a:lnTo>
                      <a:pt x="167" y="53"/>
                    </a:lnTo>
                    <a:lnTo>
                      <a:pt x="159" y="73"/>
                    </a:lnTo>
                    <a:lnTo>
                      <a:pt x="155" y="82"/>
                    </a:lnTo>
                    <a:lnTo>
                      <a:pt x="150" y="90"/>
                    </a:lnTo>
                    <a:lnTo>
                      <a:pt x="145" y="97"/>
                    </a:lnTo>
                    <a:lnTo>
                      <a:pt x="138" y="101"/>
                    </a:lnTo>
                    <a:lnTo>
                      <a:pt x="130" y="105"/>
                    </a:lnTo>
                    <a:lnTo>
                      <a:pt x="122" y="106"/>
                    </a:lnTo>
                    <a:lnTo>
                      <a:pt x="122" y="106"/>
                    </a:lnTo>
                    <a:lnTo>
                      <a:pt x="116" y="106"/>
                    </a:lnTo>
                    <a:lnTo>
                      <a:pt x="113" y="104"/>
                    </a:lnTo>
                    <a:lnTo>
                      <a:pt x="110" y="101"/>
                    </a:lnTo>
                    <a:lnTo>
                      <a:pt x="108" y="99"/>
                    </a:lnTo>
                    <a:lnTo>
                      <a:pt x="106" y="97"/>
                    </a:lnTo>
                    <a:lnTo>
                      <a:pt x="104" y="93"/>
                    </a:lnTo>
                    <a:lnTo>
                      <a:pt x="100" y="92"/>
                    </a:lnTo>
                    <a:lnTo>
                      <a:pt x="95" y="91"/>
                    </a:lnTo>
                    <a:lnTo>
                      <a:pt x="95" y="91"/>
                    </a:lnTo>
                    <a:lnTo>
                      <a:pt x="90" y="93"/>
                    </a:lnTo>
                    <a:lnTo>
                      <a:pt x="79" y="98"/>
                    </a:lnTo>
                    <a:lnTo>
                      <a:pt x="70" y="103"/>
                    </a:lnTo>
                    <a:lnTo>
                      <a:pt x="68" y="105"/>
                    </a:lnTo>
                    <a:lnTo>
                      <a:pt x="67" y="106"/>
                    </a:lnTo>
                    <a:lnTo>
                      <a:pt x="67" y="106"/>
                    </a:lnTo>
                    <a:lnTo>
                      <a:pt x="64" y="113"/>
                    </a:lnTo>
                    <a:lnTo>
                      <a:pt x="62" y="120"/>
                    </a:lnTo>
                    <a:lnTo>
                      <a:pt x="61" y="137"/>
                    </a:lnTo>
                    <a:lnTo>
                      <a:pt x="60" y="156"/>
                    </a:lnTo>
                    <a:lnTo>
                      <a:pt x="57" y="165"/>
                    </a:lnTo>
                    <a:lnTo>
                      <a:pt x="55" y="173"/>
                    </a:lnTo>
                    <a:lnTo>
                      <a:pt x="55" y="173"/>
                    </a:lnTo>
                    <a:lnTo>
                      <a:pt x="54" y="179"/>
                    </a:lnTo>
                    <a:lnTo>
                      <a:pt x="52" y="182"/>
                    </a:lnTo>
                    <a:lnTo>
                      <a:pt x="45" y="190"/>
                    </a:lnTo>
                    <a:lnTo>
                      <a:pt x="37" y="196"/>
                    </a:lnTo>
                    <a:lnTo>
                      <a:pt x="29" y="202"/>
                    </a:lnTo>
                    <a:lnTo>
                      <a:pt x="21" y="208"/>
                    </a:lnTo>
                    <a:lnTo>
                      <a:pt x="17" y="212"/>
                    </a:lnTo>
                    <a:lnTo>
                      <a:pt x="14" y="217"/>
                    </a:lnTo>
                    <a:lnTo>
                      <a:pt x="11" y="222"/>
                    </a:lnTo>
                    <a:lnTo>
                      <a:pt x="9" y="228"/>
                    </a:lnTo>
                    <a:lnTo>
                      <a:pt x="8" y="235"/>
                    </a:lnTo>
                    <a:lnTo>
                      <a:pt x="7" y="242"/>
                    </a:lnTo>
                    <a:lnTo>
                      <a:pt x="7" y="242"/>
                    </a:lnTo>
                    <a:lnTo>
                      <a:pt x="8" y="252"/>
                    </a:lnTo>
                    <a:lnTo>
                      <a:pt x="9" y="263"/>
                    </a:lnTo>
                    <a:lnTo>
                      <a:pt x="9" y="274"/>
                    </a:lnTo>
                    <a:lnTo>
                      <a:pt x="7" y="287"/>
                    </a:lnTo>
                    <a:lnTo>
                      <a:pt x="7" y="287"/>
                    </a:lnTo>
                    <a:lnTo>
                      <a:pt x="6" y="289"/>
                    </a:lnTo>
                    <a:lnTo>
                      <a:pt x="3" y="292"/>
                    </a:lnTo>
                    <a:lnTo>
                      <a:pt x="1" y="295"/>
                    </a:lnTo>
                    <a:lnTo>
                      <a:pt x="0" y="297"/>
                    </a:lnTo>
                    <a:lnTo>
                      <a:pt x="0" y="297"/>
                    </a:lnTo>
                    <a:lnTo>
                      <a:pt x="1" y="302"/>
                    </a:lnTo>
                    <a:lnTo>
                      <a:pt x="1" y="306"/>
                    </a:lnTo>
                    <a:lnTo>
                      <a:pt x="6" y="313"/>
                    </a:lnTo>
                    <a:lnTo>
                      <a:pt x="10" y="319"/>
                    </a:lnTo>
                    <a:lnTo>
                      <a:pt x="17" y="324"/>
                    </a:lnTo>
                    <a:lnTo>
                      <a:pt x="25" y="327"/>
                    </a:lnTo>
                    <a:lnTo>
                      <a:pt x="33" y="329"/>
                    </a:lnTo>
                    <a:lnTo>
                      <a:pt x="40" y="330"/>
                    </a:lnTo>
                    <a:lnTo>
                      <a:pt x="48" y="330"/>
                    </a:lnTo>
                    <a:lnTo>
                      <a:pt x="48" y="330"/>
                    </a:lnTo>
                    <a:lnTo>
                      <a:pt x="55" y="330"/>
                    </a:lnTo>
                    <a:lnTo>
                      <a:pt x="62" y="332"/>
                    </a:lnTo>
                    <a:lnTo>
                      <a:pt x="77" y="335"/>
                    </a:lnTo>
                    <a:lnTo>
                      <a:pt x="85" y="335"/>
                    </a:lnTo>
                    <a:lnTo>
                      <a:pt x="92" y="335"/>
                    </a:lnTo>
                    <a:lnTo>
                      <a:pt x="100" y="334"/>
                    </a:lnTo>
                    <a:lnTo>
                      <a:pt x="107" y="330"/>
                    </a:lnTo>
                    <a:lnTo>
                      <a:pt x="107" y="330"/>
                    </a:lnTo>
                    <a:lnTo>
                      <a:pt x="105" y="325"/>
                    </a:lnTo>
                    <a:lnTo>
                      <a:pt x="102" y="320"/>
                    </a:lnTo>
                    <a:lnTo>
                      <a:pt x="100" y="315"/>
                    </a:lnTo>
                    <a:lnTo>
                      <a:pt x="100" y="309"/>
                    </a:lnTo>
                    <a:lnTo>
                      <a:pt x="100" y="309"/>
                    </a:lnTo>
                    <a:lnTo>
                      <a:pt x="100" y="306"/>
                    </a:lnTo>
                    <a:lnTo>
                      <a:pt x="102" y="304"/>
                    </a:lnTo>
                    <a:lnTo>
                      <a:pt x="108" y="299"/>
                    </a:lnTo>
                    <a:lnTo>
                      <a:pt x="122" y="294"/>
                    </a:lnTo>
                    <a:lnTo>
                      <a:pt x="122" y="294"/>
                    </a:lnTo>
                    <a:lnTo>
                      <a:pt x="143" y="294"/>
                    </a:lnTo>
                    <a:lnTo>
                      <a:pt x="143" y="315"/>
                    </a:lnTo>
                    <a:lnTo>
                      <a:pt x="143" y="315"/>
                    </a:lnTo>
                    <a:lnTo>
                      <a:pt x="143" y="315"/>
                    </a:lnTo>
                    <a:lnTo>
                      <a:pt x="136" y="324"/>
                    </a:lnTo>
                    <a:lnTo>
                      <a:pt x="130" y="332"/>
                    </a:lnTo>
                    <a:lnTo>
                      <a:pt x="127" y="340"/>
                    </a:lnTo>
                    <a:lnTo>
                      <a:pt x="125" y="344"/>
                    </a:lnTo>
                    <a:lnTo>
                      <a:pt x="125" y="349"/>
                    </a:lnTo>
                    <a:lnTo>
                      <a:pt x="125" y="349"/>
                    </a:lnTo>
                    <a:lnTo>
                      <a:pt x="158" y="349"/>
                    </a:lnTo>
                    <a:lnTo>
                      <a:pt x="158" y="349"/>
                    </a:lnTo>
                    <a:lnTo>
                      <a:pt x="158" y="349"/>
                    </a:lnTo>
                    <a:lnTo>
                      <a:pt x="158" y="356"/>
                    </a:lnTo>
                    <a:lnTo>
                      <a:pt x="155" y="362"/>
                    </a:lnTo>
                    <a:lnTo>
                      <a:pt x="152" y="365"/>
                    </a:lnTo>
                    <a:lnTo>
                      <a:pt x="147" y="370"/>
                    </a:lnTo>
                    <a:lnTo>
                      <a:pt x="141" y="372"/>
                    </a:lnTo>
                    <a:lnTo>
                      <a:pt x="137" y="375"/>
                    </a:lnTo>
                    <a:lnTo>
                      <a:pt x="125" y="379"/>
                    </a:lnTo>
                    <a:lnTo>
                      <a:pt x="125" y="379"/>
                    </a:lnTo>
                    <a:lnTo>
                      <a:pt x="125" y="394"/>
                    </a:lnTo>
                    <a:lnTo>
                      <a:pt x="125" y="394"/>
                    </a:lnTo>
                    <a:lnTo>
                      <a:pt x="125" y="394"/>
                    </a:lnTo>
                    <a:lnTo>
                      <a:pt x="133" y="397"/>
                    </a:lnTo>
                    <a:lnTo>
                      <a:pt x="139" y="397"/>
                    </a:lnTo>
                    <a:lnTo>
                      <a:pt x="144" y="396"/>
                    </a:lnTo>
                    <a:lnTo>
                      <a:pt x="151" y="394"/>
                    </a:lnTo>
                    <a:lnTo>
                      <a:pt x="151" y="394"/>
                    </a:lnTo>
                    <a:lnTo>
                      <a:pt x="154" y="394"/>
                    </a:lnTo>
                    <a:lnTo>
                      <a:pt x="154" y="39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4" name="Freeform 131"/>
              <p:cNvSpPr>
                <a:spLocks noChangeAspect="1"/>
              </p:cNvSpPr>
              <p:nvPr/>
            </p:nvSpPr>
            <p:spPr bwMode="auto">
              <a:xfrm>
                <a:off x="2763700" y="3506052"/>
                <a:ext cx="1402820" cy="910094"/>
              </a:xfrm>
              <a:custGeom>
                <a:avLst/>
                <a:gdLst/>
                <a:ahLst/>
                <a:cxnLst>
                  <a:cxn ang="0">
                    <a:pos x="982" y="1239"/>
                  </a:cxn>
                  <a:cxn ang="0">
                    <a:pos x="1036" y="1198"/>
                  </a:cxn>
                  <a:cxn ang="0">
                    <a:pos x="1082" y="1136"/>
                  </a:cxn>
                  <a:cxn ang="0">
                    <a:pos x="1149" y="1027"/>
                  </a:cxn>
                  <a:cxn ang="0">
                    <a:pos x="1223" y="1044"/>
                  </a:cxn>
                  <a:cxn ang="0">
                    <a:pos x="1350" y="1068"/>
                  </a:cxn>
                  <a:cxn ang="0">
                    <a:pos x="1449" y="1099"/>
                  </a:cxn>
                  <a:cxn ang="0">
                    <a:pos x="1512" y="1108"/>
                  </a:cxn>
                  <a:cxn ang="0">
                    <a:pos x="1590" y="1059"/>
                  </a:cxn>
                  <a:cxn ang="0">
                    <a:pos x="1643" y="1090"/>
                  </a:cxn>
                  <a:cxn ang="0">
                    <a:pos x="1673" y="1059"/>
                  </a:cxn>
                  <a:cxn ang="0">
                    <a:pos x="1766" y="1008"/>
                  </a:cxn>
                  <a:cxn ang="0">
                    <a:pos x="1739" y="972"/>
                  </a:cxn>
                  <a:cxn ang="0">
                    <a:pos x="1684" y="908"/>
                  </a:cxn>
                  <a:cxn ang="0">
                    <a:pos x="1646" y="838"/>
                  </a:cxn>
                  <a:cxn ang="0">
                    <a:pos x="1589" y="823"/>
                  </a:cxn>
                  <a:cxn ang="0">
                    <a:pos x="1550" y="775"/>
                  </a:cxn>
                  <a:cxn ang="0">
                    <a:pos x="1498" y="779"/>
                  </a:cxn>
                  <a:cxn ang="0">
                    <a:pos x="1452" y="720"/>
                  </a:cxn>
                  <a:cxn ang="0">
                    <a:pos x="1405" y="737"/>
                  </a:cxn>
                  <a:cxn ang="0">
                    <a:pos x="1350" y="779"/>
                  </a:cxn>
                  <a:cxn ang="0">
                    <a:pos x="1229" y="760"/>
                  </a:cxn>
                  <a:cxn ang="0">
                    <a:pos x="1149" y="672"/>
                  </a:cxn>
                  <a:cxn ang="0">
                    <a:pos x="998" y="632"/>
                  </a:cxn>
                  <a:cxn ang="0">
                    <a:pos x="859" y="570"/>
                  </a:cxn>
                  <a:cxn ang="0">
                    <a:pos x="836" y="508"/>
                  </a:cxn>
                  <a:cxn ang="0">
                    <a:pos x="811" y="437"/>
                  </a:cxn>
                  <a:cxn ang="0">
                    <a:pos x="745" y="357"/>
                  </a:cxn>
                  <a:cxn ang="0">
                    <a:pos x="693" y="367"/>
                  </a:cxn>
                  <a:cxn ang="0">
                    <a:pos x="649" y="367"/>
                  </a:cxn>
                  <a:cxn ang="0">
                    <a:pos x="597" y="363"/>
                  </a:cxn>
                  <a:cxn ang="0">
                    <a:pos x="555" y="256"/>
                  </a:cxn>
                  <a:cxn ang="0">
                    <a:pos x="424" y="249"/>
                  </a:cxn>
                  <a:cxn ang="0">
                    <a:pos x="385" y="210"/>
                  </a:cxn>
                  <a:cxn ang="0">
                    <a:pos x="349" y="169"/>
                  </a:cxn>
                  <a:cxn ang="0">
                    <a:pos x="384" y="91"/>
                  </a:cxn>
                  <a:cxn ang="0">
                    <a:pos x="378" y="0"/>
                  </a:cxn>
                  <a:cxn ang="0">
                    <a:pos x="293" y="56"/>
                  </a:cxn>
                  <a:cxn ang="0">
                    <a:pos x="245" y="62"/>
                  </a:cxn>
                  <a:cxn ang="0">
                    <a:pos x="189" y="63"/>
                  </a:cxn>
                  <a:cxn ang="0">
                    <a:pos x="143" y="169"/>
                  </a:cxn>
                  <a:cxn ang="0">
                    <a:pos x="81" y="244"/>
                  </a:cxn>
                  <a:cxn ang="0">
                    <a:pos x="30" y="396"/>
                  </a:cxn>
                  <a:cxn ang="0">
                    <a:pos x="3" y="455"/>
                  </a:cxn>
                  <a:cxn ang="0">
                    <a:pos x="40" y="514"/>
                  </a:cxn>
                  <a:cxn ang="0">
                    <a:pos x="120" y="613"/>
                  </a:cxn>
                  <a:cxn ang="0">
                    <a:pos x="154" y="672"/>
                  </a:cxn>
                  <a:cxn ang="0">
                    <a:pos x="145" y="760"/>
                  </a:cxn>
                  <a:cxn ang="0">
                    <a:pos x="149" y="926"/>
                  </a:cxn>
                  <a:cxn ang="0">
                    <a:pos x="173" y="975"/>
                  </a:cxn>
                  <a:cxn ang="0">
                    <a:pos x="227" y="1024"/>
                  </a:cxn>
                  <a:cxn ang="0">
                    <a:pos x="262" y="1127"/>
                  </a:cxn>
                  <a:cxn ang="0">
                    <a:pos x="330" y="1107"/>
                  </a:cxn>
                  <a:cxn ang="0">
                    <a:pos x="418" y="1088"/>
                  </a:cxn>
                  <a:cxn ang="0">
                    <a:pos x="468" y="1064"/>
                  </a:cxn>
                  <a:cxn ang="0">
                    <a:pos x="505" y="1045"/>
                  </a:cxn>
                  <a:cxn ang="0">
                    <a:pos x="538" y="1008"/>
                  </a:cxn>
                  <a:cxn ang="0">
                    <a:pos x="627" y="1047"/>
                  </a:cxn>
                  <a:cxn ang="0">
                    <a:pos x="690" y="1066"/>
                  </a:cxn>
                  <a:cxn ang="0">
                    <a:pos x="749" y="1183"/>
                  </a:cxn>
                  <a:cxn ang="0">
                    <a:pos x="829" y="1273"/>
                  </a:cxn>
                </a:cxnLst>
                <a:rect l="0" t="0" r="r" b="b"/>
                <a:pathLst>
                  <a:path w="1771" h="1307">
                    <a:moveTo>
                      <a:pt x="932" y="1307"/>
                    </a:moveTo>
                    <a:lnTo>
                      <a:pt x="954" y="1307"/>
                    </a:lnTo>
                    <a:lnTo>
                      <a:pt x="954" y="1307"/>
                    </a:lnTo>
                    <a:lnTo>
                      <a:pt x="954" y="1307"/>
                    </a:lnTo>
                    <a:lnTo>
                      <a:pt x="960" y="1297"/>
                    </a:lnTo>
                    <a:lnTo>
                      <a:pt x="965" y="1287"/>
                    </a:lnTo>
                    <a:lnTo>
                      <a:pt x="972" y="1267"/>
                    </a:lnTo>
                    <a:lnTo>
                      <a:pt x="979" y="1247"/>
                    </a:lnTo>
                    <a:lnTo>
                      <a:pt x="982" y="1239"/>
                    </a:lnTo>
                    <a:lnTo>
                      <a:pt x="987" y="1230"/>
                    </a:lnTo>
                    <a:lnTo>
                      <a:pt x="987" y="1230"/>
                    </a:lnTo>
                    <a:lnTo>
                      <a:pt x="991" y="1224"/>
                    </a:lnTo>
                    <a:lnTo>
                      <a:pt x="995" y="1219"/>
                    </a:lnTo>
                    <a:lnTo>
                      <a:pt x="1000" y="1215"/>
                    </a:lnTo>
                    <a:lnTo>
                      <a:pt x="1004" y="1212"/>
                    </a:lnTo>
                    <a:lnTo>
                      <a:pt x="1014" y="1206"/>
                    </a:lnTo>
                    <a:lnTo>
                      <a:pt x="1026" y="1201"/>
                    </a:lnTo>
                    <a:lnTo>
                      <a:pt x="1036" y="1198"/>
                    </a:lnTo>
                    <a:lnTo>
                      <a:pt x="1047" y="1193"/>
                    </a:lnTo>
                    <a:lnTo>
                      <a:pt x="1052" y="1190"/>
                    </a:lnTo>
                    <a:lnTo>
                      <a:pt x="1057" y="1185"/>
                    </a:lnTo>
                    <a:lnTo>
                      <a:pt x="1061" y="1181"/>
                    </a:lnTo>
                    <a:lnTo>
                      <a:pt x="1064" y="1175"/>
                    </a:lnTo>
                    <a:lnTo>
                      <a:pt x="1064" y="1175"/>
                    </a:lnTo>
                    <a:lnTo>
                      <a:pt x="1069" y="1168"/>
                    </a:lnTo>
                    <a:lnTo>
                      <a:pt x="1073" y="1159"/>
                    </a:lnTo>
                    <a:lnTo>
                      <a:pt x="1082" y="1136"/>
                    </a:lnTo>
                    <a:lnTo>
                      <a:pt x="1090" y="1112"/>
                    </a:lnTo>
                    <a:lnTo>
                      <a:pt x="1100" y="1086"/>
                    </a:lnTo>
                    <a:lnTo>
                      <a:pt x="1105" y="1074"/>
                    </a:lnTo>
                    <a:lnTo>
                      <a:pt x="1110" y="1063"/>
                    </a:lnTo>
                    <a:lnTo>
                      <a:pt x="1117" y="1052"/>
                    </a:lnTo>
                    <a:lnTo>
                      <a:pt x="1124" y="1043"/>
                    </a:lnTo>
                    <a:lnTo>
                      <a:pt x="1131" y="1036"/>
                    </a:lnTo>
                    <a:lnTo>
                      <a:pt x="1140" y="1030"/>
                    </a:lnTo>
                    <a:lnTo>
                      <a:pt x="1149" y="1027"/>
                    </a:lnTo>
                    <a:lnTo>
                      <a:pt x="1159" y="1024"/>
                    </a:lnTo>
                    <a:lnTo>
                      <a:pt x="1159" y="1024"/>
                    </a:lnTo>
                    <a:lnTo>
                      <a:pt x="1169" y="1025"/>
                    </a:lnTo>
                    <a:lnTo>
                      <a:pt x="1178" y="1028"/>
                    </a:lnTo>
                    <a:lnTo>
                      <a:pt x="1187" y="1030"/>
                    </a:lnTo>
                    <a:lnTo>
                      <a:pt x="1195" y="1032"/>
                    </a:lnTo>
                    <a:lnTo>
                      <a:pt x="1210" y="1039"/>
                    </a:lnTo>
                    <a:lnTo>
                      <a:pt x="1223" y="1044"/>
                    </a:lnTo>
                    <a:lnTo>
                      <a:pt x="1223" y="1044"/>
                    </a:lnTo>
                    <a:lnTo>
                      <a:pt x="1285" y="1044"/>
                    </a:lnTo>
                    <a:lnTo>
                      <a:pt x="1285" y="1044"/>
                    </a:lnTo>
                    <a:lnTo>
                      <a:pt x="1285" y="1044"/>
                    </a:lnTo>
                    <a:lnTo>
                      <a:pt x="1295" y="1051"/>
                    </a:lnTo>
                    <a:lnTo>
                      <a:pt x="1306" y="1056"/>
                    </a:lnTo>
                    <a:lnTo>
                      <a:pt x="1316" y="1061"/>
                    </a:lnTo>
                    <a:lnTo>
                      <a:pt x="1326" y="1064"/>
                    </a:lnTo>
                    <a:lnTo>
                      <a:pt x="1339" y="1067"/>
                    </a:lnTo>
                    <a:lnTo>
                      <a:pt x="1350" y="1068"/>
                    </a:lnTo>
                    <a:lnTo>
                      <a:pt x="1377" y="1069"/>
                    </a:lnTo>
                    <a:lnTo>
                      <a:pt x="1377" y="1069"/>
                    </a:lnTo>
                    <a:lnTo>
                      <a:pt x="1387" y="1069"/>
                    </a:lnTo>
                    <a:lnTo>
                      <a:pt x="1397" y="1070"/>
                    </a:lnTo>
                    <a:lnTo>
                      <a:pt x="1405" y="1073"/>
                    </a:lnTo>
                    <a:lnTo>
                      <a:pt x="1413" y="1076"/>
                    </a:lnTo>
                    <a:lnTo>
                      <a:pt x="1426" y="1083"/>
                    </a:lnTo>
                    <a:lnTo>
                      <a:pt x="1438" y="1091"/>
                    </a:lnTo>
                    <a:lnTo>
                      <a:pt x="1449" y="1099"/>
                    </a:lnTo>
                    <a:lnTo>
                      <a:pt x="1462" y="1106"/>
                    </a:lnTo>
                    <a:lnTo>
                      <a:pt x="1469" y="1109"/>
                    </a:lnTo>
                    <a:lnTo>
                      <a:pt x="1477" y="1111"/>
                    </a:lnTo>
                    <a:lnTo>
                      <a:pt x="1485" y="1113"/>
                    </a:lnTo>
                    <a:lnTo>
                      <a:pt x="1494" y="1113"/>
                    </a:lnTo>
                    <a:lnTo>
                      <a:pt x="1494" y="1113"/>
                    </a:lnTo>
                    <a:lnTo>
                      <a:pt x="1500" y="1113"/>
                    </a:lnTo>
                    <a:lnTo>
                      <a:pt x="1506" y="1111"/>
                    </a:lnTo>
                    <a:lnTo>
                      <a:pt x="1512" y="1108"/>
                    </a:lnTo>
                    <a:lnTo>
                      <a:pt x="1516" y="1105"/>
                    </a:lnTo>
                    <a:lnTo>
                      <a:pt x="1527" y="1096"/>
                    </a:lnTo>
                    <a:lnTo>
                      <a:pt x="1536" y="1085"/>
                    </a:lnTo>
                    <a:lnTo>
                      <a:pt x="1547" y="1076"/>
                    </a:lnTo>
                    <a:lnTo>
                      <a:pt x="1559" y="1067"/>
                    </a:lnTo>
                    <a:lnTo>
                      <a:pt x="1566" y="1063"/>
                    </a:lnTo>
                    <a:lnTo>
                      <a:pt x="1573" y="1061"/>
                    </a:lnTo>
                    <a:lnTo>
                      <a:pt x="1581" y="1059"/>
                    </a:lnTo>
                    <a:lnTo>
                      <a:pt x="1590" y="1059"/>
                    </a:lnTo>
                    <a:lnTo>
                      <a:pt x="1590" y="1059"/>
                    </a:lnTo>
                    <a:lnTo>
                      <a:pt x="1594" y="1059"/>
                    </a:lnTo>
                    <a:lnTo>
                      <a:pt x="1599" y="1060"/>
                    </a:lnTo>
                    <a:lnTo>
                      <a:pt x="1607" y="1063"/>
                    </a:lnTo>
                    <a:lnTo>
                      <a:pt x="1614" y="1069"/>
                    </a:lnTo>
                    <a:lnTo>
                      <a:pt x="1621" y="1075"/>
                    </a:lnTo>
                    <a:lnTo>
                      <a:pt x="1628" y="1081"/>
                    </a:lnTo>
                    <a:lnTo>
                      <a:pt x="1636" y="1086"/>
                    </a:lnTo>
                    <a:lnTo>
                      <a:pt x="1643" y="1090"/>
                    </a:lnTo>
                    <a:lnTo>
                      <a:pt x="1647" y="1091"/>
                    </a:lnTo>
                    <a:lnTo>
                      <a:pt x="1652" y="1091"/>
                    </a:lnTo>
                    <a:lnTo>
                      <a:pt x="1652" y="1091"/>
                    </a:lnTo>
                    <a:lnTo>
                      <a:pt x="1653" y="1085"/>
                    </a:lnTo>
                    <a:lnTo>
                      <a:pt x="1654" y="1081"/>
                    </a:lnTo>
                    <a:lnTo>
                      <a:pt x="1655" y="1076"/>
                    </a:lnTo>
                    <a:lnTo>
                      <a:pt x="1658" y="1071"/>
                    </a:lnTo>
                    <a:lnTo>
                      <a:pt x="1665" y="1064"/>
                    </a:lnTo>
                    <a:lnTo>
                      <a:pt x="1673" y="1059"/>
                    </a:lnTo>
                    <a:lnTo>
                      <a:pt x="1682" y="1054"/>
                    </a:lnTo>
                    <a:lnTo>
                      <a:pt x="1692" y="1050"/>
                    </a:lnTo>
                    <a:lnTo>
                      <a:pt x="1715" y="1041"/>
                    </a:lnTo>
                    <a:lnTo>
                      <a:pt x="1727" y="1037"/>
                    </a:lnTo>
                    <a:lnTo>
                      <a:pt x="1737" y="1032"/>
                    </a:lnTo>
                    <a:lnTo>
                      <a:pt x="1747" y="1027"/>
                    </a:lnTo>
                    <a:lnTo>
                      <a:pt x="1756" y="1021"/>
                    </a:lnTo>
                    <a:lnTo>
                      <a:pt x="1764" y="1013"/>
                    </a:lnTo>
                    <a:lnTo>
                      <a:pt x="1766" y="1008"/>
                    </a:lnTo>
                    <a:lnTo>
                      <a:pt x="1768" y="1002"/>
                    </a:lnTo>
                    <a:lnTo>
                      <a:pt x="1769" y="998"/>
                    </a:lnTo>
                    <a:lnTo>
                      <a:pt x="1771" y="991"/>
                    </a:lnTo>
                    <a:lnTo>
                      <a:pt x="1771" y="984"/>
                    </a:lnTo>
                    <a:lnTo>
                      <a:pt x="1771" y="977"/>
                    </a:lnTo>
                    <a:lnTo>
                      <a:pt x="1771" y="977"/>
                    </a:lnTo>
                    <a:lnTo>
                      <a:pt x="1759" y="977"/>
                    </a:lnTo>
                    <a:lnTo>
                      <a:pt x="1749" y="975"/>
                    </a:lnTo>
                    <a:lnTo>
                      <a:pt x="1739" y="972"/>
                    </a:lnTo>
                    <a:lnTo>
                      <a:pt x="1730" y="968"/>
                    </a:lnTo>
                    <a:lnTo>
                      <a:pt x="1722" y="963"/>
                    </a:lnTo>
                    <a:lnTo>
                      <a:pt x="1715" y="957"/>
                    </a:lnTo>
                    <a:lnTo>
                      <a:pt x="1708" y="951"/>
                    </a:lnTo>
                    <a:lnTo>
                      <a:pt x="1701" y="944"/>
                    </a:lnTo>
                    <a:lnTo>
                      <a:pt x="1696" y="936"/>
                    </a:lnTo>
                    <a:lnTo>
                      <a:pt x="1691" y="926"/>
                    </a:lnTo>
                    <a:lnTo>
                      <a:pt x="1688" y="917"/>
                    </a:lnTo>
                    <a:lnTo>
                      <a:pt x="1684" y="908"/>
                    </a:lnTo>
                    <a:lnTo>
                      <a:pt x="1681" y="896"/>
                    </a:lnTo>
                    <a:lnTo>
                      <a:pt x="1680" y="886"/>
                    </a:lnTo>
                    <a:lnTo>
                      <a:pt x="1678" y="875"/>
                    </a:lnTo>
                    <a:lnTo>
                      <a:pt x="1677" y="863"/>
                    </a:lnTo>
                    <a:lnTo>
                      <a:pt x="1677" y="863"/>
                    </a:lnTo>
                    <a:lnTo>
                      <a:pt x="1672" y="860"/>
                    </a:lnTo>
                    <a:lnTo>
                      <a:pt x="1666" y="856"/>
                    </a:lnTo>
                    <a:lnTo>
                      <a:pt x="1655" y="847"/>
                    </a:lnTo>
                    <a:lnTo>
                      <a:pt x="1646" y="838"/>
                    </a:lnTo>
                    <a:lnTo>
                      <a:pt x="1640" y="833"/>
                    </a:lnTo>
                    <a:lnTo>
                      <a:pt x="1634" y="830"/>
                    </a:lnTo>
                    <a:lnTo>
                      <a:pt x="1634" y="830"/>
                    </a:lnTo>
                    <a:lnTo>
                      <a:pt x="1627" y="829"/>
                    </a:lnTo>
                    <a:lnTo>
                      <a:pt x="1621" y="827"/>
                    </a:lnTo>
                    <a:lnTo>
                      <a:pt x="1608" y="827"/>
                    </a:lnTo>
                    <a:lnTo>
                      <a:pt x="1601" y="827"/>
                    </a:lnTo>
                    <a:lnTo>
                      <a:pt x="1596" y="826"/>
                    </a:lnTo>
                    <a:lnTo>
                      <a:pt x="1589" y="823"/>
                    </a:lnTo>
                    <a:lnTo>
                      <a:pt x="1583" y="819"/>
                    </a:lnTo>
                    <a:lnTo>
                      <a:pt x="1583" y="819"/>
                    </a:lnTo>
                    <a:lnTo>
                      <a:pt x="1577" y="815"/>
                    </a:lnTo>
                    <a:lnTo>
                      <a:pt x="1574" y="809"/>
                    </a:lnTo>
                    <a:lnTo>
                      <a:pt x="1569" y="798"/>
                    </a:lnTo>
                    <a:lnTo>
                      <a:pt x="1566" y="791"/>
                    </a:lnTo>
                    <a:lnTo>
                      <a:pt x="1562" y="785"/>
                    </a:lnTo>
                    <a:lnTo>
                      <a:pt x="1556" y="779"/>
                    </a:lnTo>
                    <a:lnTo>
                      <a:pt x="1550" y="775"/>
                    </a:lnTo>
                    <a:lnTo>
                      <a:pt x="1550" y="775"/>
                    </a:lnTo>
                    <a:lnTo>
                      <a:pt x="1545" y="775"/>
                    </a:lnTo>
                    <a:lnTo>
                      <a:pt x="1542" y="773"/>
                    </a:lnTo>
                    <a:lnTo>
                      <a:pt x="1533" y="775"/>
                    </a:lnTo>
                    <a:lnTo>
                      <a:pt x="1519" y="780"/>
                    </a:lnTo>
                    <a:lnTo>
                      <a:pt x="1512" y="783"/>
                    </a:lnTo>
                    <a:lnTo>
                      <a:pt x="1505" y="781"/>
                    </a:lnTo>
                    <a:lnTo>
                      <a:pt x="1501" y="780"/>
                    </a:lnTo>
                    <a:lnTo>
                      <a:pt x="1498" y="779"/>
                    </a:lnTo>
                    <a:lnTo>
                      <a:pt x="1494" y="776"/>
                    </a:lnTo>
                    <a:lnTo>
                      <a:pt x="1491" y="771"/>
                    </a:lnTo>
                    <a:lnTo>
                      <a:pt x="1491" y="771"/>
                    </a:lnTo>
                    <a:lnTo>
                      <a:pt x="1485" y="765"/>
                    </a:lnTo>
                    <a:lnTo>
                      <a:pt x="1481" y="758"/>
                    </a:lnTo>
                    <a:lnTo>
                      <a:pt x="1469" y="740"/>
                    </a:lnTo>
                    <a:lnTo>
                      <a:pt x="1463" y="731"/>
                    </a:lnTo>
                    <a:lnTo>
                      <a:pt x="1456" y="724"/>
                    </a:lnTo>
                    <a:lnTo>
                      <a:pt x="1452" y="720"/>
                    </a:lnTo>
                    <a:lnTo>
                      <a:pt x="1448" y="718"/>
                    </a:lnTo>
                    <a:lnTo>
                      <a:pt x="1444" y="717"/>
                    </a:lnTo>
                    <a:lnTo>
                      <a:pt x="1439" y="717"/>
                    </a:lnTo>
                    <a:lnTo>
                      <a:pt x="1439" y="717"/>
                    </a:lnTo>
                    <a:lnTo>
                      <a:pt x="1432" y="717"/>
                    </a:lnTo>
                    <a:lnTo>
                      <a:pt x="1425" y="719"/>
                    </a:lnTo>
                    <a:lnTo>
                      <a:pt x="1420" y="723"/>
                    </a:lnTo>
                    <a:lnTo>
                      <a:pt x="1414" y="726"/>
                    </a:lnTo>
                    <a:lnTo>
                      <a:pt x="1405" y="737"/>
                    </a:lnTo>
                    <a:lnTo>
                      <a:pt x="1397" y="748"/>
                    </a:lnTo>
                    <a:lnTo>
                      <a:pt x="1387" y="760"/>
                    </a:lnTo>
                    <a:lnTo>
                      <a:pt x="1383" y="764"/>
                    </a:lnTo>
                    <a:lnTo>
                      <a:pt x="1377" y="769"/>
                    </a:lnTo>
                    <a:lnTo>
                      <a:pt x="1371" y="773"/>
                    </a:lnTo>
                    <a:lnTo>
                      <a:pt x="1365" y="777"/>
                    </a:lnTo>
                    <a:lnTo>
                      <a:pt x="1359" y="778"/>
                    </a:lnTo>
                    <a:lnTo>
                      <a:pt x="1350" y="779"/>
                    </a:lnTo>
                    <a:lnTo>
                      <a:pt x="1350" y="779"/>
                    </a:lnTo>
                    <a:lnTo>
                      <a:pt x="1332" y="778"/>
                    </a:lnTo>
                    <a:lnTo>
                      <a:pt x="1314" y="776"/>
                    </a:lnTo>
                    <a:lnTo>
                      <a:pt x="1296" y="772"/>
                    </a:lnTo>
                    <a:lnTo>
                      <a:pt x="1277" y="771"/>
                    </a:lnTo>
                    <a:lnTo>
                      <a:pt x="1277" y="771"/>
                    </a:lnTo>
                    <a:lnTo>
                      <a:pt x="1263" y="771"/>
                    </a:lnTo>
                    <a:lnTo>
                      <a:pt x="1249" y="768"/>
                    </a:lnTo>
                    <a:lnTo>
                      <a:pt x="1239" y="764"/>
                    </a:lnTo>
                    <a:lnTo>
                      <a:pt x="1229" y="760"/>
                    </a:lnTo>
                    <a:lnTo>
                      <a:pt x="1220" y="754"/>
                    </a:lnTo>
                    <a:lnTo>
                      <a:pt x="1212" y="747"/>
                    </a:lnTo>
                    <a:lnTo>
                      <a:pt x="1206" y="739"/>
                    </a:lnTo>
                    <a:lnTo>
                      <a:pt x="1200" y="731"/>
                    </a:lnTo>
                    <a:lnTo>
                      <a:pt x="1187" y="714"/>
                    </a:lnTo>
                    <a:lnTo>
                      <a:pt x="1174" y="695"/>
                    </a:lnTo>
                    <a:lnTo>
                      <a:pt x="1166" y="687"/>
                    </a:lnTo>
                    <a:lnTo>
                      <a:pt x="1158" y="679"/>
                    </a:lnTo>
                    <a:lnTo>
                      <a:pt x="1149" y="672"/>
                    </a:lnTo>
                    <a:lnTo>
                      <a:pt x="1138" y="665"/>
                    </a:lnTo>
                    <a:lnTo>
                      <a:pt x="1138" y="665"/>
                    </a:lnTo>
                    <a:lnTo>
                      <a:pt x="1124" y="661"/>
                    </a:lnTo>
                    <a:lnTo>
                      <a:pt x="1107" y="656"/>
                    </a:lnTo>
                    <a:lnTo>
                      <a:pt x="1067" y="649"/>
                    </a:lnTo>
                    <a:lnTo>
                      <a:pt x="1047" y="646"/>
                    </a:lnTo>
                    <a:lnTo>
                      <a:pt x="1026" y="641"/>
                    </a:lnTo>
                    <a:lnTo>
                      <a:pt x="1008" y="635"/>
                    </a:lnTo>
                    <a:lnTo>
                      <a:pt x="998" y="632"/>
                    </a:lnTo>
                    <a:lnTo>
                      <a:pt x="991" y="628"/>
                    </a:lnTo>
                    <a:lnTo>
                      <a:pt x="991" y="628"/>
                    </a:lnTo>
                    <a:lnTo>
                      <a:pt x="981" y="623"/>
                    </a:lnTo>
                    <a:lnTo>
                      <a:pt x="973" y="617"/>
                    </a:lnTo>
                    <a:lnTo>
                      <a:pt x="958" y="603"/>
                    </a:lnTo>
                    <a:lnTo>
                      <a:pt x="944" y="587"/>
                    </a:lnTo>
                    <a:lnTo>
                      <a:pt x="928" y="570"/>
                    </a:lnTo>
                    <a:lnTo>
                      <a:pt x="928" y="570"/>
                    </a:lnTo>
                    <a:lnTo>
                      <a:pt x="859" y="570"/>
                    </a:lnTo>
                    <a:lnTo>
                      <a:pt x="859" y="570"/>
                    </a:lnTo>
                    <a:lnTo>
                      <a:pt x="859" y="570"/>
                    </a:lnTo>
                    <a:lnTo>
                      <a:pt x="855" y="565"/>
                    </a:lnTo>
                    <a:lnTo>
                      <a:pt x="851" y="560"/>
                    </a:lnTo>
                    <a:lnTo>
                      <a:pt x="845" y="551"/>
                    </a:lnTo>
                    <a:lnTo>
                      <a:pt x="843" y="541"/>
                    </a:lnTo>
                    <a:lnTo>
                      <a:pt x="841" y="531"/>
                    </a:lnTo>
                    <a:lnTo>
                      <a:pt x="838" y="519"/>
                    </a:lnTo>
                    <a:lnTo>
                      <a:pt x="836" y="508"/>
                    </a:lnTo>
                    <a:lnTo>
                      <a:pt x="833" y="496"/>
                    </a:lnTo>
                    <a:lnTo>
                      <a:pt x="829" y="490"/>
                    </a:lnTo>
                    <a:lnTo>
                      <a:pt x="826" y="485"/>
                    </a:lnTo>
                    <a:lnTo>
                      <a:pt x="826" y="485"/>
                    </a:lnTo>
                    <a:lnTo>
                      <a:pt x="820" y="473"/>
                    </a:lnTo>
                    <a:lnTo>
                      <a:pt x="815" y="459"/>
                    </a:lnTo>
                    <a:lnTo>
                      <a:pt x="812" y="448"/>
                    </a:lnTo>
                    <a:lnTo>
                      <a:pt x="811" y="437"/>
                    </a:lnTo>
                    <a:lnTo>
                      <a:pt x="811" y="437"/>
                    </a:lnTo>
                    <a:lnTo>
                      <a:pt x="811" y="409"/>
                    </a:lnTo>
                    <a:lnTo>
                      <a:pt x="811" y="409"/>
                    </a:lnTo>
                    <a:lnTo>
                      <a:pt x="810" y="405"/>
                    </a:lnTo>
                    <a:lnTo>
                      <a:pt x="809" y="402"/>
                    </a:lnTo>
                    <a:lnTo>
                      <a:pt x="799" y="392"/>
                    </a:lnTo>
                    <a:lnTo>
                      <a:pt x="788" y="383"/>
                    </a:lnTo>
                    <a:lnTo>
                      <a:pt x="774" y="373"/>
                    </a:lnTo>
                    <a:lnTo>
                      <a:pt x="759" y="364"/>
                    </a:lnTo>
                    <a:lnTo>
                      <a:pt x="745" y="357"/>
                    </a:lnTo>
                    <a:lnTo>
                      <a:pt x="734" y="351"/>
                    </a:lnTo>
                    <a:lnTo>
                      <a:pt x="727" y="349"/>
                    </a:lnTo>
                    <a:lnTo>
                      <a:pt x="727" y="349"/>
                    </a:lnTo>
                    <a:lnTo>
                      <a:pt x="722" y="350"/>
                    </a:lnTo>
                    <a:lnTo>
                      <a:pt x="719" y="352"/>
                    </a:lnTo>
                    <a:lnTo>
                      <a:pt x="711" y="358"/>
                    </a:lnTo>
                    <a:lnTo>
                      <a:pt x="703" y="365"/>
                    </a:lnTo>
                    <a:lnTo>
                      <a:pt x="698" y="367"/>
                    </a:lnTo>
                    <a:lnTo>
                      <a:pt x="693" y="367"/>
                    </a:lnTo>
                    <a:lnTo>
                      <a:pt x="693" y="367"/>
                    </a:lnTo>
                    <a:lnTo>
                      <a:pt x="687" y="367"/>
                    </a:lnTo>
                    <a:lnTo>
                      <a:pt x="682" y="365"/>
                    </a:lnTo>
                    <a:lnTo>
                      <a:pt x="678" y="361"/>
                    </a:lnTo>
                    <a:lnTo>
                      <a:pt x="675" y="357"/>
                    </a:lnTo>
                    <a:lnTo>
                      <a:pt x="675" y="357"/>
                    </a:lnTo>
                    <a:lnTo>
                      <a:pt x="668" y="358"/>
                    </a:lnTo>
                    <a:lnTo>
                      <a:pt x="661" y="360"/>
                    </a:lnTo>
                    <a:lnTo>
                      <a:pt x="649" y="367"/>
                    </a:lnTo>
                    <a:lnTo>
                      <a:pt x="637" y="372"/>
                    </a:lnTo>
                    <a:lnTo>
                      <a:pt x="630" y="374"/>
                    </a:lnTo>
                    <a:lnTo>
                      <a:pt x="623" y="374"/>
                    </a:lnTo>
                    <a:lnTo>
                      <a:pt x="623" y="374"/>
                    </a:lnTo>
                    <a:lnTo>
                      <a:pt x="618" y="374"/>
                    </a:lnTo>
                    <a:lnTo>
                      <a:pt x="613" y="373"/>
                    </a:lnTo>
                    <a:lnTo>
                      <a:pt x="608" y="372"/>
                    </a:lnTo>
                    <a:lnTo>
                      <a:pt x="604" y="369"/>
                    </a:lnTo>
                    <a:lnTo>
                      <a:pt x="597" y="363"/>
                    </a:lnTo>
                    <a:lnTo>
                      <a:pt x="592" y="355"/>
                    </a:lnTo>
                    <a:lnTo>
                      <a:pt x="588" y="345"/>
                    </a:lnTo>
                    <a:lnTo>
                      <a:pt x="584" y="335"/>
                    </a:lnTo>
                    <a:lnTo>
                      <a:pt x="578" y="312"/>
                    </a:lnTo>
                    <a:lnTo>
                      <a:pt x="574" y="289"/>
                    </a:lnTo>
                    <a:lnTo>
                      <a:pt x="570" y="279"/>
                    </a:lnTo>
                    <a:lnTo>
                      <a:pt x="567" y="269"/>
                    </a:lnTo>
                    <a:lnTo>
                      <a:pt x="562" y="261"/>
                    </a:lnTo>
                    <a:lnTo>
                      <a:pt x="555" y="256"/>
                    </a:lnTo>
                    <a:lnTo>
                      <a:pt x="552" y="253"/>
                    </a:lnTo>
                    <a:lnTo>
                      <a:pt x="548" y="251"/>
                    </a:lnTo>
                    <a:lnTo>
                      <a:pt x="544" y="250"/>
                    </a:lnTo>
                    <a:lnTo>
                      <a:pt x="539" y="250"/>
                    </a:lnTo>
                    <a:lnTo>
                      <a:pt x="539" y="250"/>
                    </a:lnTo>
                    <a:lnTo>
                      <a:pt x="447" y="250"/>
                    </a:lnTo>
                    <a:lnTo>
                      <a:pt x="447" y="250"/>
                    </a:lnTo>
                    <a:lnTo>
                      <a:pt x="436" y="250"/>
                    </a:lnTo>
                    <a:lnTo>
                      <a:pt x="424" y="249"/>
                    </a:lnTo>
                    <a:lnTo>
                      <a:pt x="414" y="246"/>
                    </a:lnTo>
                    <a:lnTo>
                      <a:pt x="405" y="244"/>
                    </a:lnTo>
                    <a:lnTo>
                      <a:pt x="397" y="238"/>
                    </a:lnTo>
                    <a:lnTo>
                      <a:pt x="393" y="235"/>
                    </a:lnTo>
                    <a:lnTo>
                      <a:pt x="391" y="231"/>
                    </a:lnTo>
                    <a:lnTo>
                      <a:pt x="389" y="227"/>
                    </a:lnTo>
                    <a:lnTo>
                      <a:pt x="386" y="222"/>
                    </a:lnTo>
                    <a:lnTo>
                      <a:pt x="386" y="215"/>
                    </a:lnTo>
                    <a:lnTo>
                      <a:pt x="385" y="210"/>
                    </a:lnTo>
                    <a:lnTo>
                      <a:pt x="385" y="210"/>
                    </a:lnTo>
                    <a:lnTo>
                      <a:pt x="378" y="207"/>
                    </a:lnTo>
                    <a:lnTo>
                      <a:pt x="372" y="205"/>
                    </a:lnTo>
                    <a:lnTo>
                      <a:pt x="366" y="201"/>
                    </a:lnTo>
                    <a:lnTo>
                      <a:pt x="361" y="198"/>
                    </a:lnTo>
                    <a:lnTo>
                      <a:pt x="355" y="192"/>
                    </a:lnTo>
                    <a:lnTo>
                      <a:pt x="352" y="185"/>
                    </a:lnTo>
                    <a:lnTo>
                      <a:pt x="349" y="178"/>
                    </a:lnTo>
                    <a:lnTo>
                      <a:pt x="349" y="169"/>
                    </a:lnTo>
                    <a:lnTo>
                      <a:pt x="349" y="169"/>
                    </a:lnTo>
                    <a:lnTo>
                      <a:pt x="349" y="162"/>
                    </a:lnTo>
                    <a:lnTo>
                      <a:pt x="351" y="157"/>
                    </a:lnTo>
                    <a:lnTo>
                      <a:pt x="355" y="145"/>
                    </a:lnTo>
                    <a:lnTo>
                      <a:pt x="361" y="135"/>
                    </a:lnTo>
                    <a:lnTo>
                      <a:pt x="367" y="124"/>
                    </a:lnTo>
                    <a:lnTo>
                      <a:pt x="374" y="114"/>
                    </a:lnTo>
                    <a:lnTo>
                      <a:pt x="379" y="104"/>
                    </a:lnTo>
                    <a:lnTo>
                      <a:pt x="384" y="91"/>
                    </a:lnTo>
                    <a:lnTo>
                      <a:pt x="385" y="84"/>
                    </a:lnTo>
                    <a:lnTo>
                      <a:pt x="385" y="77"/>
                    </a:lnTo>
                    <a:lnTo>
                      <a:pt x="385" y="77"/>
                    </a:lnTo>
                    <a:lnTo>
                      <a:pt x="385" y="22"/>
                    </a:lnTo>
                    <a:lnTo>
                      <a:pt x="385" y="22"/>
                    </a:lnTo>
                    <a:lnTo>
                      <a:pt x="385" y="16"/>
                    </a:lnTo>
                    <a:lnTo>
                      <a:pt x="383" y="12"/>
                    </a:lnTo>
                    <a:lnTo>
                      <a:pt x="380" y="7"/>
                    </a:lnTo>
                    <a:lnTo>
                      <a:pt x="378" y="0"/>
                    </a:lnTo>
                    <a:lnTo>
                      <a:pt x="378" y="0"/>
                    </a:lnTo>
                    <a:lnTo>
                      <a:pt x="369" y="4"/>
                    </a:lnTo>
                    <a:lnTo>
                      <a:pt x="360" y="7"/>
                    </a:lnTo>
                    <a:lnTo>
                      <a:pt x="351" y="12"/>
                    </a:lnTo>
                    <a:lnTo>
                      <a:pt x="342" y="17"/>
                    </a:lnTo>
                    <a:lnTo>
                      <a:pt x="328" y="29"/>
                    </a:lnTo>
                    <a:lnTo>
                      <a:pt x="314" y="40"/>
                    </a:lnTo>
                    <a:lnTo>
                      <a:pt x="300" y="52"/>
                    </a:lnTo>
                    <a:lnTo>
                      <a:pt x="293" y="56"/>
                    </a:lnTo>
                    <a:lnTo>
                      <a:pt x="285" y="61"/>
                    </a:lnTo>
                    <a:lnTo>
                      <a:pt x="277" y="65"/>
                    </a:lnTo>
                    <a:lnTo>
                      <a:pt x="269" y="68"/>
                    </a:lnTo>
                    <a:lnTo>
                      <a:pt x="260" y="69"/>
                    </a:lnTo>
                    <a:lnTo>
                      <a:pt x="249" y="70"/>
                    </a:lnTo>
                    <a:lnTo>
                      <a:pt x="249" y="70"/>
                    </a:lnTo>
                    <a:lnTo>
                      <a:pt x="248" y="69"/>
                    </a:lnTo>
                    <a:lnTo>
                      <a:pt x="247" y="68"/>
                    </a:lnTo>
                    <a:lnTo>
                      <a:pt x="245" y="62"/>
                    </a:lnTo>
                    <a:lnTo>
                      <a:pt x="242" y="56"/>
                    </a:lnTo>
                    <a:lnTo>
                      <a:pt x="242" y="52"/>
                    </a:lnTo>
                    <a:lnTo>
                      <a:pt x="242" y="52"/>
                    </a:lnTo>
                    <a:lnTo>
                      <a:pt x="224" y="52"/>
                    </a:lnTo>
                    <a:lnTo>
                      <a:pt x="224" y="52"/>
                    </a:lnTo>
                    <a:lnTo>
                      <a:pt x="214" y="53"/>
                    </a:lnTo>
                    <a:lnTo>
                      <a:pt x="204" y="54"/>
                    </a:lnTo>
                    <a:lnTo>
                      <a:pt x="196" y="58"/>
                    </a:lnTo>
                    <a:lnTo>
                      <a:pt x="189" y="63"/>
                    </a:lnTo>
                    <a:lnTo>
                      <a:pt x="183" y="69"/>
                    </a:lnTo>
                    <a:lnTo>
                      <a:pt x="177" y="75"/>
                    </a:lnTo>
                    <a:lnTo>
                      <a:pt x="171" y="83"/>
                    </a:lnTo>
                    <a:lnTo>
                      <a:pt x="166" y="91"/>
                    </a:lnTo>
                    <a:lnTo>
                      <a:pt x="158" y="109"/>
                    </a:lnTo>
                    <a:lnTo>
                      <a:pt x="153" y="129"/>
                    </a:lnTo>
                    <a:lnTo>
                      <a:pt x="147" y="150"/>
                    </a:lnTo>
                    <a:lnTo>
                      <a:pt x="143" y="169"/>
                    </a:lnTo>
                    <a:lnTo>
                      <a:pt x="143" y="169"/>
                    </a:lnTo>
                    <a:lnTo>
                      <a:pt x="142" y="173"/>
                    </a:lnTo>
                    <a:lnTo>
                      <a:pt x="141" y="176"/>
                    </a:lnTo>
                    <a:lnTo>
                      <a:pt x="137" y="184"/>
                    </a:lnTo>
                    <a:lnTo>
                      <a:pt x="128" y="192"/>
                    </a:lnTo>
                    <a:lnTo>
                      <a:pt x="119" y="203"/>
                    </a:lnTo>
                    <a:lnTo>
                      <a:pt x="101" y="221"/>
                    </a:lnTo>
                    <a:lnTo>
                      <a:pt x="88" y="235"/>
                    </a:lnTo>
                    <a:lnTo>
                      <a:pt x="88" y="235"/>
                    </a:lnTo>
                    <a:lnTo>
                      <a:pt x="81" y="244"/>
                    </a:lnTo>
                    <a:lnTo>
                      <a:pt x="76" y="252"/>
                    </a:lnTo>
                    <a:lnTo>
                      <a:pt x="67" y="269"/>
                    </a:lnTo>
                    <a:lnTo>
                      <a:pt x="61" y="288"/>
                    </a:lnTo>
                    <a:lnTo>
                      <a:pt x="55" y="306"/>
                    </a:lnTo>
                    <a:lnTo>
                      <a:pt x="46" y="346"/>
                    </a:lnTo>
                    <a:lnTo>
                      <a:pt x="40" y="367"/>
                    </a:lnTo>
                    <a:lnTo>
                      <a:pt x="33" y="389"/>
                    </a:lnTo>
                    <a:lnTo>
                      <a:pt x="33" y="389"/>
                    </a:lnTo>
                    <a:lnTo>
                      <a:pt x="30" y="396"/>
                    </a:lnTo>
                    <a:lnTo>
                      <a:pt x="25" y="403"/>
                    </a:lnTo>
                    <a:lnTo>
                      <a:pt x="13" y="418"/>
                    </a:lnTo>
                    <a:lnTo>
                      <a:pt x="9" y="425"/>
                    </a:lnTo>
                    <a:lnTo>
                      <a:pt x="4" y="433"/>
                    </a:lnTo>
                    <a:lnTo>
                      <a:pt x="1" y="440"/>
                    </a:lnTo>
                    <a:lnTo>
                      <a:pt x="0" y="448"/>
                    </a:lnTo>
                    <a:lnTo>
                      <a:pt x="0" y="448"/>
                    </a:lnTo>
                    <a:lnTo>
                      <a:pt x="1" y="451"/>
                    </a:lnTo>
                    <a:lnTo>
                      <a:pt x="3" y="455"/>
                    </a:lnTo>
                    <a:lnTo>
                      <a:pt x="9" y="460"/>
                    </a:lnTo>
                    <a:lnTo>
                      <a:pt x="15" y="466"/>
                    </a:lnTo>
                    <a:lnTo>
                      <a:pt x="17" y="468"/>
                    </a:lnTo>
                    <a:lnTo>
                      <a:pt x="18" y="471"/>
                    </a:lnTo>
                    <a:lnTo>
                      <a:pt x="18" y="471"/>
                    </a:lnTo>
                    <a:lnTo>
                      <a:pt x="23" y="483"/>
                    </a:lnTo>
                    <a:lnTo>
                      <a:pt x="28" y="495"/>
                    </a:lnTo>
                    <a:lnTo>
                      <a:pt x="34" y="505"/>
                    </a:lnTo>
                    <a:lnTo>
                      <a:pt x="40" y="514"/>
                    </a:lnTo>
                    <a:lnTo>
                      <a:pt x="47" y="523"/>
                    </a:lnTo>
                    <a:lnTo>
                      <a:pt x="55" y="531"/>
                    </a:lnTo>
                    <a:lnTo>
                      <a:pt x="70" y="544"/>
                    </a:lnTo>
                    <a:lnTo>
                      <a:pt x="85" y="558"/>
                    </a:lnTo>
                    <a:lnTo>
                      <a:pt x="99" y="574"/>
                    </a:lnTo>
                    <a:lnTo>
                      <a:pt x="105" y="582"/>
                    </a:lnTo>
                    <a:lnTo>
                      <a:pt x="111" y="592"/>
                    </a:lnTo>
                    <a:lnTo>
                      <a:pt x="116" y="602"/>
                    </a:lnTo>
                    <a:lnTo>
                      <a:pt x="120" y="613"/>
                    </a:lnTo>
                    <a:lnTo>
                      <a:pt x="120" y="613"/>
                    </a:lnTo>
                    <a:lnTo>
                      <a:pt x="125" y="620"/>
                    </a:lnTo>
                    <a:lnTo>
                      <a:pt x="131" y="627"/>
                    </a:lnTo>
                    <a:lnTo>
                      <a:pt x="141" y="640"/>
                    </a:lnTo>
                    <a:lnTo>
                      <a:pt x="146" y="648"/>
                    </a:lnTo>
                    <a:lnTo>
                      <a:pt x="150" y="655"/>
                    </a:lnTo>
                    <a:lnTo>
                      <a:pt x="153" y="663"/>
                    </a:lnTo>
                    <a:lnTo>
                      <a:pt x="154" y="672"/>
                    </a:lnTo>
                    <a:lnTo>
                      <a:pt x="154" y="672"/>
                    </a:lnTo>
                    <a:lnTo>
                      <a:pt x="154" y="680"/>
                    </a:lnTo>
                    <a:lnTo>
                      <a:pt x="153" y="688"/>
                    </a:lnTo>
                    <a:lnTo>
                      <a:pt x="148" y="702"/>
                    </a:lnTo>
                    <a:lnTo>
                      <a:pt x="145" y="716"/>
                    </a:lnTo>
                    <a:lnTo>
                      <a:pt x="143" y="723"/>
                    </a:lnTo>
                    <a:lnTo>
                      <a:pt x="143" y="731"/>
                    </a:lnTo>
                    <a:lnTo>
                      <a:pt x="143" y="731"/>
                    </a:lnTo>
                    <a:lnTo>
                      <a:pt x="143" y="746"/>
                    </a:lnTo>
                    <a:lnTo>
                      <a:pt x="145" y="760"/>
                    </a:lnTo>
                    <a:lnTo>
                      <a:pt x="148" y="788"/>
                    </a:lnTo>
                    <a:lnTo>
                      <a:pt x="153" y="816"/>
                    </a:lnTo>
                    <a:lnTo>
                      <a:pt x="154" y="830"/>
                    </a:lnTo>
                    <a:lnTo>
                      <a:pt x="154" y="845"/>
                    </a:lnTo>
                    <a:lnTo>
                      <a:pt x="154" y="845"/>
                    </a:lnTo>
                    <a:lnTo>
                      <a:pt x="154" y="911"/>
                    </a:lnTo>
                    <a:lnTo>
                      <a:pt x="154" y="911"/>
                    </a:lnTo>
                    <a:lnTo>
                      <a:pt x="153" y="918"/>
                    </a:lnTo>
                    <a:lnTo>
                      <a:pt x="149" y="926"/>
                    </a:lnTo>
                    <a:lnTo>
                      <a:pt x="147" y="937"/>
                    </a:lnTo>
                    <a:lnTo>
                      <a:pt x="146" y="943"/>
                    </a:lnTo>
                    <a:lnTo>
                      <a:pt x="147" y="948"/>
                    </a:lnTo>
                    <a:lnTo>
                      <a:pt x="147" y="948"/>
                    </a:lnTo>
                    <a:lnTo>
                      <a:pt x="149" y="954"/>
                    </a:lnTo>
                    <a:lnTo>
                      <a:pt x="153" y="960"/>
                    </a:lnTo>
                    <a:lnTo>
                      <a:pt x="157" y="964"/>
                    </a:lnTo>
                    <a:lnTo>
                      <a:pt x="162" y="968"/>
                    </a:lnTo>
                    <a:lnTo>
                      <a:pt x="173" y="975"/>
                    </a:lnTo>
                    <a:lnTo>
                      <a:pt x="185" y="979"/>
                    </a:lnTo>
                    <a:lnTo>
                      <a:pt x="198" y="984"/>
                    </a:lnTo>
                    <a:lnTo>
                      <a:pt x="209" y="990"/>
                    </a:lnTo>
                    <a:lnTo>
                      <a:pt x="214" y="994"/>
                    </a:lnTo>
                    <a:lnTo>
                      <a:pt x="217" y="999"/>
                    </a:lnTo>
                    <a:lnTo>
                      <a:pt x="222" y="1004"/>
                    </a:lnTo>
                    <a:lnTo>
                      <a:pt x="224" y="1010"/>
                    </a:lnTo>
                    <a:lnTo>
                      <a:pt x="224" y="1010"/>
                    </a:lnTo>
                    <a:lnTo>
                      <a:pt x="227" y="1024"/>
                    </a:lnTo>
                    <a:lnTo>
                      <a:pt x="232" y="1041"/>
                    </a:lnTo>
                    <a:lnTo>
                      <a:pt x="239" y="1076"/>
                    </a:lnTo>
                    <a:lnTo>
                      <a:pt x="246" y="1117"/>
                    </a:lnTo>
                    <a:lnTo>
                      <a:pt x="246" y="1117"/>
                    </a:lnTo>
                    <a:lnTo>
                      <a:pt x="249" y="1117"/>
                    </a:lnTo>
                    <a:lnTo>
                      <a:pt x="249" y="1117"/>
                    </a:lnTo>
                    <a:lnTo>
                      <a:pt x="249" y="1117"/>
                    </a:lnTo>
                    <a:lnTo>
                      <a:pt x="255" y="1122"/>
                    </a:lnTo>
                    <a:lnTo>
                      <a:pt x="262" y="1127"/>
                    </a:lnTo>
                    <a:lnTo>
                      <a:pt x="271" y="1130"/>
                    </a:lnTo>
                    <a:lnTo>
                      <a:pt x="276" y="1131"/>
                    </a:lnTo>
                    <a:lnTo>
                      <a:pt x="283" y="1132"/>
                    </a:lnTo>
                    <a:lnTo>
                      <a:pt x="283" y="1132"/>
                    </a:lnTo>
                    <a:lnTo>
                      <a:pt x="295" y="1131"/>
                    </a:lnTo>
                    <a:lnTo>
                      <a:pt x="305" y="1128"/>
                    </a:lnTo>
                    <a:lnTo>
                      <a:pt x="313" y="1124"/>
                    </a:lnTo>
                    <a:lnTo>
                      <a:pt x="319" y="1119"/>
                    </a:lnTo>
                    <a:lnTo>
                      <a:pt x="330" y="1107"/>
                    </a:lnTo>
                    <a:lnTo>
                      <a:pt x="336" y="1100"/>
                    </a:lnTo>
                    <a:lnTo>
                      <a:pt x="341" y="1094"/>
                    </a:lnTo>
                    <a:lnTo>
                      <a:pt x="341" y="1094"/>
                    </a:lnTo>
                    <a:lnTo>
                      <a:pt x="348" y="1092"/>
                    </a:lnTo>
                    <a:lnTo>
                      <a:pt x="355" y="1090"/>
                    </a:lnTo>
                    <a:lnTo>
                      <a:pt x="370" y="1088"/>
                    </a:lnTo>
                    <a:lnTo>
                      <a:pt x="386" y="1086"/>
                    </a:lnTo>
                    <a:lnTo>
                      <a:pt x="402" y="1088"/>
                    </a:lnTo>
                    <a:lnTo>
                      <a:pt x="418" y="1088"/>
                    </a:lnTo>
                    <a:lnTo>
                      <a:pt x="432" y="1088"/>
                    </a:lnTo>
                    <a:lnTo>
                      <a:pt x="439" y="1086"/>
                    </a:lnTo>
                    <a:lnTo>
                      <a:pt x="445" y="1085"/>
                    </a:lnTo>
                    <a:lnTo>
                      <a:pt x="451" y="1083"/>
                    </a:lnTo>
                    <a:lnTo>
                      <a:pt x="455" y="1081"/>
                    </a:lnTo>
                    <a:lnTo>
                      <a:pt x="455" y="1081"/>
                    </a:lnTo>
                    <a:lnTo>
                      <a:pt x="459" y="1078"/>
                    </a:lnTo>
                    <a:lnTo>
                      <a:pt x="462" y="1074"/>
                    </a:lnTo>
                    <a:lnTo>
                      <a:pt x="468" y="1064"/>
                    </a:lnTo>
                    <a:lnTo>
                      <a:pt x="473" y="1055"/>
                    </a:lnTo>
                    <a:lnTo>
                      <a:pt x="475" y="1052"/>
                    </a:lnTo>
                    <a:lnTo>
                      <a:pt x="477" y="1051"/>
                    </a:lnTo>
                    <a:lnTo>
                      <a:pt x="477" y="1051"/>
                    </a:lnTo>
                    <a:lnTo>
                      <a:pt x="483" y="1047"/>
                    </a:lnTo>
                    <a:lnTo>
                      <a:pt x="489" y="1046"/>
                    </a:lnTo>
                    <a:lnTo>
                      <a:pt x="493" y="1045"/>
                    </a:lnTo>
                    <a:lnTo>
                      <a:pt x="499" y="1045"/>
                    </a:lnTo>
                    <a:lnTo>
                      <a:pt x="505" y="1045"/>
                    </a:lnTo>
                    <a:lnTo>
                      <a:pt x="510" y="1045"/>
                    </a:lnTo>
                    <a:lnTo>
                      <a:pt x="516" y="1043"/>
                    </a:lnTo>
                    <a:lnTo>
                      <a:pt x="521" y="1039"/>
                    </a:lnTo>
                    <a:lnTo>
                      <a:pt x="521" y="1039"/>
                    </a:lnTo>
                    <a:lnTo>
                      <a:pt x="525" y="1036"/>
                    </a:lnTo>
                    <a:lnTo>
                      <a:pt x="529" y="1031"/>
                    </a:lnTo>
                    <a:lnTo>
                      <a:pt x="532" y="1018"/>
                    </a:lnTo>
                    <a:lnTo>
                      <a:pt x="536" y="1013"/>
                    </a:lnTo>
                    <a:lnTo>
                      <a:pt x="538" y="1008"/>
                    </a:lnTo>
                    <a:lnTo>
                      <a:pt x="543" y="1005"/>
                    </a:lnTo>
                    <a:lnTo>
                      <a:pt x="546" y="1004"/>
                    </a:lnTo>
                    <a:lnTo>
                      <a:pt x="550" y="1004"/>
                    </a:lnTo>
                    <a:lnTo>
                      <a:pt x="550" y="1004"/>
                    </a:lnTo>
                    <a:lnTo>
                      <a:pt x="557" y="1005"/>
                    </a:lnTo>
                    <a:lnTo>
                      <a:pt x="567" y="1009"/>
                    </a:lnTo>
                    <a:lnTo>
                      <a:pt x="590" y="1022"/>
                    </a:lnTo>
                    <a:lnTo>
                      <a:pt x="613" y="1037"/>
                    </a:lnTo>
                    <a:lnTo>
                      <a:pt x="627" y="1047"/>
                    </a:lnTo>
                    <a:lnTo>
                      <a:pt x="627" y="1047"/>
                    </a:lnTo>
                    <a:lnTo>
                      <a:pt x="635" y="1051"/>
                    </a:lnTo>
                    <a:lnTo>
                      <a:pt x="643" y="1053"/>
                    </a:lnTo>
                    <a:lnTo>
                      <a:pt x="659" y="1055"/>
                    </a:lnTo>
                    <a:lnTo>
                      <a:pt x="666" y="1056"/>
                    </a:lnTo>
                    <a:lnTo>
                      <a:pt x="674" y="1058"/>
                    </a:lnTo>
                    <a:lnTo>
                      <a:pt x="682" y="1061"/>
                    </a:lnTo>
                    <a:lnTo>
                      <a:pt x="690" y="1066"/>
                    </a:lnTo>
                    <a:lnTo>
                      <a:pt x="690" y="1066"/>
                    </a:lnTo>
                    <a:lnTo>
                      <a:pt x="703" y="1077"/>
                    </a:lnTo>
                    <a:lnTo>
                      <a:pt x="713" y="1089"/>
                    </a:lnTo>
                    <a:lnTo>
                      <a:pt x="722" y="1101"/>
                    </a:lnTo>
                    <a:lnTo>
                      <a:pt x="730" y="1114"/>
                    </a:lnTo>
                    <a:lnTo>
                      <a:pt x="736" y="1129"/>
                    </a:lnTo>
                    <a:lnTo>
                      <a:pt x="742" y="1145"/>
                    </a:lnTo>
                    <a:lnTo>
                      <a:pt x="745" y="1163"/>
                    </a:lnTo>
                    <a:lnTo>
                      <a:pt x="749" y="1183"/>
                    </a:lnTo>
                    <a:lnTo>
                      <a:pt x="749" y="1183"/>
                    </a:lnTo>
                    <a:lnTo>
                      <a:pt x="766" y="1209"/>
                    </a:lnTo>
                    <a:lnTo>
                      <a:pt x="786" y="1238"/>
                    </a:lnTo>
                    <a:lnTo>
                      <a:pt x="786" y="1238"/>
                    </a:lnTo>
                    <a:lnTo>
                      <a:pt x="789" y="1245"/>
                    </a:lnTo>
                    <a:lnTo>
                      <a:pt x="795" y="1252"/>
                    </a:lnTo>
                    <a:lnTo>
                      <a:pt x="802" y="1258"/>
                    </a:lnTo>
                    <a:lnTo>
                      <a:pt x="810" y="1264"/>
                    </a:lnTo>
                    <a:lnTo>
                      <a:pt x="819" y="1268"/>
                    </a:lnTo>
                    <a:lnTo>
                      <a:pt x="829" y="1273"/>
                    </a:lnTo>
                    <a:lnTo>
                      <a:pt x="850" y="1281"/>
                    </a:lnTo>
                    <a:lnTo>
                      <a:pt x="873" y="1288"/>
                    </a:lnTo>
                    <a:lnTo>
                      <a:pt x="895" y="1295"/>
                    </a:lnTo>
                    <a:lnTo>
                      <a:pt x="914" y="1302"/>
                    </a:lnTo>
                    <a:lnTo>
                      <a:pt x="932" y="1307"/>
                    </a:lnTo>
                    <a:lnTo>
                      <a:pt x="932" y="1307"/>
                    </a:lnTo>
                    <a:lnTo>
                      <a:pt x="932" y="1307"/>
                    </a:lnTo>
                    <a:lnTo>
                      <a:pt x="932" y="130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5" name="Freeform 133"/>
              <p:cNvSpPr>
                <a:spLocks noChangeAspect="1"/>
              </p:cNvSpPr>
              <p:nvPr/>
            </p:nvSpPr>
            <p:spPr bwMode="auto">
              <a:xfrm>
                <a:off x="3041095" y="2850618"/>
                <a:ext cx="1150788" cy="1259381"/>
              </a:xfrm>
              <a:custGeom>
                <a:avLst/>
                <a:gdLst/>
                <a:ahLst/>
                <a:cxnLst>
                  <a:cxn ang="0">
                    <a:pos x="1366" y="1758"/>
                  </a:cxn>
                  <a:cxn ang="0">
                    <a:pos x="1401" y="1649"/>
                  </a:cxn>
                  <a:cxn ang="0">
                    <a:pos x="1451" y="1525"/>
                  </a:cxn>
                  <a:cxn ang="0">
                    <a:pos x="1357" y="1395"/>
                  </a:cxn>
                  <a:cxn ang="0">
                    <a:pos x="1312" y="1249"/>
                  </a:cxn>
                  <a:cxn ang="0">
                    <a:pos x="1266" y="1059"/>
                  </a:cxn>
                  <a:cxn ang="0">
                    <a:pos x="1288" y="900"/>
                  </a:cxn>
                  <a:cxn ang="0">
                    <a:pos x="1306" y="827"/>
                  </a:cxn>
                  <a:cxn ang="0">
                    <a:pos x="1266" y="718"/>
                  </a:cxn>
                  <a:cxn ang="0">
                    <a:pos x="1145" y="653"/>
                  </a:cxn>
                  <a:cxn ang="0">
                    <a:pos x="1227" y="516"/>
                  </a:cxn>
                  <a:cxn ang="0">
                    <a:pos x="1187" y="371"/>
                  </a:cxn>
                  <a:cxn ang="0">
                    <a:pos x="1237" y="292"/>
                  </a:cxn>
                  <a:cxn ang="0">
                    <a:pos x="1167" y="226"/>
                  </a:cxn>
                  <a:cxn ang="0">
                    <a:pos x="1144" y="268"/>
                  </a:cxn>
                  <a:cxn ang="0">
                    <a:pos x="1030" y="262"/>
                  </a:cxn>
                  <a:cxn ang="0">
                    <a:pos x="1136" y="413"/>
                  </a:cxn>
                  <a:cxn ang="0">
                    <a:pos x="1060" y="378"/>
                  </a:cxn>
                  <a:cxn ang="0">
                    <a:pos x="1008" y="229"/>
                  </a:cxn>
                  <a:cxn ang="0">
                    <a:pos x="1014" y="74"/>
                  </a:cxn>
                  <a:cxn ang="0">
                    <a:pos x="954" y="215"/>
                  </a:cxn>
                  <a:cxn ang="0">
                    <a:pos x="876" y="333"/>
                  </a:cxn>
                  <a:cxn ang="0">
                    <a:pos x="837" y="590"/>
                  </a:cxn>
                  <a:cxn ang="0">
                    <a:pos x="943" y="667"/>
                  </a:cxn>
                  <a:cxn ang="0">
                    <a:pos x="1033" y="802"/>
                  </a:cxn>
                  <a:cxn ang="0">
                    <a:pos x="990" y="901"/>
                  </a:cxn>
                  <a:cxn ang="0">
                    <a:pos x="987" y="936"/>
                  </a:cxn>
                  <a:cxn ang="0">
                    <a:pos x="990" y="779"/>
                  </a:cxn>
                  <a:cxn ang="0">
                    <a:pos x="865" y="712"/>
                  </a:cxn>
                  <a:cxn ang="0">
                    <a:pos x="783" y="924"/>
                  </a:cxn>
                  <a:cxn ang="0">
                    <a:pos x="654" y="1028"/>
                  </a:cxn>
                  <a:cxn ang="0">
                    <a:pos x="506" y="1008"/>
                  </a:cxn>
                  <a:cxn ang="0">
                    <a:pos x="496" y="934"/>
                  </a:cxn>
                  <a:cxn ang="0">
                    <a:pos x="594" y="1019"/>
                  </a:cxn>
                  <a:cxn ang="0">
                    <a:pos x="752" y="842"/>
                  </a:cxn>
                  <a:cxn ang="0">
                    <a:pos x="768" y="675"/>
                  </a:cxn>
                  <a:cxn ang="0">
                    <a:pos x="852" y="376"/>
                  </a:cxn>
                  <a:cxn ang="0">
                    <a:pos x="843" y="229"/>
                  </a:cxn>
                  <a:cxn ang="0">
                    <a:pos x="913" y="100"/>
                  </a:cxn>
                  <a:cxn ang="0">
                    <a:pos x="781" y="1"/>
                  </a:cxn>
                  <a:cxn ang="0">
                    <a:pos x="670" y="168"/>
                  </a:cxn>
                  <a:cxn ang="0">
                    <a:pos x="540" y="274"/>
                  </a:cxn>
                  <a:cxn ang="0">
                    <a:pos x="514" y="412"/>
                  </a:cxn>
                  <a:cxn ang="0">
                    <a:pos x="533" y="527"/>
                  </a:cxn>
                  <a:cxn ang="0">
                    <a:pos x="547" y="664"/>
                  </a:cxn>
                  <a:cxn ang="0">
                    <a:pos x="438" y="576"/>
                  </a:cxn>
                  <a:cxn ang="0">
                    <a:pos x="359" y="565"/>
                  </a:cxn>
                  <a:cxn ang="0">
                    <a:pos x="334" y="679"/>
                  </a:cxn>
                  <a:cxn ang="0">
                    <a:pos x="323" y="795"/>
                  </a:cxn>
                  <a:cxn ang="0">
                    <a:pos x="31" y="949"/>
                  </a:cxn>
                  <a:cxn ang="0">
                    <a:pos x="0" y="1111"/>
                  </a:cxn>
                  <a:cxn ang="0">
                    <a:pos x="48" y="1180"/>
                  </a:cxn>
                  <a:cxn ang="0">
                    <a:pos x="225" y="1231"/>
                  </a:cxn>
                  <a:cxn ang="0">
                    <a:pos x="319" y="1300"/>
                  </a:cxn>
                  <a:cxn ang="0">
                    <a:pos x="396" y="1299"/>
                  </a:cxn>
                  <a:cxn ang="0">
                    <a:pos x="480" y="1432"/>
                  </a:cxn>
                  <a:cxn ang="0">
                    <a:pos x="624" y="1559"/>
                  </a:cxn>
                  <a:cxn ang="0">
                    <a:pos x="825" y="1637"/>
                  </a:cxn>
                  <a:cxn ang="0">
                    <a:pos x="1001" y="1721"/>
                  </a:cxn>
                  <a:cxn ang="0">
                    <a:pos x="1099" y="1660"/>
                  </a:cxn>
                  <a:cxn ang="0">
                    <a:pos x="1193" y="1715"/>
                  </a:cxn>
                  <a:cxn ang="0">
                    <a:pos x="1272" y="1769"/>
                  </a:cxn>
                </a:cxnLst>
                <a:rect l="0" t="0" r="r" b="b"/>
                <a:pathLst>
                  <a:path w="1454" h="1810">
                    <a:moveTo>
                      <a:pt x="1328" y="1805"/>
                    </a:moveTo>
                    <a:lnTo>
                      <a:pt x="1328" y="1810"/>
                    </a:lnTo>
                    <a:lnTo>
                      <a:pt x="1328" y="1810"/>
                    </a:lnTo>
                    <a:lnTo>
                      <a:pt x="1328" y="1810"/>
                    </a:lnTo>
                    <a:lnTo>
                      <a:pt x="1336" y="1807"/>
                    </a:lnTo>
                    <a:lnTo>
                      <a:pt x="1342" y="1806"/>
                    </a:lnTo>
                    <a:lnTo>
                      <a:pt x="1348" y="1805"/>
                    </a:lnTo>
                    <a:lnTo>
                      <a:pt x="1355" y="1802"/>
                    </a:lnTo>
                    <a:lnTo>
                      <a:pt x="1355" y="1802"/>
                    </a:lnTo>
                    <a:lnTo>
                      <a:pt x="1358" y="1798"/>
                    </a:lnTo>
                    <a:lnTo>
                      <a:pt x="1361" y="1795"/>
                    </a:lnTo>
                    <a:lnTo>
                      <a:pt x="1362" y="1789"/>
                    </a:lnTo>
                    <a:lnTo>
                      <a:pt x="1363" y="1783"/>
                    </a:lnTo>
                    <a:lnTo>
                      <a:pt x="1364" y="1771"/>
                    </a:lnTo>
                    <a:lnTo>
                      <a:pt x="1366" y="1758"/>
                    </a:lnTo>
                    <a:lnTo>
                      <a:pt x="1366" y="1758"/>
                    </a:lnTo>
                    <a:lnTo>
                      <a:pt x="1367" y="1752"/>
                    </a:lnTo>
                    <a:lnTo>
                      <a:pt x="1370" y="1748"/>
                    </a:lnTo>
                    <a:lnTo>
                      <a:pt x="1377" y="1738"/>
                    </a:lnTo>
                    <a:lnTo>
                      <a:pt x="1384" y="1731"/>
                    </a:lnTo>
                    <a:lnTo>
                      <a:pt x="1392" y="1725"/>
                    </a:lnTo>
                    <a:lnTo>
                      <a:pt x="1400" y="1717"/>
                    </a:lnTo>
                    <a:lnTo>
                      <a:pt x="1407" y="1708"/>
                    </a:lnTo>
                    <a:lnTo>
                      <a:pt x="1410" y="1704"/>
                    </a:lnTo>
                    <a:lnTo>
                      <a:pt x="1411" y="1699"/>
                    </a:lnTo>
                    <a:lnTo>
                      <a:pt x="1412" y="1693"/>
                    </a:lnTo>
                    <a:lnTo>
                      <a:pt x="1413" y="1688"/>
                    </a:lnTo>
                    <a:lnTo>
                      <a:pt x="1413" y="1688"/>
                    </a:lnTo>
                    <a:lnTo>
                      <a:pt x="1412" y="1676"/>
                    </a:lnTo>
                    <a:lnTo>
                      <a:pt x="1409" y="1666"/>
                    </a:lnTo>
                    <a:lnTo>
                      <a:pt x="1405" y="1657"/>
                    </a:lnTo>
                    <a:lnTo>
                      <a:pt x="1401" y="1649"/>
                    </a:lnTo>
                    <a:lnTo>
                      <a:pt x="1392" y="1634"/>
                    </a:lnTo>
                    <a:lnTo>
                      <a:pt x="1388" y="1626"/>
                    </a:lnTo>
                    <a:lnTo>
                      <a:pt x="1387" y="1619"/>
                    </a:lnTo>
                    <a:lnTo>
                      <a:pt x="1387" y="1619"/>
                    </a:lnTo>
                    <a:lnTo>
                      <a:pt x="1388" y="1607"/>
                    </a:lnTo>
                    <a:lnTo>
                      <a:pt x="1390" y="1598"/>
                    </a:lnTo>
                    <a:lnTo>
                      <a:pt x="1394" y="1590"/>
                    </a:lnTo>
                    <a:lnTo>
                      <a:pt x="1397" y="1583"/>
                    </a:lnTo>
                    <a:lnTo>
                      <a:pt x="1403" y="1577"/>
                    </a:lnTo>
                    <a:lnTo>
                      <a:pt x="1409" y="1573"/>
                    </a:lnTo>
                    <a:lnTo>
                      <a:pt x="1420" y="1562"/>
                    </a:lnTo>
                    <a:lnTo>
                      <a:pt x="1433" y="1553"/>
                    </a:lnTo>
                    <a:lnTo>
                      <a:pt x="1439" y="1547"/>
                    </a:lnTo>
                    <a:lnTo>
                      <a:pt x="1443" y="1542"/>
                    </a:lnTo>
                    <a:lnTo>
                      <a:pt x="1448" y="1534"/>
                    </a:lnTo>
                    <a:lnTo>
                      <a:pt x="1451" y="1525"/>
                    </a:lnTo>
                    <a:lnTo>
                      <a:pt x="1454" y="1515"/>
                    </a:lnTo>
                    <a:lnTo>
                      <a:pt x="1454" y="1504"/>
                    </a:lnTo>
                    <a:lnTo>
                      <a:pt x="1454" y="1504"/>
                    </a:lnTo>
                    <a:lnTo>
                      <a:pt x="1453" y="1483"/>
                    </a:lnTo>
                    <a:lnTo>
                      <a:pt x="1450" y="1465"/>
                    </a:lnTo>
                    <a:lnTo>
                      <a:pt x="1448" y="1447"/>
                    </a:lnTo>
                    <a:lnTo>
                      <a:pt x="1446" y="1430"/>
                    </a:lnTo>
                    <a:lnTo>
                      <a:pt x="1446" y="1430"/>
                    </a:lnTo>
                    <a:lnTo>
                      <a:pt x="1435" y="1430"/>
                    </a:lnTo>
                    <a:lnTo>
                      <a:pt x="1422" y="1428"/>
                    </a:lnTo>
                    <a:lnTo>
                      <a:pt x="1407" y="1423"/>
                    </a:lnTo>
                    <a:lnTo>
                      <a:pt x="1390" y="1418"/>
                    </a:lnTo>
                    <a:lnTo>
                      <a:pt x="1377" y="1412"/>
                    </a:lnTo>
                    <a:lnTo>
                      <a:pt x="1365" y="1405"/>
                    </a:lnTo>
                    <a:lnTo>
                      <a:pt x="1361" y="1400"/>
                    </a:lnTo>
                    <a:lnTo>
                      <a:pt x="1357" y="1395"/>
                    </a:lnTo>
                    <a:lnTo>
                      <a:pt x="1355" y="1391"/>
                    </a:lnTo>
                    <a:lnTo>
                      <a:pt x="1355" y="1386"/>
                    </a:lnTo>
                    <a:lnTo>
                      <a:pt x="1355" y="1386"/>
                    </a:lnTo>
                    <a:lnTo>
                      <a:pt x="1355" y="1382"/>
                    </a:lnTo>
                    <a:lnTo>
                      <a:pt x="1356" y="1377"/>
                    </a:lnTo>
                    <a:lnTo>
                      <a:pt x="1361" y="1369"/>
                    </a:lnTo>
                    <a:lnTo>
                      <a:pt x="1365" y="1362"/>
                    </a:lnTo>
                    <a:lnTo>
                      <a:pt x="1370" y="1357"/>
                    </a:lnTo>
                    <a:lnTo>
                      <a:pt x="1370" y="1357"/>
                    </a:lnTo>
                    <a:lnTo>
                      <a:pt x="1366" y="1287"/>
                    </a:lnTo>
                    <a:lnTo>
                      <a:pt x="1366" y="1287"/>
                    </a:lnTo>
                    <a:lnTo>
                      <a:pt x="1366" y="1287"/>
                    </a:lnTo>
                    <a:lnTo>
                      <a:pt x="1343" y="1273"/>
                    </a:lnTo>
                    <a:lnTo>
                      <a:pt x="1332" y="1267"/>
                    </a:lnTo>
                    <a:lnTo>
                      <a:pt x="1321" y="1259"/>
                    </a:lnTo>
                    <a:lnTo>
                      <a:pt x="1312" y="1249"/>
                    </a:lnTo>
                    <a:lnTo>
                      <a:pt x="1309" y="1244"/>
                    </a:lnTo>
                    <a:lnTo>
                      <a:pt x="1305" y="1238"/>
                    </a:lnTo>
                    <a:lnTo>
                      <a:pt x="1303" y="1232"/>
                    </a:lnTo>
                    <a:lnTo>
                      <a:pt x="1301" y="1225"/>
                    </a:lnTo>
                    <a:lnTo>
                      <a:pt x="1300" y="1218"/>
                    </a:lnTo>
                    <a:lnTo>
                      <a:pt x="1300" y="1210"/>
                    </a:lnTo>
                    <a:lnTo>
                      <a:pt x="1300" y="1210"/>
                    </a:lnTo>
                    <a:lnTo>
                      <a:pt x="1300" y="1111"/>
                    </a:lnTo>
                    <a:lnTo>
                      <a:pt x="1300" y="1111"/>
                    </a:lnTo>
                    <a:lnTo>
                      <a:pt x="1298" y="1100"/>
                    </a:lnTo>
                    <a:lnTo>
                      <a:pt x="1296" y="1091"/>
                    </a:lnTo>
                    <a:lnTo>
                      <a:pt x="1294" y="1085"/>
                    </a:lnTo>
                    <a:lnTo>
                      <a:pt x="1289" y="1080"/>
                    </a:lnTo>
                    <a:lnTo>
                      <a:pt x="1279" y="1072"/>
                    </a:lnTo>
                    <a:lnTo>
                      <a:pt x="1273" y="1066"/>
                    </a:lnTo>
                    <a:lnTo>
                      <a:pt x="1266" y="1059"/>
                    </a:lnTo>
                    <a:lnTo>
                      <a:pt x="1266" y="1059"/>
                    </a:lnTo>
                    <a:lnTo>
                      <a:pt x="1263" y="1050"/>
                    </a:lnTo>
                    <a:lnTo>
                      <a:pt x="1259" y="1034"/>
                    </a:lnTo>
                    <a:lnTo>
                      <a:pt x="1251" y="992"/>
                    </a:lnTo>
                    <a:lnTo>
                      <a:pt x="1241" y="935"/>
                    </a:lnTo>
                    <a:lnTo>
                      <a:pt x="1241" y="935"/>
                    </a:lnTo>
                    <a:lnTo>
                      <a:pt x="1241" y="929"/>
                    </a:lnTo>
                    <a:lnTo>
                      <a:pt x="1244" y="925"/>
                    </a:lnTo>
                    <a:lnTo>
                      <a:pt x="1248" y="921"/>
                    </a:lnTo>
                    <a:lnTo>
                      <a:pt x="1254" y="920"/>
                    </a:lnTo>
                    <a:lnTo>
                      <a:pt x="1264" y="918"/>
                    </a:lnTo>
                    <a:lnTo>
                      <a:pt x="1274" y="916"/>
                    </a:lnTo>
                    <a:lnTo>
                      <a:pt x="1274" y="916"/>
                    </a:lnTo>
                    <a:lnTo>
                      <a:pt x="1279" y="911"/>
                    </a:lnTo>
                    <a:lnTo>
                      <a:pt x="1285" y="905"/>
                    </a:lnTo>
                    <a:lnTo>
                      <a:pt x="1288" y="900"/>
                    </a:lnTo>
                    <a:lnTo>
                      <a:pt x="1293" y="893"/>
                    </a:lnTo>
                    <a:lnTo>
                      <a:pt x="1295" y="885"/>
                    </a:lnTo>
                    <a:lnTo>
                      <a:pt x="1297" y="878"/>
                    </a:lnTo>
                    <a:lnTo>
                      <a:pt x="1298" y="871"/>
                    </a:lnTo>
                    <a:lnTo>
                      <a:pt x="1300" y="865"/>
                    </a:lnTo>
                    <a:lnTo>
                      <a:pt x="1300" y="865"/>
                    </a:lnTo>
                    <a:lnTo>
                      <a:pt x="1303" y="865"/>
                    </a:lnTo>
                    <a:lnTo>
                      <a:pt x="1300" y="857"/>
                    </a:lnTo>
                    <a:lnTo>
                      <a:pt x="1300" y="857"/>
                    </a:lnTo>
                    <a:lnTo>
                      <a:pt x="1300" y="857"/>
                    </a:lnTo>
                    <a:lnTo>
                      <a:pt x="1298" y="851"/>
                    </a:lnTo>
                    <a:lnTo>
                      <a:pt x="1297" y="845"/>
                    </a:lnTo>
                    <a:lnTo>
                      <a:pt x="1296" y="835"/>
                    </a:lnTo>
                    <a:lnTo>
                      <a:pt x="1296" y="835"/>
                    </a:lnTo>
                    <a:lnTo>
                      <a:pt x="1302" y="832"/>
                    </a:lnTo>
                    <a:lnTo>
                      <a:pt x="1306" y="827"/>
                    </a:lnTo>
                    <a:lnTo>
                      <a:pt x="1310" y="822"/>
                    </a:lnTo>
                    <a:lnTo>
                      <a:pt x="1312" y="818"/>
                    </a:lnTo>
                    <a:lnTo>
                      <a:pt x="1313" y="812"/>
                    </a:lnTo>
                    <a:lnTo>
                      <a:pt x="1313" y="806"/>
                    </a:lnTo>
                    <a:lnTo>
                      <a:pt x="1314" y="791"/>
                    </a:lnTo>
                    <a:lnTo>
                      <a:pt x="1314" y="791"/>
                    </a:lnTo>
                    <a:lnTo>
                      <a:pt x="1313" y="783"/>
                    </a:lnTo>
                    <a:lnTo>
                      <a:pt x="1312" y="776"/>
                    </a:lnTo>
                    <a:lnTo>
                      <a:pt x="1311" y="771"/>
                    </a:lnTo>
                    <a:lnTo>
                      <a:pt x="1309" y="765"/>
                    </a:lnTo>
                    <a:lnTo>
                      <a:pt x="1303" y="755"/>
                    </a:lnTo>
                    <a:lnTo>
                      <a:pt x="1296" y="746"/>
                    </a:lnTo>
                    <a:lnTo>
                      <a:pt x="1280" y="733"/>
                    </a:lnTo>
                    <a:lnTo>
                      <a:pt x="1273" y="726"/>
                    </a:lnTo>
                    <a:lnTo>
                      <a:pt x="1266" y="718"/>
                    </a:lnTo>
                    <a:lnTo>
                      <a:pt x="1266" y="718"/>
                    </a:lnTo>
                    <a:lnTo>
                      <a:pt x="1260" y="717"/>
                    </a:lnTo>
                    <a:lnTo>
                      <a:pt x="1256" y="719"/>
                    </a:lnTo>
                    <a:lnTo>
                      <a:pt x="1249" y="720"/>
                    </a:lnTo>
                    <a:lnTo>
                      <a:pt x="1244" y="721"/>
                    </a:lnTo>
                    <a:lnTo>
                      <a:pt x="1237" y="721"/>
                    </a:lnTo>
                    <a:lnTo>
                      <a:pt x="1237" y="721"/>
                    </a:lnTo>
                    <a:lnTo>
                      <a:pt x="1229" y="721"/>
                    </a:lnTo>
                    <a:lnTo>
                      <a:pt x="1222" y="719"/>
                    </a:lnTo>
                    <a:lnTo>
                      <a:pt x="1214" y="715"/>
                    </a:lnTo>
                    <a:lnTo>
                      <a:pt x="1205" y="711"/>
                    </a:lnTo>
                    <a:lnTo>
                      <a:pt x="1197" y="706"/>
                    </a:lnTo>
                    <a:lnTo>
                      <a:pt x="1188" y="699"/>
                    </a:lnTo>
                    <a:lnTo>
                      <a:pt x="1172" y="685"/>
                    </a:lnTo>
                    <a:lnTo>
                      <a:pt x="1157" y="671"/>
                    </a:lnTo>
                    <a:lnTo>
                      <a:pt x="1151" y="661"/>
                    </a:lnTo>
                    <a:lnTo>
                      <a:pt x="1145" y="653"/>
                    </a:lnTo>
                    <a:lnTo>
                      <a:pt x="1141" y="645"/>
                    </a:lnTo>
                    <a:lnTo>
                      <a:pt x="1137" y="637"/>
                    </a:lnTo>
                    <a:lnTo>
                      <a:pt x="1135" y="630"/>
                    </a:lnTo>
                    <a:lnTo>
                      <a:pt x="1134" y="622"/>
                    </a:lnTo>
                    <a:lnTo>
                      <a:pt x="1134" y="622"/>
                    </a:lnTo>
                    <a:lnTo>
                      <a:pt x="1135" y="607"/>
                    </a:lnTo>
                    <a:lnTo>
                      <a:pt x="1138" y="593"/>
                    </a:lnTo>
                    <a:lnTo>
                      <a:pt x="1143" y="583"/>
                    </a:lnTo>
                    <a:lnTo>
                      <a:pt x="1150" y="574"/>
                    </a:lnTo>
                    <a:lnTo>
                      <a:pt x="1158" y="567"/>
                    </a:lnTo>
                    <a:lnTo>
                      <a:pt x="1166" y="561"/>
                    </a:lnTo>
                    <a:lnTo>
                      <a:pt x="1186" y="551"/>
                    </a:lnTo>
                    <a:lnTo>
                      <a:pt x="1204" y="539"/>
                    </a:lnTo>
                    <a:lnTo>
                      <a:pt x="1213" y="534"/>
                    </a:lnTo>
                    <a:lnTo>
                      <a:pt x="1221" y="526"/>
                    </a:lnTo>
                    <a:lnTo>
                      <a:pt x="1227" y="516"/>
                    </a:lnTo>
                    <a:lnTo>
                      <a:pt x="1233" y="506"/>
                    </a:lnTo>
                    <a:lnTo>
                      <a:pt x="1236" y="492"/>
                    </a:lnTo>
                    <a:lnTo>
                      <a:pt x="1237" y="476"/>
                    </a:lnTo>
                    <a:lnTo>
                      <a:pt x="1237" y="476"/>
                    </a:lnTo>
                    <a:lnTo>
                      <a:pt x="1236" y="466"/>
                    </a:lnTo>
                    <a:lnTo>
                      <a:pt x="1235" y="455"/>
                    </a:lnTo>
                    <a:lnTo>
                      <a:pt x="1232" y="446"/>
                    </a:lnTo>
                    <a:lnTo>
                      <a:pt x="1229" y="438"/>
                    </a:lnTo>
                    <a:lnTo>
                      <a:pt x="1225" y="431"/>
                    </a:lnTo>
                    <a:lnTo>
                      <a:pt x="1221" y="423"/>
                    </a:lnTo>
                    <a:lnTo>
                      <a:pt x="1211" y="410"/>
                    </a:lnTo>
                    <a:lnTo>
                      <a:pt x="1202" y="399"/>
                    </a:lnTo>
                    <a:lnTo>
                      <a:pt x="1194" y="387"/>
                    </a:lnTo>
                    <a:lnTo>
                      <a:pt x="1190" y="383"/>
                    </a:lnTo>
                    <a:lnTo>
                      <a:pt x="1188" y="377"/>
                    </a:lnTo>
                    <a:lnTo>
                      <a:pt x="1187" y="371"/>
                    </a:lnTo>
                    <a:lnTo>
                      <a:pt x="1186" y="366"/>
                    </a:lnTo>
                    <a:lnTo>
                      <a:pt x="1186" y="366"/>
                    </a:lnTo>
                    <a:lnTo>
                      <a:pt x="1187" y="359"/>
                    </a:lnTo>
                    <a:lnTo>
                      <a:pt x="1188" y="354"/>
                    </a:lnTo>
                    <a:lnTo>
                      <a:pt x="1191" y="351"/>
                    </a:lnTo>
                    <a:lnTo>
                      <a:pt x="1195" y="347"/>
                    </a:lnTo>
                    <a:lnTo>
                      <a:pt x="1204" y="344"/>
                    </a:lnTo>
                    <a:lnTo>
                      <a:pt x="1214" y="339"/>
                    </a:lnTo>
                    <a:lnTo>
                      <a:pt x="1219" y="337"/>
                    </a:lnTo>
                    <a:lnTo>
                      <a:pt x="1224" y="335"/>
                    </a:lnTo>
                    <a:lnTo>
                      <a:pt x="1228" y="331"/>
                    </a:lnTo>
                    <a:lnTo>
                      <a:pt x="1232" y="326"/>
                    </a:lnTo>
                    <a:lnTo>
                      <a:pt x="1235" y="320"/>
                    </a:lnTo>
                    <a:lnTo>
                      <a:pt x="1237" y="313"/>
                    </a:lnTo>
                    <a:lnTo>
                      <a:pt x="1237" y="303"/>
                    </a:lnTo>
                    <a:lnTo>
                      <a:pt x="1237" y="292"/>
                    </a:lnTo>
                    <a:lnTo>
                      <a:pt x="1237" y="292"/>
                    </a:lnTo>
                    <a:lnTo>
                      <a:pt x="1235" y="284"/>
                    </a:lnTo>
                    <a:lnTo>
                      <a:pt x="1233" y="278"/>
                    </a:lnTo>
                    <a:lnTo>
                      <a:pt x="1229" y="272"/>
                    </a:lnTo>
                    <a:lnTo>
                      <a:pt x="1225" y="269"/>
                    </a:lnTo>
                    <a:lnTo>
                      <a:pt x="1219" y="265"/>
                    </a:lnTo>
                    <a:lnTo>
                      <a:pt x="1213" y="262"/>
                    </a:lnTo>
                    <a:lnTo>
                      <a:pt x="1201" y="257"/>
                    </a:lnTo>
                    <a:lnTo>
                      <a:pt x="1188" y="253"/>
                    </a:lnTo>
                    <a:lnTo>
                      <a:pt x="1182" y="251"/>
                    </a:lnTo>
                    <a:lnTo>
                      <a:pt x="1178" y="247"/>
                    </a:lnTo>
                    <a:lnTo>
                      <a:pt x="1173" y="244"/>
                    </a:lnTo>
                    <a:lnTo>
                      <a:pt x="1170" y="239"/>
                    </a:lnTo>
                    <a:lnTo>
                      <a:pt x="1167" y="233"/>
                    </a:lnTo>
                    <a:lnTo>
                      <a:pt x="1167" y="226"/>
                    </a:lnTo>
                    <a:lnTo>
                      <a:pt x="1167" y="226"/>
                    </a:lnTo>
                    <a:lnTo>
                      <a:pt x="1166" y="213"/>
                    </a:lnTo>
                    <a:lnTo>
                      <a:pt x="1167" y="207"/>
                    </a:lnTo>
                    <a:lnTo>
                      <a:pt x="1171" y="200"/>
                    </a:lnTo>
                    <a:lnTo>
                      <a:pt x="1171" y="200"/>
                    </a:lnTo>
                    <a:lnTo>
                      <a:pt x="1153" y="203"/>
                    </a:lnTo>
                    <a:lnTo>
                      <a:pt x="1136" y="207"/>
                    </a:lnTo>
                    <a:lnTo>
                      <a:pt x="1129" y="210"/>
                    </a:lnTo>
                    <a:lnTo>
                      <a:pt x="1122" y="213"/>
                    </a:lnTo>
                    <a:lnTo>
                      <a:pt x="1118" y="217"/>
                    </a:lnTo>
                    <a:lnTo>
                      <a:pt x="1115" y="223"/>
                    </a:lnTo>
                    <a:lnTo>
                      <a:pt x="1115" y="223"/>
                    </a:lnTo>
                    <a:lnTo>
                      <a:pt x="1127" y="234"/>
                    </a:lnTo>
                    <a:lnTo>
                      <a:pt x="1135" y="245"/>
                    </a:lnTo>
                    <a:lnTo>
                      <a:pt x="1141" y="254"/>
                    </a:lnTo>
                    <a:lnTo>
                      <a:pt x="1143" y="261"/>
                    </a:lnTo>
                    <a:lnTo>
                      <a:pt x="1144" y="268"/>
                    </a:lnTo>
                    <a:lnTo>
                      <a:pt x="1143" y="271"/>
                    </a:lnTo>
                    <a:lnTo>
                      <a:pt x="1141" y="274"/>
                    </a:lnTo>
                    <a:lnTo>
                      <a:pt x="1135" y="275"/>
                    </a:lnTo>
                    <a:lnTo>
                      <a:pt x="1129" y="275"/>
                    </a:lnTo>
                    <a:lnTo>
                      <a:pt x="1121" y="272"/>
                    </a:lnTo>
                    <a:lnTo>
                      <a:pt x="1112" y="269"/>
                    </a:lnTo>
                    <a:lnTo>
                      <a:pt x="1102" y="264"/>
                    </a:lnTo>
                    <a:lnTo>
                      <a:pt x="1090" y="257"/>
                    </a:lnTo>
                    <a:lnTo>
                      <a:pt x="1079" y="249"/>
                    </a:lnTo>
                    <a:lnTo>
                      <a:pt x="1066" y="240"/>
                    </a:lnTo>
                    <a:lnTo>
                      <a:pt x="1053" y="230"/>
                    </a:lnTo>
                    <a:lnTo>
                      <a:pt x="1053" y="230"/>
                    </a:lnTo>
                    <a:lnTo>
                      <a:pt x="1046" y="239"/>
                    </a:lnTo>
                    <a:lnTo>
                      <a:pt x="1038" y="249"/>
                    </a:lnTo>
                    <a:lnTo>
                      <a:pt x="1034" y="255"/>
                    </a:lnTo>
                    <a:lnTo>
                      <a:pt x="1030" y="262"/>
                    </a:lnTo>
                    <a:lnTo>
                      <a:pt x="1028" y="269"/>
                    </a:lnTo>
                    <a:lnTo>
                      <a:pt x="1027" y="276"/>
                    </a:lnTo>
                    <a:lnTo>
                      <a:pt x="1027" y="284"/>
                    </a:lnTo>
                    <a:lnTo>
                      <a:pt x="1030" y="292"/>
                    </a:lnTo>
                    <a:lnTo>
                      <a:pt x="1035" y="301"/>
                    </a:lnTo>
                    <a:lnTo>
                      <a:pt x="1042" y="310"/>
                    </a:lnTo>
                    <a:lnTo>
                      <a:pt x="1052" y="320"/>
                    </a:lnTo>
                    <a:lnTo>
                      <a:pt x="1066" y="329"/>
                    </a:lnTo>
                    <a:lnTo>
                      <a:pt x="1083" y="339"/>
                    </a:lnTo>
                    <a:lnTo>
                      <a:pt x="1105" y="351"/>
                    </a:lnTo>
                    <a:lnTo>
                      <a:pt x="1105" y="351"/>
                    </a:lnTo>
                    <a:lnTo>
                      <a:pt x="1113" y="362"/>
                    </a:lnTo>
                    <a:lnTo>
                      <a:pt x="1120" y="375"/>
                    </a:lnTo>
                    <a:lnTo>
                      <a:pt x="1128" y="390"/>
                    </a:lnTo>
                    <a:lnTo>
                      <a:pt x="1134" y="405"/>
                    </a:lnTo>
                    <a:lnTo>
                      <a:pt x="1136" y="413"/>
                    </a:lnTo>
                    <a:lnTo>
                      <a:pt x="1137" y="420"/>
                    </a:lnTo>
                    <a:lnTo>
                      <a:pt x="1137" y="427"/>
                    </a:lnTo>
                    <a:lnTo>
                      <a:pt x="1135" y="433"/>
                    </a:lnTo>
                    <a:lnTo>
                      <a:pt x="1133" y="438"/>
                    </a:lnTo>
                    <a:lnTo>
                      <a:pt x="1127" y="443"/>
                    </a:lnTo>
                    <a:lnTo>
                      <a:pt x="1127" y="443"/>
                    </a:lnTo>
                    <a:lnTo>
                      <a:pt x="1119" y="437"/>
                    </a:lnTo>
                    <a:lnTo>
                      <a:pt x="1113" y="430"/>
                    </a:lnTo>
                    <a:lnTo>
                      <a:pt x="1107" y="423"/>
                    </a:lnTo>
                    <a:lnTo>
                      <a:pt x="1103" y="414"/>
                    </a:lnTo>
                    <a:lnTo>
                      <a:pt x="1092" y="396"/>
                    </a:lnTo>
                    <a:lnTo>
                      <a:pt x="1087" y="387"/>
                    </a:lnTo>
                    <a:lnTo>
                      <a:pt x="1079" y="379"/>
                    </a:lnTo>
                    <a:lnTo>
                      <a:pt x="1079" y="379"/>
                    </a:lnTo>
                    <a:lnTo>
                      <a:pt x="1069" y="379"/>
                    </a:lnTo>
                    <a:lnTo>
                      <a:pt x="1060" y="378"/>
                    </a:lnTo>
                    <a:lnTo>
                      <a:pt x="1052" y="375"/>
                    </a:lnTo>
                    <a:lnTo>
                      <a:pt x="1043" y="372"/>
                    </a:lnTo>
                    <a:lnTo>
                      <a:pt x="1036" y="368"/>
                    </a:lnTo>
                    <a:lnTo>
                      <a:pt x="1028" y="363"/>
                    </a:lnTo>
                    <a:lnTo>
                      <a:pt x="1015" y="354"/>
                    </a:lnTo>
                    <a:lnTo>
                      <a:pt x="1005" y="343"/>
                    </a:lnTo>
                    <a:lnTo>
                      <a:pt x="996" y="332"/>
                    </a:lnTo>
                    <a:lnTo>
                      <a:pt x="990" y="322"/>
                    </a:lnTo>
                    <a:lnTo>
                      <a:pt x="987" y="314"/>
                    </a:lnTo>
                    <a:lnTo>
                      <a:pt x="987" y="314"/>
                    </a:lnTo>
                    <a:lnTo>
                      <a:pt x="987" y="303"/>
                    </a:lnTo>
                    <a:lnTo>
                      <a:pt x="988" y="294"/>
                    </a:lnTo>
                    <a:lnTo>
                      <a:pt x="990" y="276"/>
                    </a:lnTo>
                    <a:lnTo>
                      <a:pt x="995" y="260"/>
                    </a:lnTo>
                    <a:lnTo>
                      <a:pt x="1001" y="244"/>
                    </a:lnTo>
                    <a:lnTo>
                      <a:pt x="1008" y="229"/>
                    </a:lnTo>
                    <a:lnTo>
                      <a:pt x="1016" y="214"/>
                    </a:lnTo>
                    <a:lnTo>
                      <a:pt x="1023" y="198"/>
                    </a:lnTo>
                    <a:lnTo>
                      <a:pt x="1031" y="181"/>
                    </a:lnTo>
                    <a:lnTo>
                      <a:pt x="1031" y="181"/>
                    </a:lnTo>
                    <a:lnTo>
                      <a:pt x="1033" y="173"/>
                    </a:lnTo>
                    <a:lnTo>
                      <a:pt x="1035" y="152"/>
                    </a:lnTo>
                    <a:lnTo>
                      <a:pt x="1036" y="135"/>
                    </a:lnTo>
                    <a:lnTo>
                      <a:pt x="1036" y="118"/>
                    </a:lnTo>
                    <a:lnTo>
                      <a:pt x="1035" y="99"/>
                    </a:lnTo>
                    <a:lnTo>
                      <a:pt x="1031" y="79"/>
                    </a:lnTo>
                    <a:lnTo>
                      <a:pt x="1031" y="79"/>
                    </a:lnTo>
                    <a:lnTo>
                      <a:pt x="1027" y="76"/>
                    </a:lnTo>
                    <a:lnTo>
                      <a:pt x="1023" y="73"/>
                    </a:lnTo>
                    <a:lnTo>
                      <a:pt x="1020" y="73"/>
                    </a:lnTo>
                    <a:lnTo>
                      <a:pt x="1016" y="73"/>
                    </a:lnTo>
                    <a:lnTo>
                      <a:pt x="1014" y="74"/>
                    </a:lnTo>
                    <a:lnTo>
                      <a:pt x="1011" y="77"/>
                    </a:lnTo>
                    <a:lnTo>
                      <a:pt x="1007" y="84"/>
                    </a:lnTo>
                    <a:lnTo>
                      <a:pt x="1004" y="93"/>
                    </a:lnTo>
                    <a:lnTo>
                      <a:pt x="1001" y="104"/>
                    </a:lnTo>
                    <a:lnTo>
                      <a:pt x="997" y="132"/>
                    </a:lnTo>
                    <a:lnTo>
                      <a:pt x="993" y="162"/>
                    </a:lnTo>
                    <a:lnTo>
                      <a:pt x="991" y="176"/>
                    </a:lnTo>
                    <a:lnTo>
                      <a:pt x="989" y="187"/>
                    </a:lnTo>
                    <a:lnTo>
                      <a:pt x="985" y="198"/>
                    </a:lnTo>
                    <a:lnTo>
                      <a:pt x="981" y="206"/>
                    </a:lnTo>
                    <a:lnTo>
                      <a:pt x="978" y="208"/>
                    </a:lnTo>
                    <a:lnTo>
                      <a:pt x="976" y="210"/>
                    </a:lnTo>
                    <a:lnTo>
                      <a:pt x="973" y="211"/>
                    </a:lnTo>
                    <a:lnTo>
                      <a:pt x="969" y="211"/>
                    </a:lnTo>
                    <a:lnTo>
                      <a:pt x="969" y="211"/>
                    </a:lnTo>
                    <a:lnTo>
                      <a:pt x="954" y="215"/>
                    </a:lnTo>
                    <a:lnTo>
                      <a:pt x="941" y="218"/>
                    </a:lnTo>
                    <a:lnTo>
                      <a:pt x="929" y="223"/>
                    </a:lnTo>
                    <a:lnTo>
                      <a:pt x="920" y="226"/>
                    </a:lnTo>
                    <a:lnTo>
                      <a:pt x="912" y="231"/>
                    </a:lnTo>
                    <a:lnTo>
                      <a:pt x="905" y="237"/>
                    </a:lnTo>
                    <a:lnTo>
                      <a:pt x="899" y="241"/>
                    </a:lnTo>
                    <a:lnTo>
                      <a:pt x="893" y="246"/>
                    </a:lnTo>
                    <a:lnTo>
                      <a:pt x="890" y="252"/>
                    </a:lnTo>
                    <a:lnTo>
                      <a:pt x="886" y="257"/>
                    </a:lnTo>
                    <a:lnTo>
                      <a:pt x="883" y="269"/>
                    </a:lnTo>
                    <a:lnTo>
                      <a:pt x="880" y="283"/>
                    </a:lnTo>
                    <a:lnTo>
                      <a:pt x="877" y="295"/>
                    </a:lnTo>
                    <a:lnTo>
                      <a:pt x="877" y="295"/>
                    </a:lnTo>
                    <a:lnTo>
                      <a:pt x="875" y="308"/>
                    </a:lnTo>
                    <a:lnTo>
                      <a:pt x="875" y="321"/>
                    </a:lnTo>
                    <a:lnTo>
                      <a:pt x="876" y="333"/>
                    </a:lnTo>
                    <a:lnTo>
                      <a:pt x="877" y="347"/>
                    </a:lnTo>
                    <a:lnTo>
                      <a:pt x="883" y="375"/>
                    </a:lnTo>
                    <a:lnTo>
                      <a:pt x="889" y="401"/>
                    </a:lnTo>
                    <a:lnTo>
                      <a:pt x="893" y="425"/>
                    </a:lnTo>
                    <a:lnTo>
                      <a:pt x="894" y="437"/>
                    </a:lnTo>
                    <a:lnTo>
                      <a:pt x="893" y="447"/>
                    </a:lnTo>
                    <a:lnTo>
                      <a:pt x="892" y="456"/>
                    </a:lnTo>
                    <a:lnTo>
                      <a:pt x="888" y="465"/>
                    </a:lnTo>
                    <a:lnTo>
                      <a:pt x="882" y="470"/>
                    </a:lnTo>
                    <a:lnTo>
                      <a:pt x="874" y="476"/>
                    </a:lnTo>
                    <a:lnTo>
                      <a:pt x="874" y="476"/>
                    </a:lnTo>
                    <a:lnTo>
                      <a:pt x="860" y="512"/>
                    </a:lnTo>
                    <a:lnTo>
                      <a:pt x="848" y="545"/>
                    </a:lnTo>
                    <a:lnTo>
                      <a:pt x="843" y="561"/>
                    </a:lnTo>
                    <a:lnTo>
                      <a:pt x="839" y="576"/>
                    </a:lnTo>
                    <a:lnTo>
                      <a:pt x="837" y="590"/>
                    </a:lnTo>
                    <a:lnTo>
                      <a:pt x="837" y="604"/>
                    </a:lnTo>
                    <a:lnTo>
                      <a:pt x="837" y="604"/>
                    </a:lnTo>
                    <a:lnTo>
                      <a:pt x="836" y="627"/>
                    </a:lnTo>
                    <a:lnTo>
                      <a:pt x="836" y="646"/>
                    </a:lnTo>
                    <a:lnTo>
                      <a:pt x="837" y="654"/>
                    </a:lnTo>
                    <a:lnTo>
                      <a:pt x="838" y="661"/>
                    </a:lnTo>
                    <a:lnTo>
                      <a:pt x="840" y="668"/>
                    </a:lnTo>
                    <a:lnTo>
                      <a:pt x="844" y="673"/>
                    </a:lnTo>
                    <a:lnTo>
                      <a:pt x="850" y="676"/>
                    </a:lnTo>
                    <a:lnTo>
                      <a:pt x="857" y="679"/>
                    </a:lnTo>
                    <a:lnTo>
                      <a:pt x="865" y="680"/>
                    </a:lnTo>
                    <a:lnTo>
                      <a:pt x="875" y="680"/>
                    </a:lnTo>
                    <a:lnTo>
                      <a:pt x="888" y="679"/>
                    </a:lnTo>
                    <a:lnTo>
                      <a:pt x="904" y="676"/>
                    </a:lnTo>
                    <a:lnTo>
                      <a:pt x="922" y="673"/>
                    </a:lnTo>
                    <a:lnTo>
                      <a:pt x="943" y="667"/>
                    </a:lnTo>
                    <a:lnTo>
                      <a:pt x="943" y="667"/>
                    </a:lnTo>
                    <a:lnTo>
                      <a:pt x="952" y="669"/>
                    </a:lnTo>
                    <a:lnTo>
                      <a:pt x="961" y="673"/>
                    </a:lnTo>
                    <a:lnTo>
                      <a:pt x="969" y="677"/>
                    </a:lnTo>
                    <a:lnTo>
                      <a:pt x="977" y="682"/>
                    </a:lnTo>
                    <a:lnTo>
                      <a:pt x="984" y="688"/>
                    </a:lnTo>
                    <a:lnTo>
                      <a:pt x="991" y="695"/>
                    </a:lnTo>
                    <a:lnTo>
                      <a:pt x="997" y="702"/>
                    </a:lnTo>
                    <a:lnTo>
                      <a:pt x="1003" y="710"/>
                    </a:lnTo>
                    <a:lnTo>
                      <a:pt x="1007" y="719"/>
                    </a:lnTo>
                    <a:lnTo>
                      <a:pt x="1012" y="727"/>
                    </a:lnTo>
                    <a:lnTo>
                      <a:pt x="1020" y="748"/>
                    </a:lnTo>
                    <a:lnTo>
                      <a:pt x="1027" y="768"/>
                    </a:lnTo>
                    <a:lnTo>
                      <a:pt x="1031" y="791"/>
                    </a:lnTo>
                    <a:lnTo>
                      <a:pt x="1031" y="791"/>
                    </a:lnTo>
                    <a:lnTo>
                      <a:pt x="1033" y="802"/>
                    </a:lnTo>
                    <a:lnTo>
                      <a:pt x="1033" y="811"/>
                    </a:lnTo>
                    <a:lnTo>
                      <a:pt x="1031" y="819"/>
                    </a:lnTo>
                    <a:lnTo>
                      <a:pt x="1029" y="825"/>
                    </a:lnTo>
                    <a:lnTo>
                      <a:pt x="1027" y="830"/>
                    </a:lnTo>
                    <a:lnTo>
                      <a:pt x="1023" y="835"/>
                    </a:lnTo>
                    <a:lnTo>
                      <a:pt x="1014" y="842"/>
                    </a:lnTo>
                    <a:lnTo>
                      <a:pt x="1005" y="848"/>
                    </a:lnTo>
                    <a:lnTo>
                      <a:pt x="996" y="855"/>
                    </a:lnTo>
                    <a:lnTo>
                      <a:pt x="992" y="858"/>
                    </a:lnTo>
                    <a:lnTo>
                      <a:pt x="988" y="864"/>
                    </a:lnTo>
                    <a:lnTo>
                      <a:pt x="985" y="870"/>
                    </a:lnTo>
                    <a:lnTo>
                      <a:pt x="983" y="876"/>
                    </a:lnTo>
                    <a:lnTo>
                      <a:pt x="983" y="876"/>
                    </a:lnTo>
                    <a:lnTo>
                      <a:pt x="984" y="885"/>
                    </a:lnTo>
                    <a:lnTo>
                      <a:pt x="987" y="893"/>
                    </a:lnTo>
                    <a:lnTo>
                      <a:pt x="990" y="901"/>
                    </a:lnTo>
                    <a:lnTo>
                      <a:pt x="995" y="908"/>
                    </a:lnTo>
                    <a:lnTo>
                      <a:pt x="1000" y="914"/>
                    </a:lnTo>
                    <a:lnTo>
                      <a:pt x="1007" y="921"/>
                    </a:lnTo>
                    <a:lnTo>
                      <a:pt x="1022" y="932"/>
                    </a:lnTo>
                    <a:lnTo>
                      <a:pt x="1037" y="941"/>
                    </a:lnTo>
                    <a:lnTo>
                      <a:pt x="1050" y="949"/>
                    </a:lnTo>
                    <a:lnTo>
                      <a:pt x="1058" y="956"/>
                    </a:lnTo>
                    <a:lnTo>
                      <a:pt x="1060" y="958"/>
                    </a:lnTo>
                    <a:lnTo>
                      <a:pt x="1060" y="960"/>
                    </a:lnTo>
                    <a:lnTo>
                      <a:pt x="1060" y="960"/>
                    </a:lnTo>
                    <a:lnTo>
                      <a:pt x="1052" y="960"/>
                    </a:lnTo>
                    <a:lnTo>
                      <a:pt x="1044" y="960"/>
                    </a:lnTo>
                    <a:lnTo>
                      <a:pt x="1028" y="957"/>
                    </a:lnTo>
                    <a:lnTo>
                      <a:pt x="1012" y="952"/>
                    </a:lnTo>
                    <a:lnTo>
                      <a:pt x="998" y="944"/>
                    </a:lnTo>
                    <a:lnTo>
                      <a:pt x="987" y="936"/>
                    </a:lnTo>
                    <a:lnTo>
                      <a:pt x="981" y="931"/>
                    </a:lnTo>
                    <a:lnTo>
                      <a:pt x="977" y="925"/>
                    </a:lnTo>
                    <a:lnTo>
                      <a:pt x="974" y="919"/>
                    </a:lnTo>
                    <a:lnTo>
                      <a:pt x="970" y="913"/>
                    </a:lnTo>
                    <a:lnTo>
                      <a:pt x="969" y="908"/>
                    </a:lnTo>
                    <a:lnTo>
                      <a:pt x="969" y="902"/>
                    </a:lnTo>
                    <a:lnTo>
                      <a:pt x="969" y="902"/>
                    </a:lnTo>
                    <a:lnTo>
                      <a:pt x="969" y="889"/>
                    </a:lnTo>
                    <a:lnTo>
                      <a:pt x="970" y="878"/>
                    </a:lnTo>
                    <a:lnTo>
                      <a:pt x="974" y="866"/>
                    </a:lnTo>
                    <a:lnTo>
                      <a:pt x="977" y="853"/>
                    </a:lnTo>
                    <a:lnTo>
                      <a:pt x="988" y="826"/>
                    </a:lnTo>
                    <a:lnTo>
                      <a:pt x="1001" y="791"/>
                    </a:lnTo>
                    <a:lnTo>
                      <a:pt x="1001" y="791"/>
                    </a:lnTo>
                    <a:lnTo>
                      <a:pt x="996" y="786"/>
                    </a:lnTo>
                    <a:lnTo>
                      <a:pt x="990" y="779"/>
                    </a:lnTo>
                    <a:lnTo>
                      <a:pt x="985" y="772"/>
                    </a:lnTo>
                    <a:lnTo>
                      <a:pt x="981" y="764"/>
                    </a:lnTo>
                    <a:lnTo>
                      <a:pt x="974" y="748"/>
                    </a:lnTo>
                    <a:lnTo>
                      <a:pt x="966" y="733"/>
                    </a:lnTo>
                    <a:lnTo>
                      <a:pt x="960" y="725"/>
                    </a:lnTo>
                    <a:lnTo>
                      <a:pt x="955" y="719"/>
                    </a:lnTo>
                    <a:lnTo>
                      <a:pt x="949" y="713"/>
                    </a:lnTo>
                    <a:lnTo>
                      <a:pt x="941" y="708"/>
                    </a:lnTo>
                    <a:lnTo>
                      <a:pt x="932" y="705"/>
                    </a:lnTo>
                    <a:lnTo>
                      <a:pt x="922" y="703"/>
                    </a:lnTo>
                    <a:lnTo>
                      <a:pt x="909" y="702"/>
                    </a:lnTo>
                    <a:lnTo>
                      <a:pt x="896" y="703"/>
                    </a:lnTo>
                    <a:lnTo>
                      <a:pt x="896" y="703"/>
                    </a:lnTo>
                    <a:lnTo>
                      <a:pt x="884" y="705"/>
                    </a:lnTo>
                    <a:lnTo>
                      <a:pt x="874" y="707"/>
                    </a:lnTo>
                    <a:lnTo>
                      <a:pt x="865" y="712"/>
                    </a:lnTo>
                    <a:lnTo>
                      <a:pt x="857" y="717"/>
                    </a:lnTo>
                    <a:lnTo>
                      <a:pt x="850" y="722"/>
                    </a:lnTo>
                    <a:lnTo>
                      <a:pt x="844" y="729"/>
                    </a:lnTo>
                    <a:lnTo>
                      <a:pt x="839" y="737"/>
                    </a:lnTo>
                    <a:lnTo>
                      <a:pt x="836" y="746"/>
                    </a:lnTo>
                    <a:lnTo>
                      <a:pt x="833" y="758"/>
                    </a:lnTo>
                    <a:lnTo>
                      <a:pt x="832" y="771"/>
                    </a:lnTo>
                    <a:lnTo>
                      <a:pt x="831" y="786"/>
                    </a:lnTo>
                    <a:lnTo>
                      <a:pt x="831" y="802"/>
                    </a:lnTo>
                    <a:lnTo>
                      <a:pt x="835" y="840"/>
                    </a:lnTo>
                    <a:lnTo>
                      <a:pt x="840" y="887"/>
                    </a:lnTo>
                    <a:lnTo>
                      <a:pt x="840" y="887"/>
                    </a:lnTo>
                    <a:lnTo>
                      <a:pt x="816" y="900"/>
                    </a:lnTo>
                    <a:lnTo>
                      <a:pt x="800" y="909"/>
                    </a:lnTo>
                    <a:lnTo>
                      <a:pt x="790" y="917"/>
                    </a:lnTo>
                    <a:lnTo>
                      <a:pt x="783" y="924"/>
                    </a:lnTo>
                    <a:lnTo>
                      <a:pt x="778" y="931"/>
                    </a:lnTo>
                    <a:lnTo>
                      <a:pt x="776" y="939"/>
                    </a:lnTo>
                    <a:lnTo>
                      <a:pt x="773" y="948"/>
                    </a:lnTo>
                    <a:lnTo>
                      <a:pt x="767" y="960"/>
                    </a:lnTo>
                    <a:lnTo>
                      <a:pt x="767" y="960"/>
                    </a:lnTo>
                    <a:lnTo>
                      <a:pt x="756" y="977"/>
                    </a:lnTo>
                    <a:lnTo>
                      <a:pt x="746" y="989"/>
                    </a:lnTo>
                    <a:lnTo>
                      <a:pt x="736" y="998"/>
                    </a:lnTo>
                    <a:lnTo>
                      <a:pt x="725" y="1005"/>
                    </a:lnTo>
                    <a:lnTo>
                      <a:pt x="715" y="1010"/>
                    </a:lnTo>
                    <a:lnTo>
                      <a:pt x="706" y="1013"/>
                    </a:lnTo>
                    <a:lnTo>
                      <a:pt x="695" y="1016"/>
                    </a:lnTo>
                    <a:lnTo>
                      <a:pt x="686" y="1018"/>
                    </a:lnTo>
                    <a:lnTo>
                      <a:pt x="669" y="1021"/>
                    </a:lnTo>
                    <a:lnTo>
                      <a:pt x="661" y="1024"/>
                    </a:lnTo>
                    <a:lnTo>
                      <a:pt x="654" y="1028"/>
                    </a:lnTo>
                    <a:lnTo>
                      <a:pt x="647" y="1034"/>
                    </a:lnTo>
                    <a:lnTo>
                      <a:pt x="640" y="1042"/>
                    </a:lnTo>
                    <a:lnTo>
                      <a:pt x="636" y="1054"/>
                    </a:lnTo>
                    <a:lnTo>
                      <a:pt x="631" y="1068"/>
                    </a:lnTo>
                    <a:lnTo>
                      <a:pt x="631" y="1068"/>
                    </a:lnTo>
                    <a:lnTo>
                      <a:pt x="621" y="1057"/>
                    </a:lnTo>
                    <a:lnTo>
                      <a:pt x="609" y="1049"/>
                    </a:lnTo>
                    <a:lnTo>
                      <a:pt x="599" y="1042"/>
                    </a:lnTo>
                    <a:lnTo>
                      <a:pt x="587" y="1038"/>
                    </a:lnTo>
                    <a:lnTo>
                      <a:pt x="576" y="1033"/>
                    </a:lnTo>
                    <a:lnTo>
                      <a:pt x="565" y="1030"/>
                    </a:lnTo>
                    <a:lnTo>
                      <a:pt x="544" y="1024"/>
                    </a:lnTo>
                    <a:lnTo>
                      <a:pt x="526" y="1019"/>
                    </a:lnTo>
                    <a:lnTo>
                      <a:pt x="518" y="1016"/>
                    </a:lnTo>
                    <a:lnTo>
                      <a:pt x="511" y="1012"/>
                    </a:lnTo>
                    <a:lnTo>
                      <a:pt x="506" y="1008"/>
                    </a:lnTo>
                    <a:lnTo>
                      <a:pt x="502" y="1002"/>
                    </a:lnTo>
                    <a:lnTo>
                      <a:pt x="500" y="995"/>
                    </a:lnTo>
                    <a:lnTo>
                      <a:pt x="499" y="986"/>
                    </a:lnTo>
                    <a:lnTo>
                      <a:pt x="499" y="986"/>
                    </a:lnTo>
                    <a:lnTo>
                      <a:pt x="497" y="981"/>
                    </a:lnTo>
                    <a:lnTo>
                      <a:pt x="495" y="977"/>
                    </a:lnTo>
                    <a:lnTo>
                      <a:pt x="489" y="966"/>
                    </a:lnTo>
                    <a:lnTo>
                      <a:pt x="481" y="957"/>
                    </a:lnTo>
                    <a:lnTo>
                      <a:pt x="476" y="949"/>
                    </a:lnTo>
                    <a:lnTo>
                      <a:pt x="473" y="946"/>
                    </a:lnTo>
                    <a:lnTo>
                      <a:pt x="472" y="942"/>
                    </a:lnTo>
                    <a:lnTo>
                      <a:pt x="473" y="940"/>
                    </a:lnTo>
                    <a:lnTo>
                      <a:pt x="476" y="937"/>
                    </a:lnTo>
                    <a:lnTo>
                      <a:pt x="480" y="936"/>
                    </a:lnTo>
                    <a:lnTo>
                      <a:pt x="487" y="935"/>
                    </a:lnTo>
                    <a:lnTo>
                      <a:pt x="496" y="934"/>
                    </a:lnTo>
                    <a:lnTo>
                      <a:pt x="510" y="935"/>
                    </a:lnTo>
                    <a:lnTo>
                      <a:pt x="510" y="935"/>
                    </a:lnTo>
                    <a:lnTo>
                      <a:pt x="517" y="936"/>
                    </a:lnTo>
                    <a:lnTo>
                      <a:pt x="523" y="940"/>
                    </a:lnTo>
                    <a:lnTo>
                      <a:pt x="529" y="944"/>
                    </a:lnTo>
                    <a:lnTo>
                      <a:pt x="532" y="949"/>
                    </a:lnTo>
                    <a:lnTo>
                      <a:pt x="535" y="956"/>
                    </a:lnTo>
                    <a:lnTo>
                      <a:pt x="538" y="963"/>
                    </a:lnTo>
                    <a:lnTo>
                      <a:pt x="544" y="978"/>
                    </a:lnTo>
                    <a:lnTo>
                      <a:pt x="550" y="993"/>
                    </a:lnTo>
                    <a:lnTo>
                      <a:pt x="554" y="1000"/>
                    </a:lnTo>
                    <a:lnTo>
                      <a:pt x="560" y="1007"/>
                    </a:lnTo>
                    <a:lnTo>
                      <a:pt x="565" y="1011"/>
                    </a:lnTo>
                    <a:lnTo>
                      <a:pt x="573" y="1016"/>
                    </a:lnTo>
                    <a:lnTo>
                      <a:pt x="583" y="1018"/>
                    </a:lnTo>
                    <a:lnTo>
                      <a:pt x="594" y="1019"/>
                    </a:lnTo>
                    <a:lnTo>
                      <a:pt x="594" y="1019"/>
                    </a:lnTo>
                    <a:lnTo>
                      <a:pt x="603" y="1017"/>
                    </a:lnTo>
                    <a:lnTo>
                      <a:pt x="613" y="1012"/>
                    </a:lnTo>
                    <a:lnTo>
                      <a:pt x="621" y="1007"/>
                    </a:lnTo>
                    <a:lnTo>
                      <a:pt x="629" y="997"/>
                    </a:lnTo>
                    <a:lnTo>
                      <a:pt x="637" y="988"/>
                    </a:lnTo>
                    <a:lnTo>
                      <a:pt x="646" y="977"/>
                    </a:lnTo>
                    <a:lnTo>
                      <a:pt x="662" y="950"/>
                    </a:lnTo>
                    <a:lnTo>
                      <a:pt x="680" y="921"/>
                    </a:lnTo>
                    <a:lnTo>
                      <a:pt x="690" y="908"/>
                    </a:lnTo>
                    <a:lnTo>
                      <a:pt x="700" y="893"/>
                    </a:lnTo>
                    <a:lnTo>
                      <a:pt x="712" y="879"/>
                    </a:lnTo>
                    <a:lnTo>
                      <a:pt x="724" y="866"/>
                    </a:lnTo>
                    <a:lnTo>
                      <a:pt x="737" y="853"/>
                    </a:lnTo>
                    <a:lnTo>
                      <a:pt x="752" y="842"/>
                    </a:lnTo>
                    <a:lnTo>
                      <a:pt x="752" y="842"/>
                    </a:lnTo>
                    <a:lnTo>
                      <a:pt x="756" y="824"/>
                    </a:lnTo>
                    <a:lnTo>
                      <a:pt x="761" y="810"/>
                    </a:lnTo>
                    <a:lnTo>
                      <a:pt x="768" y="799"/>
                    </a:lnTo>
                    <a:lnTo>
                      <a:pt x="774" y="792"/>
                    </a:lnTo>
                    <a:lnTo>
                      <a:pt x="781" y="788"/>
                    </a:lnTo>
                    <a:lnTo>
                      <a:pt x="787" y="786"/>
                    </a:lnTo>
                    <a:lnTo>
                      <a:pt x="799" y="781"/>
                    </a:lnTo>
                    <a:lnTo>
                      <a:pt x="802" y="779"/>
                    </a:lnTo>
                    <a:lnTo>
                      <a:pt x="805" y="775"/>
                    </a:lnTo>
                    <a:lnTo>
                      <a:pt x="806" y="769"/>
                    </a:lnTo>
                    <a:lnTo>
                      <a:pt x="805" y="760"/>
                    </a:lnTo>
                    <a:lnTo>
                      <a:pt x="800" y="748"/>
                    </a:lnTo>
                    <a:lnTo>
                      <a:pt x="793" y="732"/>
                    </a:lnTo>
                    <a:lnTo>
                      <a:pt x="770" y="682"/>
                    </a:lnTo>
                    <a:lnTo>
                      <a:pt x="770" y="682"/>
                    </a:lnTo>
                    <a:lnTo>
                      <a:pt x="768" y="675"/>
                    </a:lnTo>
                    <a:lnTo>
                      <a:pt x="766" y="667"/>
                    </a:lnTo>
                    <a:lnTo>
                      <a:pt x="762" y="652"/>
                    </a:lnTo>
                    <a:lnTo>
                      <a:pt x="761" y="635"/>
                    </a:lnTo>
                    <a:lnTo>
                      <a:pt x="762" y="618"/>
                    </a:lnTo>
                    <a:lnTo>
                      <a:pt x="764" y="598"/>
                    </a:lnTo>
                    <a:lnTo>
                      <a:pt x="769" y="578"/>
                    </a:lnTo>
                    <a:lnTo>
                      <a:pt x="775" y="559"/>
                    </a:lnTo>
                    <a:lnTo>
                      <a:pt x="781" y="538"/>
                    </a:lnTo>
                    <a:lnTo>
                      <a:pt x="789" y="519"/>
                    </a:lnTo>
                    <a:lnTo>
                      <a:pt x="797" y="499"/>
                    </a:lnTo>
                    <a:lnTo>
                      <a:pt x="813" y="461"/>
                    </a:lnTo>
                    <a:lnTo>
                      <a:pt x="830" y="427"/>
                    </a:lnTo>
                    <a:lnTo>
                      <a:pt x="844" y="398"/>
                    </a:lnTo>
                    <a:lnTo>
                      <a:pt x="844" y="398"/>
                    </a:lnTo>
                    <a:lnTo>
                      <a:pt x="850" y="386"/>
                    </a:lnTo>
                    <a:lnTo>
                      <a:pt x="852" y="376"/>
                    </a:lnTo>
                    <a:lnTo>
                      <a:pt x="853" y="367"/>
                    </a:lnTo>
                    <a:lnTo>
                      <a:pt x="853" y="359"/>
                    </a:lnTo>
                    <a:lnTo>
                      <a:pt x="851" y="352"/>
                    </a:lnTo>
                    <a:lnTo>
                      <a:pt x="848" y="346"/>
                    </a:lnTo>
                    <a:lnTo>
                      <a:pt x="840" y="335"/>
                    </a:lnTo>
                    <a:lnTo>
                      <a:pt x="833" y="322"/>
                    </a:lnTo>
                    <a:lnTo>
                      <a:pt x="830" y="315"/>
                    </a:lnTo>
                    <a:lnTo>
                      <a:pt x="827" y="307"/>
                    </a:lnTo>
                    <a:lnTo>
                      <a:pt x="825" y="297"/>
                    </a:lnTo>
                    <a:lnTo>
                      <a:pt x="825" y="286"/>
                    </a:lnTo>
                    <a:lnTo>
                      <a:pt x="827" y="274"/>
                    </a:lnTo>
                    <a:lnTo>
                      <a:pt x="830" y="259"/>
                    </a:lnTo>
                    <a:lnTo>
                      <a:pt x="830" y="259"/>
                    </a:lnTo>
                    <a:lnTo>
                      <a:pt x="833" y="246"/>
                    </a:lnTo>
                    <a:lnTo>
                      <a:pt x="838" y="237"/>
                    </a:lnTo>
                    <a:lnTo>
                      <a:pt x="843" y="229"/>
                    </a:lnTo>
                    <a:lnTo>
                      <a:pt x="847" y="223"/>
                    </a:lnTo>
                    <a:lnTo>
                      <a:pt x="853" y="218"/>
                    </a:lnTo>
                    <a:lnTo>
                      <a:pt x="858" y="215"/>
                    </a:lnTo>
                    <a:lnTo>
                      <a:pt x="868" y="209"/>
                    </a:lnTo>
                    <a:lnTo>
                      <a:pt x="874" y="206"/>
                    </a:lnTo>
                    <a:lnTo>
                      <a:pt x="878" y="201"/>
                    </a:lnTo>
                    <a:lnTo>
                      <a:pt x="884" y="195"/>
                    </a:lnTo>
                    <a:lnTo>
                      <a:pt x="890" y="188"/>
                    </a:lnTo>
                    <a:lnTo>
                      <a:pt x="894" y="179"/>
                    </a:lnTo>
                    <a:lnTo>
                      <a:pt x="900" y="167"/>
                    </a:lnTo>
                    <a:lnTo>
                      <a:pt x="905" y="153"/>
                    </a:lnTo>
                    <a:lnTo>
                      <a:pt x="909" y="134"/>
                    </a:lnTo>
                    <a:lnTo>
                      <a:pt x="909" y="134"/>
                    </a:lnTo>
                    <a:lnTo>
                      <a:pt x="913" y="115"/>
                    </a:lnTo>
                    <a:lnTo>
                      <a:pt x="913" y="107"/>
                    </a:lnTo>
                    <a:lnTo>
                      <a:pt x="913" y="100"/>
                    </a:lnTo>
                    <a:lnTo>
                      <a:pt x="912" y="93"/>
                    </a:lnTo>
                    <a:lnTo>
                      <a:pt x="911" y="86"/>
                    </a:lnTo>
                    <a:lnTo>
                      <a:pt x="907" y="80"/>
                    </a:lnTo>
                    <a:lnTo>
                      <a:pt x="904" y="76"/>
                    </a:lnTo>
                    <a:lnTo>
                      <a:pt x="900" y="70"/>
                    </a:lnTo>
                    <a:lnTo>
                      <a:pt x="894" y="65"/>
                    </a:lnTo>
                    <a:lnTo>
                      <a:pt x="881" y="56"/>
                    </a:lnTo>
                    <a:lnTo>
                      <a:pt x="862" y="48"/>
                    </a:lnTo>
                    <a:lnTo>
                      <a:pt x="840" y="39"/>
                    </a:lnTo>
                    <a:lnTo>
                      <a:pt x="840" y="39"/>
                    </a:lnTo>
                    <a:lnTo>
                      <a:pt x="829" y="33"/>
                    </a:lnTo>
                    <a:lnTo>
                      <a:pt x="820" y="27"/>
                    </a:lnTo>
                    <a:lnTo>
                      <a:pt x="804" y="16"/>
                    </a:lnTo>
                    <a:lnTo>
                      <a:pt x="791" y="7"/>
                    </a:lnTo>
                    <a:lnTo>
                      <a:pt x="785" y="3"/>
                    </a:lnTo>
                    <a:lnTo>
                      <a:pt x="781" y="1"/>
                    </a:lnTo>
                    <a:lnTo>
                      <a:pt x="776" y="0"/>
                    </a:lnTo>
                    <a:lnTo>
                      <a:pt x="771" y="0"/>
                    </a:lnTo>
                    <a:lnTo>
                      <a:pt x="767" y="1"/>
                    </a:lnTo>
                    <a:lnTo>
                      <a:pt x="761" y="4"/>
                    </a:lnTo>
                    <a:lnTo>
                      <a:pt x="756" y="10"/>
                    </a:lnTo>
                    <a:lnTo>
                      <a:pt x="751" y="17"/>
                    </a:lnTo>
                    <a:lnTo>
                      <a:pt x="737" y="39"/>
                    </a:lnTo>
                    <a:lnTo>
                      <a:pt x="737" y="39"/>
                    </a:lnTo>
                    <a:lnTo>
                      <a:pt x="735" y="43"/>
                    </a:lnTo>
                    <a:lnTo>
                      <a:pt x="731" y="53"/>
                    </a:lnTo>
                    <a:lnTo>
                      <a:pt x="722" y="76"/>
                    </a:lnTo>
                    <a:lnTo>
                      <a:pt x="709" y="106"/>
                    </a:lnTo>
                    <a:lnTo>
                      <a:pt x="701" y="120"/>
                    </a:lnTo>
                    <a:lnTo>
                      <a:pt x="692" y="137"/>
                    </a:lnTo>
                    <a:lnTo>
                      <a:pt x="682" y="153"/>
                    </a:lnTo>
                    <a:lnTo>
                      <a:pt x="670" y="168"/>
                    </a:lnTo>
                    <a:lnTo>
                      <a:pt x="657" y="183"/>
                    </a:lnTo>
                    <a:lnTo>
                      <a:pt x="642" y="195"/>
                    </a:lnTo>
                    <a:lnTo>
                      <a:pt x="634" y="201"/>
                    </a:lnTo>
                    <a:lnTo>
                      <a:pt x="626" y="206"/>
                    </a:lnTo>
                    <a:lnTo>
                      <a:pt x="617" y="210"/>
                    </a:lnTo>
                    <a:lnTo>
                      <a:pt x="608" y="214"/>
                    </a:lnTo>
                    <a:lnTo>
                      <a:pt x="598" y="217"/>
                    </a:lnTo>
                    <a:lnTo>
                      <a:pt x="587" y="219"/>
                    </a:lnTo>
                    <a:lnTo>
                      <a:pt x="577" y="222"/>
                    </a:lnTo>
                    <a:lnTo>
                      <a:pt x="565" y="223"/>
                    </a:lnTo>
                    <a:lnTo>
                      <a:pt x="565" y="223"/>
                    </a:lnTo>
                    <a:lnTo>
                      <a:pt x="553" y="234"/>
                    </a:lnTo>
                    <a:lnTo>
                      <a:pt x="546" y="246"/>
                    </a:lnTo>
                    <a:lnTo>
                      <a:pt x="541" y="256"/>
                    </a:lnTo>
                    <a:lnTo>
                      <a:pt x="540" y="265"/>
                    </a:lnTo>
                    <a:lnTo>
                      <a:pt x="540" y="274"/>
                    </a:lnTo>
                    <a:lnTo>
                      <a:pt x="544" y="282"/>
                    </a:lnTo>
                    <a:lnTo>
                      <a:pt x="547" y="288"/>
                    </a:lnTo>
                    <a:lnTo>
                      <a:pt x="552" y="295"/>
                    </a:lnTo>
                    <a:lnTo>
                      <a:pt x="560" y="309"/>
                    </a:lnTo>
                    <a:lnTo>
                      <a:pt x="562" y="315"/>
                    </a:lnTo>
                    <a:lnTo>
                      <a:pt x="564" y="322"/>
                    </a:lnTo>
                    <a:lnTo>
                      <a:pt x="563" y="328"/>
                    </a:lnTo>
                    <a:lnTo>
                      <a:pt x="560" y="336"/>
                    </a:lnTo>
                    <a:lnTo>
                      <a:pt x="553" y="343"/>
                    </a:lnTo>
                    <a:lnTo>
                      <a:pt x="542" y="351"/>
                    </a:lnTo>
                    <a:lnTo>
                      <a:pt x="542" y="351"/>
                    </a:lnTo>
                    <a:lnTo>
                      <a:pt x="540" y="364"/>
                    </a:lnTo>
                    <a:lnTo>
                      <a:pt x="534" y="378"/>
                    </a:lnTo>
                    <a:lnTo>
                      <a:pt x="529" y="391"/>
                    </a:lnTo>
                    <a:lnTo>
                      <a:pt x="522" y="401"/>
                    </a:lnTo>
                    <a:lnTo>
                      <a:pt x="514" y="412"/>
                    </a:lnTo>
                    <a:lnTo>
                      <a:pt x="506" y="421"/>
                    </a:lnTo>
                    <a:lnTo>
                      <a:pt x="492" y="438"/>
                    </a:lnTo>
                    <a:lnTo>
                      <a:pt x="486" y="445"/>
                    </a:lnTo>
                    <a:lnTo>
                      <a:pt x="481" y="453"/>
                    </a:lnTo>
                    <a:lnTo>
                      <a:pt x="478" y="460"/>
                    </a:lnTo>
                    <a:lnTo>
                      <a:pt x="478" y="467"/>
                    </a:lnTo>
                    <a:lnTo>
                      <a:pt x="480" y="475"/>
                    </a:lnTo>
                    <a:lnTo>
                      <a:pt x="485" y="482"/>
                    </a:lnTo>
                    <a:lnTo>
                      <a:pt x="494" y="490"/>
                    </a:lnTo>
                    <a:lnTo>
                      <a:pt x="506" y="498"/>
                    </a:lnTo>
                    <a:lnTo>
                      <a:pt x="506" y="498"/>
                    </a:lnTo>
                    <a:lnTo>
                      <a:pt x="515" y="503"/>
                    </a:lnTo>
                    <a:lnTo>
                      <a:pt x="521" y="508"/>
                    </a:lnTo>
                    <a:lnTo>
                      <a:pt x="526" y="514"/>
                    </a:lnTo>
                    <a:lnTo>
                      <a:pt x="530" y="520"/>
                    </a:lnTo>
                    <a:lnTo>
                      <a:pt x="533" y="527"/>
                    </a:lnTo>
                    <a:lnTo>
                      <a:pt x="535" y="534"/>
                    </a:lnTo>
                    <a:lnTo>
                      <a:pt x="538" y="547"/>
                    </a:lnTo>
                    <a:lnTo>
                      <a:pt x="540" y="561"/>
                    </a:lnTo>
                    <a:lnTo>
                      <a:pt x="542" y="575"/>
                    </a:lnTo>
                    <a:lnTo>
                      <a:pt x="544" y="582"/>
                    </a:lnTo>
                    <a:lnTo>
                      <a:pt x="546" y="589"/>
                    </a:lnTo>
                    <a:lnTo>
                      <a:pt x="549" y="595"/>
                    </a:lnTo>
                    <a:lnTo>
                      <a:pt x="554" y="600"/>
                    </a:lnTo>
                    <a:lnTo>
                      <a:pt x="554" y="600"/>
                    </a:lnTo>
                    <a:lnTo>
                      <a:pt x="555" y="612"/>
                    </a:lnTo>
                    <a:lnTo>
                      <a:pt x="556" y="623"/>
                    </a:lnTo>
                    <a:lnTo>
                      <a:pt x="555" y="637"/>
                    </a:lnTo>
                    <a:lnTo>
                      <a:pt x="555" y="644"/>
                    </a:lnTo>
                    <a:lnTo>
                      <a:pt x="553" y="651"/>
                    </a:lnTo>
                    <a:lnTo>
                      <a:pt x="550" y="658"/>
                    </a:lnTo>
                    <a:lnTo>
                      <a:pt x="547" y="664"/>
                    </a:lnTo>
                    <a:lnTo>
                      <a:pt x="544" y="669"/>
                    </a:lnTo>
                    <a:lnTo>
                      <a:pt x="538" y="673"/>
                    </a:lnTo>
                    <a:lnTo>
                      <a:pt x="532" y="676"/>
                    </a:lnTo>
                    <a:lnTo>
                      <a:pt x="524" y="677"/>
                    </a:lnTo>
                    <a:lnTo>
                      <a:pt x="524" y="677"/>
                    </a:lnTo>
                    <a:lnTo>
                      <a:pt x="519" y="677"/>
                    </a:lnTo>
                    <a:lnTo>
                      <a:pt x="515" y="677"/>
                    </a:lnTo>
                    <a:lnTo>
                      <a:pt x="510" y="676"/>
                    </a:lnTo>
                    <a:lnTo>
                      <a:pt x="506" y="674"/>
                    </a:lnTo>
                    <a:lnTo>
                      <a:pt x="496" y="668"/>
                    </a:lnTo>
                    <a:lnTo>
                      <a:pt x="488" y="660"/>
                    </a:lnTo>
                    <a:lnTo>
                      <a:pt x="479" y="650"/>
                    </a:lnTo>
                    <a:lnTo>
                      <a:pt x="471" y="638"/>
                    </a:lnTo>
                    <a:lnTo>
                      <a:pt x="463" y="624"/>
                    </a:lnTo>
                    <a:lnTo>
                      <a:pt x="455" y="610"/>
                    </a:lnTo>
                    <a:lnTo>
                      <a:pt x="438" y="576"/>
                    </a:lnTo>
                    <a:lnTo>
                      <a:pt x="422" y="540"/>
                    </a:lnTo>
                    <a:lnTo>
                      <a:pt x="403" y="505"/>
                    </a:lnTo>
                    <a:lnTo>
                      <a:pt x="385" y="471"/>
                    </a:lnTo>
                    <a:lnTo>
                      <a:pt x="385" y="471"/>
                    </a:lnTo>
                    <a:lnTo>
                      <a:pt x="380" y="480"/>
                    </a:lnTo>
                    <a:lnTo>
                      <a:pt x="374" y="486"/>
                    </a:lnTo>
                    <a:lnTo>
                      <a:pt x="361" y="500"/>
                    </a:lnTo>
                    <a:lnTo>
                      <a:pt x="355" y="507"/>
                    </a:lnTo>
                    <a:lnTo>
                      <a:pt x="349" y="514"/>
                    </a:lnTo>
                    <a:lnTo>
                      <a:pt x="346" y="521"/>
                    </a:lnTo>
                    <a:lnTo>
                      <a:pt x="344" y="530"/>
                    </a:lnTo>
                    <a:lnTo>
                      <a:pt x="344" y="530"/>
                    </a:lnTo>
                    <a:lnTo>
                      <a:pt x="346" y="539"/>
                    </a:lnTo>
                    <a:lnTo>
                      <a:pt x="349" y="549"/>
                    </a:lnTo>
                    <a:lnTo>
                      <a:pt x="354" y="557"/>
                    </a:lnTo>
                    <a:lnTo>
                      <a:pt x="359" y="565"/>
                    </a:lnTo>
                    <a:lnTo>
                      <a:pt x="364" y="573"/>
                    </a:lnTo>
                    <a:lnTo>
                      <a:pt x="370" y="582"/>
                    </a:lnTo>
                    <a:lnTo>
                      <a:pt x="372" y="592"/>
                    </a:lnTo>
                    <a:lnTo>
                      <a:pt x="374" y="604"/>
                    </a:lnTo>
                    <a:lnTo>
                      <a:pt x="374" y="604"/>
                    </a:lnTo>
                    <a:lnTo>
                      <a:pt x="373" y="612"/>
                    </a:lnTo>
                    <a:lnTo>
                      <a:pt x="372" y="619"/>
                    </a:lnTo>
                    <a:lnTo>
                      <a:pt x="370" y="624"/>
                    </a:lnTo>
                    <a:lnTo>
                      <a:pt x="367" y="630"/>
                    </a:lnTo>
                    <a:lnTo>
                      <a:pt x="361" y="639"/>
                    </a:lnTo>
                    <a:lnTo>
                      <a:pt x="354" y="648"/>
                    </a:lnTo>
                    <a:lnTo>
                      <a:pt x="346" y="654"/>
                    </a:lnTo>
                    <a:lnTo>
                      <a:pt x="340" y="662"/>
                    </a:lnTo>
                    <a:lnTo>
                      <a:pt x="336" y="667"/>
                    </a:lnTo>
                    <a:lnTo>
                      <a:pt x="335" y="673"/>
                    </a:lnTo>
                    <a:lnTo>
                      <a:pt x="334" y="679"/>
                    </a:lnTo>
                    <a:lnTo>
                      <a:pt x="333" y="685"/>
                    </a:lnTo>
                    <a:lnTo>
                      <a:pt x="333" y="685"/>
                    </a:lnTo>
                    <a:lnTo>
                      <a:pt x="334" y="690"/>
                    </a:lnTo>
                    <a:lnTo>
                      <a:pt x="338" y="696"/>
                    </a:lnTo>
                    <a:lnTo>
                      <a:pt x="346" y="706"/>
                    </a:lnTo>
                    <a:lnTo>
                      <a:pt x="351" y="712"/>
                    </a:lnTo>
                    <a:lnTo>
                      <a:pt x="355" y="718"/>
                    </a:lnTo>
                    <a:lnTo>
                      <a:pt x="358" y="725"/>
                    </a:lnTo>
                    <a:lnTo>
                      <a:pt x="359" y="733"/>
                    </a:lnTo>
                    <a:lnTo>
                      <a:pt x="359" y="733"/>
                    </a:lnTo>
                    <a:lnTo>
                      <a:pt x="358" y="744"/>
                    </a:lnTo>
                    <a:lnTo>
                      <a:pt x="355" y="756"/>
                    </a:lnTo>
                    <a:lnTo>
                      <a:pt x="349" y="767"/>
                    </a:lnTo>
                    <a:lnTo>
                      <a:pt x="342" y="776"/>
                    </a:lnTo>
                    <a:lnTo>
                      <a:pt x="333" y="786"/>
                    </a:lnTo>
                    <a:lnTo>
                      <a:pt x="323" y="795"/>
                    </a:lnTo>
                    <a:lnTo>
                      <a:pt x="312" y="803"/>
                    </a:lnTo>
                    <a:lnTo>
                      <a:pt x="301" y="811"/>
                    </a:lnTo>
                    <a:lnTo>
                      <a:pt x="275" y="824"/>
                    </a:lnTo>
                    <a:lnTo>
                      <a:pt x="251" y="835"/>
                    </a:lnTo>
                    <a:lnTo>
                      <a:pt x="228" y="843"/>
                    </a:lnTo>
                    <a:lnTo>
                      <a:pt x="209" y="850"/>
                    </a:lnTo>
                    <a:lnTo>
                      <a:pt x="209" y="850"/>
                    </a:lnTo>
                    <a:lnTo>
                      <a:pt x="182" y="860"/>
                    </a:lnTo>
                    <a:lnTo>
                      <a:pt x="158" y="872"/>
                    </a:lnTo>
                    <a:lnTo>
                      <a:pt x="136" y="883"/>
                    </a:lnTo>
                    <a:lnTo>
                      <a:pt x="115" y="896"/>
                    </a:lnTo>
                    <a:lnTo>
                      <a:pt x="74" y="920"/>
                    </a:lnTo>
                    <a:lnTo>
                      <a:pt x="53" y="932"/>
                    </a:lnTo>
                    <a:lnTo>
                      <a:pt x="29" y="942"/>
                    </a:lnTo>
                    <a:lnTo>
                      <a:pt x="29" y="942"/>
                    </a:lnTo>
                    <a:lnTo>
                      <a:pt x="31" y="949"/>
                    </a:lnTo>
                    <a:lnTo>
                      <a:pt x="34" y="954"/>
                    </a:lnTo>
                    <a:lnTo>
                      <a:pt x="36" y="958"/>
                    </a:lnTo>
                    <a:lnTo>
                      <a:pt x="36" y="964"/>
                    </a:lnTo>
                    <a:lnTo>
                      <a:pt x="36" y="964"/>
                    </a:lnTo>
                    <a:lnTo>
                      <a:pt x="36" y="1019"/>
                    </a:lnTo>
                    <a:lnTo>
                      <a:pt x="36" y="1019"/>
                    </a:lnTo>
                    <a:lnTo>
                      <a:pt x="36" y="1026"/>
                    </a:lnTo>
                    <a:lnTo>
                      <a:pt x="35" y="1033"/>
                    </a:lnTo>
                    <a:lnTo>
                      <a:pt x="30" y="1046"/>
                    </a:lnTo>
                    <a:lnTo>
                      <a:pt x="25" y="1056"/>
                    </a:lnTo>
                    <a:lnTo>
                      <a:pt x="18" y="1066"/>
                    </a:lnTo>
                    <a:lnTo>
                      <a:pt x="12" y="1077"/>
                    </a:lnTo>
                    <a:lnTo>
                      <a:pt x="6" y="1087"/>
                    </a:lnTo>
                    <a:lnTo>
                      <a:pt x="2" y="1099"/>
                    </a:lnTo>
                    <a:lnTo>
                      <a:pt x="0" y="1104"/>
                    </a:lnTo>
                    <a:lnTo>
                      <a:pt x="0" y="1111"/>
                    </a:lnTo>
                    <a:lnTo>
                      <a:pt x="0" y="1111"/>
                    </a:lnTo>
                    <a:lnTo>
                      <a:pt x="0" y="1120"/>
                    </a:lnTo>
                    <a:lnTo>
                      <a:pt x="3" y="1127"/>
                    </a:lnTo>
                    <a:lnTo>
                      <a:pt x="6" y="1134"/>
                    </a:lnTo>
                    <a:lnTo>
                      <a:pt x="12" y="1140"/>
                    </a:lnTo>
                    <a:lnTo>
                      <a:pt x="17" y="1143"/>
                    </a:lnTo>
                    <a:lnTo>
                      <a:pt x="23" y="1147"/>
                    </a:lnTo>
                    <a:lnTo>
                      <a:pt x="29" y="1149"/>
                    </a:lnTo>
                    <a:lnTo>
                      <a:pt x="36" y="1152"/>
                    </a:lnTo>
                    <a:lnTo>
                      <a:pt x="36" y="1152"/>
                    </a:lnTo>
                    <a:lnTo>
                      <a:pt x="37" y="1157"/>
                    </a:lnTo>
                    <a:lnTo>
                      <a:pt x="37" y="1164"/>
                    </a:lnTo>
                    <a:lnTo>
                      <a:pt x="40" y="1169"/>
                    </a:lnTo>
                    <a:lnTo>
                      <a:pt x="42" y="1173"/>
                    </a:lnTo>
                    <a:lnTo>
                      <a:pt x="44" y="1177"/>
                    </a:lnTo>
                    <a:lnTo>
                      <a:pt x="48" y="1180"/>
                    </a:lnTo>
                    <a:lnTo>
                      <a:pt x="56" y="1186"/>
                    </a:lnTo>
                    <a:lnTo>
                      <a:pt x="65" y="1188"/>
                    </a:lnTo>
                    <a:lnTo>
                      <a:pt x="75" y="1191"/>
                    </a:lnTo>
                    <a:lnTo>
                      <a:pt x="87" y="1192"/>
                    </a:lnTo>
                    <a:lnTo>
                      <a:pt x="98" y="1192"/>
                    </a:lnTo>
                    <a:lnTo>
                      <a:pt x="98" y="1192"/>
                    </a:lnTo>
                    <a:lnTo>
                      <a:pt x="190" y="1192"/>
                    </a:lnTo>
                    <a:lnTo>
                      <a:pt x="190" y="1192"/>
                    </a:lnTo>
                    <a:lnTo>
                      <a:pt x="195" y="1192"/>
                    </a:lnTo>
                    <a:lnTo>
                      <a:pt x="199" y="1193"/>
                    </a:lnTo>
                    <a:lnTo>
                      <a:pt x="203" y="1195"/>
                    </a:lnTo>
                    <a:lnTo>
                      <a:pt x="206" y="1198"/>
                    </a:lnTo>
                    <a:lnTo>
                      <a:pt x="213" y="1203"/>
                    </a:lnTo>
                    <a:lnTo>
                      <a:pt x="218" y="1211"/>
                    </a:lnTo>
                    <a:lnTo>
                      <a:pt x="221" y="1221"/>
                    </a:lnTo>
                    <a:lnTo>
                      <a:pt x="225" y="1231"/>
                    </a:lnTo>
                    <a:lnTo>
                      <a:pt x="229" y="1254"/>
                    </a:lnTo>
                    <a:lnTo>
                      <a:pt x="235" y="1277"/>
                    </a:lnTo>
                    <a:lnTo>
                      <a:pt x="239" y="1287"/>
                    </a:lnTo>
                    <a:lnTo>
                      <a:pt x="243" y="1297"/>
                    </a:lnTo>
                    <a:lnTo>
                      <a:pt x="248" y="1305"/>
                    </a:lnTo>
                    <a:lnTo>
                      <a:pt x="255" y="1311"/>
                    </a:lnTo>
                    <a:lnTo>
                      <a:pt x="259" y="1314"/>
                    </a:lnTo>
                    <a:lnTo>
                      <a:pt x="264" y="1315"/>
                    </a:lnTo>
                    <a:lnTo>
                      <a:pt x="269" y="1316"/>
                    </a:lnTo>
                    <a:lnTo>
                      <a:pt x="274" y="1316"/>
                    </a:lnTo>
                    <a:lnTo>
                      <a:pt x="274" y="1316"/>
                    </a:lnTo>
                    <a:lnTo>
                      <a:pt x="281" y="1316"/>
                    </a:lnTo>
                    <a:lnTo>
                      <a:pt x="288" y="1314"/>
                    </a:lnTo>
                    <a:lnTo>
                      <a:pt x="300" y="1309"/>
                    </a:lnTo>
                    <a:lnTo>
                      <a:pt x="312" y="1302"/>
                    </a:lnTo>
                    <a:lnTo>
                      <a:pt x="319" y="1300"/>
                    </a:lnTo>
                    <a:lnTo>
                      <a:pt x="326" y="1299"/>
                    </a:lnTo>
                    <a:lnTo>
                      <a:pt x="326" y="1299"/>
                    </a:lnTo>
                    <a:lnTo>
                      <a:pt x="329" y="1303"/>
                    </a:lnTo>
                    <a:lnTo>
                      <a:pt x="333" y="1307"/>
                    </a:lnTo>
                    <a:lnTo>
                      <a:pt x="338" y="1309"/>
                    </a:lnTo>
                    <a:lnTo>
                      <a:pt x="344" y="1309"/>
                    </a:lnTo>
                    <a:lnTo>
                      <a:pt x="344" y="1309"/>
                    </a:lnTo>
                    <a:lnTo>
                      <a:pt x="349" y="1309"/>
                    </a:lnTo>
                    <a:lnTo>
                      <a:pt x="354" y="1307"/>
                    </a:lnTo>
                    <a:lnTo>
                      <a:pt x="362" y="1300"/>
                    </a:lnTo>
                    <a:lnTo>
                      <a:pt x="370" y="1294"/>
                    </a:lnTo>
                    <a:lnTo>
                      <a:pt x="373" y="1292"/>
                    </a:lnTo>
                    <a:lnTo>
                      <a:pt x="378" y="1291"/>
                    </a:lnTo>
                    <a:lnTo>
                      <a:pt x="378" y="1291"/>
                    </a:lnTo>
                    <a:lnTo>
                      <a:pt x="385" y="1293"/>
                    </a:lnTo>
                    <a:lnTo>
                      <a:pt x="396" y="1299"/>
                    </a:lnTo>
                    <a:lnTo>
                      <a:pt x="410" y="1306"/>
                    </a:lnTo>
                    <a:lnTo>
                      <a:pt x="425" y="1315"/>
                    </a:lnTo>
                    <a:lnTo>
                      <a:pt x="439" y="1325"/>
                    </a:lnTo>
                    <a:lnTo>
                      <a:pt x="450" y="1334"/>
                    </a:lnTo>
                    <a:lnTo>
                      <a:pt x="460" y="1344"/>
                    </a:lnTo>
                    <a:lnTo>
                      <a:pt x="461" y="1347"/>
                    </a:lnTo>
                    <a:lnTo>
                      <a:pt x="462" y="1351"/>
                    </a:lnTo>
                    <a:lnTo>
                      <a:pt x="462" y="1351"/>
                    </a:lnTo>
                    <a:lnTo>
                      <a:pt x="462" y="1379"/>
                    </a:lnTo>
                    <a:lnTo>
                      <a:pt x="462" y="1379"/>
                    </a:lnTo>
                    <a:lnTo>
                      <a:pt x="463" y="1390"/>
                    </a:lnTo>
                    <a:lnTo>
                      <a:pt x="466" y="1401"/>
                    </a:lnTo>
                    <a:lnTo>
                      <a:pt x="471" y="1415"/>
                    </a:lnTo>
                    <a:lnTo>
                      <a:pt x="477" y="1427"/>
                    </a:lnTo>
                    <a:lnTo>
                      <a:pt x="477" y="1427"/>
                    </a:lnTo>
                    <a:lnTo>
                      <a:pt x="480" y="1432"/>
                    </a:lnTo>
                    <a:lnTo>
                      <a:pt x="484" y="1438"/>
                    </a:lnTo>
                    <a:lnTo>
                      <a:pt x="487" y="1450"/>
                    </a:lnTo>
                    <a:lnTo>
                      <a:pt x="489" y="1461"/>
                    </a:lnTo>
                    <a:lnTo>
                      <a:pt x="492" y="1473"/>
                    </a:lnTo>
                    <a:lnTo>
                      <a:pt x="494" y="1483"/>
                    </a:lnTo>
                    <a:lnTo>
                      <a:pt x="496" y="1493"/>
                    </a:lnTo>
                    <a:lnTo>
                      <a:pt x="502" y="1502"/>
                    </a:lnTo>
                    <a:lnTo>
                      <a:pt x="506" y="1507"/>
                    </a:lnTo>
                    <a:lnTo>
                      <a:pt x="510" y="1512"/>
                    </a:lnTo>
                    <a:lnTo>
                      <a:pt x="510" y="1512"/>
                    </a:lnTo>
                    <a:lnTo>
                      <a:pt x="579" y="1512"/>
                    </a:lnTo>
                    <a:lnTo>
                      <a:pt x="579" y="1512"/>
                    </a:lnTo>
                    <a:lnTo>
                      <a:pt x="579" y="1512"/>
                    </a:lnTo>
                    <a:lnTo>
                      <a:pt x="595" y="1529"/>
                    </a:lnTo>
                    <a:lnTo>
                      <a:pt x="609" y="1545"/>
                    </a:lnTo>
                    <a:lnTo>
                      <a:pt x="624" y="1559"/>
                    </a:lnTo>
                    <a:lnTo>
                      <a:pt x="632" y="1565"/>
                    </a:lnTo>
                    <a:lnTo>
                      <a:pt x="642" y="1570"/>
                    </a:lnTo>
                    <a:lnTo>
                      <a:pt x="642" y="1570"/>
                    </a:lnTo>
                    <a:lnTo>
                      <a:pt x="649" y="1574"/>
                    </a:lnTo>
                    <a:lnTo>
                      <a:pt x="659" y="1577"/>
                    </a:lnTo>
                    <a:lnTo>
                      <a:pt x="677" y="1583"/>
                    </a:lnTo>
                    <a:lnTo>
                      <a:pt x="698" y="1588"/>
                    </a:lnTo>
                    <a:lnTo>
                      <a:pt x="718" y="1591"/>
                    </a:lnTo>
                    <a:lnTo>
                      <a:pt x="758" y="1598"/>
                    </a:lnTo>
                    <a:lnTo>
                      <a:pt x="775" y="1603"/>
                    </a:lnTo>
                    <a:lnTo>
                      <a:pt x="789" y="1607"/>
                    </a:lnTo>
                    <a:lnTo>
                      <a:pt x="789" y="1607"/>
                    </a:lnTo>
                    <a:lnTo>
                      <a:pt x="800" y="1614"/>
                    </a:lnTo>
                    <a:lnTo>
                      <a:pt x="809" y="1621"/>
                    </a:lnTo>
                    <a:lnTo>
                      <a:pt x="817" y="1629"/>
                    </a:lnTo>
                    <a:lnTo>
                      <a:pt x="825" y="1637"/>
                    </a:lnTo>
                    <a:lnTo>
                      <a:pt x="838" y="1656"/>
                    </a:lnTo>
                    <a:lnTo>
                      <a:pt x="851" y="1673"/>
                    </a:lnTo>
                    <a:lnTo>
                      <a:pt x="857" y="1681"/>
                    </a:lnTo>
                    <a:lnTo>
                      <a:pt x="863" y="1689"/>
                    </a:lnTo>
                    <a:lnTo>
                      <a:pt x="871" y="1696"/>
                    </a:lnTo>
                    <a:lnTo>
                      <a:pt x="880" y="1702"/>
                    </a:lnTo>
                    <a:lnTo>
                      <a:pt x="890" y="1706"/>
                    </a:lnTo>
                    <a:lnTo>
                      <a:pt x="900" y="1710"/>
                    </a:lnTo>
                    <a:lnTo>
                      <a:pt x="914" y="1713"/>
                    </a:lnTo>
                    <a:lnTo>
                      <a:pt x="928" y="1713"/>
                    </a:lnTo>
                    <a:lnTo>
                      <a:pt x="928" y="1713"/>
                    </a:lnTo>
                    <a:lnTo>
                      <a:pt x="947" y="1714"/>
                    </a:lnTo>
                    <a:lnTo>
                      <a:pt x="965" y="1718"/>
                    </a:lnTo>
                    <a:lnTo>
                      <a:pt x="983" y="1720"/>
                    </a:lnTo>
                    <a:lnTo>
                      <a:pt x="1001" y="1721"/>
                    </a:lnTo>
                    <a:lnTo>
                      <a:pt x="1001" y="1721"/>
                    </a:lnTo>
                    <a:lnTo>
                      <a:pt x="1010" y="1720"/>
                    </a:lnTo>
                    <a:lnTo>
                      <a:pt x="1016" y="1719"/>
                    </a:lnTo>
                    <a:lnTo>
                      <a:pt x="1022" y="1715"/>
                    </a:lnTo>
                    <a:lnTo>
                      <a:pt x="1028" y="1711"/>
                    </a:lnTo>
                    <a:lnTo>
                      <a:pt x="1034" y="1706"/>
                    </a:lnTo>
                    <a:lnTo>
                      <a:pt x="1038" y="1702"/>
                    </a:lnTo>
                    <a:lnTo>
                      <a:pt x="1048" y="1690"/>
                    </a:lnTo>
                    <a:lnTo>
                      <a:pt x="1056" y="1679"/>
                    </a:lnTo>
                    <a:lnTo>
                      <a:pt x="1065" y="1668"/>
                    </a:lnTo>
                    <a:lnTo>
                      <a:pt x="1071" y="1665"/>
                    </a:lnTo>
                    <a:lnTo>
                      <a:pt x="1076" y="1661"/>
                    </a:lnTo>
                    <a:lnTo>
                      <a:pt x="1083" y="1659"/>
                    </a:lnTo>
                    <a:lnTo>
                      <a:pt x="1090" y="1659"/>
                    </a:lnTo>
                    <a:lnTo>
                      <a:pt x="1090" y="1659"/>
                    </a:lnTo>
                    <a:lnTo>
                      <a:pt x="1095" y="1659"/>
                    </a:lnTo>
                    <a:lnTo>
                      <a:pt x="1099" y="1660"/>
                    </a:lnTo>
                    <a:lnTo>
                      <a:pt x="1103" y="1662"/>
                    </a:lnTo>
                    <a:lnTo>
                      <a:pt x="1107" y="1666"/>
                    </a:lnTo>
                    <a:lnTo>
                      <a:pt x="1114" y="1673"/>
                    </a:lnTo>
                    <a:lnTo>
                      <a:pt x="1120" y="1682"/>
                    </a:lnTo>
                    <a:lnTo>
                      <a:pt x="1132" y="1700"/>
                    </a:lnTo>
                    <a:lnTo>
                      <a:pt x="1136" y="1707"/>
                    </a:lnTo>
                    <a:lnTo>
                      <a:pt x="1142" y="1713"/>
                    </a:lnTo>
                    <a:lnTo>
                      <a:pt x="1142" y="1713"/>
                    </a:lnTo>
                    <a:lnTo>
                      <a:pt x="1145" y="1718"/>
                    </a:lnTo>
                    <a:lnTo>
                      <a:pt x="1149" y="1721"/>
                    </a:lnTo>
                    <a:lnTo>
                      <a:pt x="1152" y="1722"/>
                    </a:lnTo>
                    <a:lnTo>
                      <a:pt x="1156" y="1723"/>
                    </a:lnTo>
                    <a:lnTo>
                      <a:pt x="1163" y="1725"/>
                    </a:lnTo>
                    <a:lnTo>
                      <a:pt x="1170" y="1722"/>
                    </a:lnTo>
                    <a:lnTo>
                      <a:pt x="1184" y="1717"/>
                    </a:lnTo>
                    <a:lnTo>
                      <a:pt x="1193" y="1715"/>
                    </a:lnTo>
                    <a:lnTo>
                      <a:pt x="1196" y="1717"/>
                    </a:lnTo>
                    <a:lnTo>
                      <a:pt x="1201" y="1717"/>
                    </a:lnTo>
                    <a:lnTo>
                      <a:pt x="1201" y="1717"/>
                    </a:lnTo>
                    <a:lnTo>
                      <a:pt x="1207" y="1721"/>
                    </a:lnTo>
                    <a:lnTo>
                      <a:pt x="1213" y="1727"/>
                    </a:lnTo>
                    <a:lnTo>
                      <a:pt x="1217" y="1733"/>
                    </a:lnTo>
                    <a:lnTo>
                      <a:pt x="1220" y="1740"/>
                    </a:lnTo>
                    <a:lnTo>
                      <a:pt x="1225" y="1751"/>
                    </a:lnTo>
                    <a:lnTo>
                      <a:pt x="1228" y="1757"/>
                    </a:lnTo>
                    <a:lnTo>
                      <a:pt x="1234" y="1761"/>
                    </a:lnTo>
                    <a:lnTo>
                      <a:pt x="1234" y="1761"/>
                    </a:lnTo>
                    <a:lnTo>
                      <a:pt x="1240" y="1765"/>
                    </a:lnTo>
                    <a:lnTo>
                      <a:pt x="1247" y="1768"/>
                    </a:lnTo>
                    <a:lnTo>
                      <a:pt x="1252" y="1769"/>
                    </a:lnTo>
                    <a:lnTo>
                      <a:pt x="1259" y="1769"/>
                    </a:lnTo>
                    <a:lnTo>
                      <a:pt x="1272" y="1769"/>
                    </a:lnTo>
                    <a:lnTo>
                      <a:pt x="1278" y="1771"/>
                    </a:lnTo>
                    <a:lnTo>
                      <a:pt x="1285" y="1772"/>
                    </a:lnTo>
                    <a:lnTo>
                      <a:pt x="1285" y="1772"/>
                    </a:lnTo>
                    <a:lnTo>
                      <a:pt x="1291" y="1775"/>
                    </a:lnTo>
                    <a:lnTo>
                      <a:pt x="1297" y="1780"/>
                    </a:lnTo>
                    <a:lnTo>
                      <a:pt x="1306" y="1789"/>
                    </a:lnTo>
                    <a:lnTo>
                      <a:pt x="1317" y="1798"/>
                    </a:lnTo>
                    <a:lnTo>
                      <a:pt x="1323" y="1802"/>
                    </a:lnTo>
                    <a:lnTo>
                      <a:pt x="1328" y="1805"/>
                    </a:lnTo>
                    <a:lnTo>
                      <a:pt x="1328" y="1805"/>
                    </a:lnTo>
                    <a:lnTo>
                      <a:pt x="1328" y="1805"/>
                    </a:lnTo>
                    <a:lnTo>
                      <a:pt x="1328" y="180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6" name="Freeform 134"/>
              <p:cNvSpPr>
                <a:spLocks noChangeAspect="1"/>
              </p:cNvSpPr>
              <p:nvPr/>
            </p:nvSpPr>
            <p:spPr bwMode="auto">
              <a:xfrm>
                <a:off x="2353157" y="2832527"/>
                <a:ext cx="992277" cy="541325"/>
              </a:xfrm>
              <a:custGeom>
                <a:avLst/>
                <a:gdLst/>
                <a:ahLst/>
                <a:cxnLst>
                  <a:cxn ang="0">
                    <a:pos x="1175" y="663"/>
                  </a:cxn>
                  <a:cxn ang="0">
                    <a:pos x="1042" y="755"/>
                  </a:cxn>
                  <a:cxn ang="0">
                    <a:pos x="958" y="779"/>
                  </a:cxn>
                  <a:cxn ang="0">
                    <a:pos x="664" y="642"/>
                  </a:cxn>
                  <a:cxn ang="0">
                    <a:pos x="508" y="528"/>
                  </a:cxn>
                  <a:cxn ang="0">
                    <a:pos x="453" y="501"/>
                  </a:cxn>
                  <a:cxn ang="0">
                    <a:pos x="337" y="524"/>
                  </a:cxn>
                  <a:cxn ang="0">
                    <a:pos x="217" y="519"/>
                  </a:cxn>
                  <a:cxn ang="0">
                    <a:pos x="171" y="494"/>
                  </a:cxn>
                  <a:cxn ang="0">
                    <a:pos x="116" y="508"/>
                  </a:cxn>
                  <a:cxn ang="0">
                    <a:pos x="85" y="451"/>
                  </a:cxn>
                  <a:cxn ang="0">
                    <a:pos x="16" y="357"/>
                  </a:cxn>
                  <a:cxn ang="0">
                    <a:pos x="9" y="290"/>
                  </a:cxn>
                  <a:cxn ang="0">
                    <a:pos x="37" y="282"/>
                  </a:cxn>
                  <a:cxn ang="0">
                    <a:pos x="67" y="236"/>
                  </a:cxn>
                  <a:cxn ang="0">
                    <a:pos x="45" y="188"/>
                  </a:cxn>
                  <a:cxn ang="0">
                    <a:pos x="85" y="142"/>
                  </a:cxn>
                  <a:cxn ang="0">
                    <a:pos x="162" y="80"/>
                  </a:cxn>
                  <a:cxn ang="0">
                    <a:pos x="164" y="6"/>
                  </a:cxn>
                  <a:cxn ang="0">
                    <a:pos x="205" y="42"/>
                  </a:cxn>
                  <a:cxn ang="0">
                    <a:pos x="263" y="124"/>
                  </a:cxn>
                  <a:cxn ang="0">
                    <a:pos x="256" y="205"/>
                  </a:cxn>
                  <a:cxn ang="0">
                    <a:pos x="195" y="200"/>
                  </a:cxn>
                  <a:cxn ang="0">
                    <a:pos x="140" y="200"/>
                  </a:cxn>
                  <a:cxn ang="0">
                    <a:pos x="117" y="230"/>
                  </a:cxn>
                  <a:cxn ang="0">
                    <a:pos x="129" y="326"/>
                  </a:cxn>
                  <a:cxn ang="0">
                    <a:pos x="183" y="374"/>
                  </a:cxn>
                  <a:cxn ang="0">
                    <a:pos x="230" y="330"/>
                  </a:cxn>
                  <a:cxn ang="0">
                    <a:pos x="316" y="288"/>
                  </a:cxn>
                  <a:cxn ang="0">
                    <a:pos x="450" y="296"/>
                  </a:cxn>
                  <a:cxn ang="0">
                    <a:pos x="549" y="320"/>
                  </a:cxn>
                  <a:cxn ang="0">
                    <a:pos x="577" y="325"/>
                  </a:cxn>
                  <a:cxn ang="0">
                    <a:pos x="676" y="291"/>
                  </a:cxn>
                  <a:cxn ang="0">
                    <a:pos x="686" y="310"/>
                  </a:cxn>
                  <a:cxn ang="0">
                    <a:pos x="633" y="345"/>
                  </a:cxn>
                  <a:cxn ang="0">
                    <a:pos x="594" y="364"/>
                  </a:cxn>
                  <a:cxn ang="0">
                    <a:pos x="629" y="393"/>
                  </a:cxn>
                  <a:cxn ang="0">
                    <a:pos x="667" y="418"/>
                  </a:cxn>
                  <a:cxn ang="0">
                    <a:pos x="709" y="408"/>
                  </a:cxn>
                  <a:cxn ang="0">
                    <a:pos x="809" y="433"/>
                  </a:cxn>
                  <a:cxn ang="0">
                    <a:pos x="933" y="418"/>
                  </a:cxn>
                  <a:cxn ang="0">
                    <a:pos x="936" y="459"/>
                  </a:cxn>
                  <a:cxn ang="0">
                    <a:pos x="901" y="496"/>
                  </a:cxn>
                  <a:cxn ang="0">
                    <a:pos x="910" y="543"/>
                  </a:cxn>
                  <a:cxn ang="0">
                    <a:pos x="946" y="519"/>
                  </a:cxn>
                  <a:cxn ang="0">
                    <a:pos x="957" y="478"/>
                  </a:cxn>
                  <a:cxn ang="0">
                    <a:pos x="1017" y="485"/>
                  </a:cxn>
                  <a:cxn ang="0">
                    <a:pos x="1023" y="421"/>
                  </a:cxn>
                  <a:cxn ang="0">
                    <a:pos x="1017" y="365"/>
                  </a:cxn>
                  <a:cxn ang="0">
                    <a:pos x="1060" y="344"/>
                  </a:cxn>
                  <a:cxn ang="0">
                    <a:pos x="1110" y="380"/>
                  </a:cxn>
                  <a:cxn ang="0">
                    <a:pos x="1230" y="460"/>
                  </a:cxn>
                  <a:cxn ang="0">
                    <a:pos x="1241" y="513"/>
                  </a:cxn>
                  <a:cxn ang="0">
                    <a:pos x="1213" y="566"/>
                  </a:cxn>
                  <a:cxn ang="0">
                    <a:pos x="1241" y="631"/>
                  </a:cxn>
                  <a:cxn ang="0">
                    <a:pos x="1237" y="649"/>
                  </a:cxn>
                </a:cxnLst>
                <a:rect l="0" t="0" r="r" b="b"/>
                <a:pathLst>
                  <a:path w="1252" h="779">
                    <a:moveTo>
                      <a:pt x="1237" y="649"/>
                    </a:moveTo>
                    <a:lnTo>
                      <a:pt x="1237" y="649"/>
                    </a:lnTo>
                    <a:lnTo>
                      <a:pt x="1225" y="650"/>
                    </a:lnTo>
                    <a:lnTo>
                      <a:pt x="1215" y="651"/>
                    </a:lnTo>
                    <a:lnTo>
                      <a:pt x="1205" y="654"/>
                    </a:lnTo>
                    <a:lnTo>
                      <a:pt x="1194" y="656"/>
                    </a:lnTo>
                    <a:lnTo>
                      <a:pt x="1175" y="663"/>
                    </a:lnTo>
                    <a:lnTo>
                      <a:pt x="1156" y="672"/>
                    </a:lnTo>
                    <a:lnTo>
                      <a:pt x="1139" y="683"/>
                    </a:lnTo>
                    <a:lnTo>
                      <a:pt x="1123" y="694"/>
                    </a:lnTo>
                    <a:lnTo>
                      <a:pt x="1091" y="719"/>
                    </a:lnTo>
                    <a:lnTo>
                      <a:pt x="1075" y="732"/>
                    </a:lnTo>
                    <a:lnTo>
                      <a:pt x="1060" y="744"/>
                    </a:lnTo>
                    <a:lnTo>
                      <a:pt x="1042" y="755"/>
                    </a:lnTo>
                    <a:lnTo>
                      <a:pt x="1026" y="764"/>
                    </a:lnTo>
                    <a:lnTo>
                      <a:pt x="1008" y="771"/>
                    </a:lnTo>
                    <a:lnTo>
                      <a:pt x="999" y="775"/>
                    </a:lnTo>
                    <a:lnTo>
                      <a:pt x="989" y="777"/>
                    </a:lnTo>
                    <a:lnTo>
                      <a:pt x="979" y="778"/>
                    </a:lnTo>
                    <a:lnTo>
                      <a:pt x="969" y="779"/>
                    </a:lnTo>
                    <a:lnTo>
                      <a:pt x="958" y="779"/>
                    </a:lnTo>
                    <a:lnTo>
                      <a:pt x="948" y="778"/>
                    </a:lnTo>
                    <a:lnTo>
                      <a:pt x="948" y="778"/>
                    </a:lnTo>
                    <a:lnTo>
                      <a:pt x="928" y="770"/>
                    </a:lnTo>
                    <a:lnTo>
                      <a:pt x="893" y="754"/>
                    </a:lnTo>
                    <a:lnTo>
                      <a:pt x="785" y="702"/>
                    </a:lnTo>
                    <a:lnTo>
                      <a:pt x="724" y="672"/>
                    </a:lnTo>
                    <a:lnTo>
                      <a:pt x="664" y="642"/>
                    </a:lnTo>
                    <a:lnTo>
                      <a:pt x="611" y="615"/>
                    </a:lnTo>
                    <a:lnTo>
                      <a:pt x="569" y="591"/>
                    </a:lnTo>
                    <a:lnTo>
                      <a:pt x="569" y="591"/>
                    </a:lnTo>
                    <a:lnTo>
                      <a:pt x="560" y="585"/>
                    </a:lnTo>
                    <a:lnTo>
                      <a:pt x="552" y="578"/>
                    </a:lnTo>
                    <a:lnTo>
                      <a:pt x="537" y="562"/>
                    </a:lnTo>
                    <a:lnTo>
                      <a:pt x="508" y="528"/>
                    </a:lnTo>
                    <a:lnTo>
                      <a:pt x="501" y="521"/>
                    </a:lnTo>
                    <a:lnTo>
                      <a:pt x="493" y="515"/>
                    </a:lnTo>
                    <a:lnTo>
                      <a:pt x="487" y="509"/>
                    </a:lnTo>
                    <a:lnTo>
                      <a:pt x="478" y="504"/>
                    </a:lnTo>
                    <a:lnTo>
                      <a:pt x="470" y="502"/>
                    </a:lnTo>
                    <a:lnTo>
                      <a:pt x="462" y="500"/>
                    </a:lnTo>
                    <a:lnTo>
                      <a:pt x="453" y="501"/>
                    </a:lnTo>
                    <a:lnTo>
                      <a:pt x="444" y="503"/>
                    </a:lnTo>
                    <a:lnTo>
                      <a:pt x="444" y="503"/>
                    </a:lnTo>
                    <a:lnTo>
                      <a:pt x="423" y="510"/>
                    </a:lnTo>
                    <a:lnTo>
                      <a:pt x="403" y="516"/>
                    </a:lnTo>
                    <a:lnTo>
                      <a:pt x="382" y="519"/>
                    </a:lnTo>
                    <a:lnTo>
                      <a:pt x="360" y="521"/>
                    </a:lnTo>
                    <a:lnTo>
                      <a:pt x="337" y="524"/>
                    </a:lnTo>
                    <a:lnTo>
                      <a:pt x="314" y="524"/>
                    </a:lnTo>
                    <a:lnTo>
                      <a:pt x="264" y="525"/>
                    </a:lnTo>
                    <a:lnTo>
                      <a:pt x="264" y="525"/>
                    </a:lnTo>
                    <a:lnTo>
                      <a:pt x="251" y="524"/>
                    </a:lnTo>
                    <a:lnTo>
                      <a:pt x="239" y="524"/>
                    </a:lnTo>
                    <a:lnTo>
                      <a:pt x="228" y="521"/>
                    </a:lnTo>
                    <a:lnTo>
                      <a:pt x="217" y="519"/>
                    </a:lnTo>
                    <a:lnTo>
                      <a:pt x="208" y="515"/>
                    </a:lnTo>
                    <a:lnTo>
                      <a:pt x="200" y="509"/>
                    </a:lnTo>
                    <a:lnTo>
                      <a:pt x="193" y="502"/>
                    </a:lnTo>
                    <a:lnTo>
                      <a:pt x="187" y="492"/>
                    </a:lnTo>
                    <a:lnTo>
                      <a:pt x="187" y="492"/>
                    </a:lnTo>
                    <a:lnTo>
                      <a:pt x="179" y="493"/>
                    </a:lnTo>
                    <a:lnTo>
                      <a:pt x="171" y="494"/>
                    </a:lnTo>
                    <a:lnTo>
                      <a:pt x="156" y="501"/>
                    </a:lnTo>
                    <a:lnTo>
                      <a:pt x="140" y="507"/>
                    </a:lnTo>
                    <a:lnTo>
                      <a:pt x="133" y="509"/>
                    </a:lnTo>
                    <a:lnTo>
                      <a:pt x="125" y="510"/>
                    </a:lnTo>
                    <a:lnTo>
                      <a:pt x="125" y="510"/>
                    </a:lnTo>
                    <a:lnTo>
                      <a:pt x="121" y="509"/>
                    </a:lnTo>
                    <a:lnTo>
                      <a:pt x="116" y="508"/>
                    </a:lnTo>
                    <a:lnTo>
                      <a:pt x="113" y="507"/>
                    </a:lnTo>
                    <a:lnTo>
                      <a:pt x="109" y="504"/>
                    </a:lnTo>
                    <a:lnTo>
                      <a:pt x="103" y="497"/>
                    </a:lnTo>
                    <a:lnTo>
                      <a:pt x="99" y="489"/>
                    </a:lnTo>
                    <a:lnTo>
                      <a:pt x="92" y="470"/>
                    </a:lnTo>
                    <a:lnTo>
                      <a:pt x="88" y="459"/>
                    </a:lnTo>
                    <a:lnTo>
                      <a:pt x="85" y="451"/>
                    </a:lnTo>
                    <a:lnTo>
                      <a:pt x="85" y="451"/>
                    </a:lnTo>
                    <a:lnTo>
                      <a:pt x="80" y="441"/>
                    </a:lnTo>
                    <a:lnTo>
                      <a:pt x="75" y="432"/>
                    </a:lnTo>
                    <a:lnTo>
                      <a:pt x="62" y="414"/>
                    </a:lnTo>
                    <a:lnTo>
                      <a:pt x="35" y="383"/>
                    </a:lnTo>
                    <a:lnTo>
                      <a:pt x="22" y="366"/>
                    </a:lnTo>
                    <a:lnTo>
                      <a:pt x="16" y="357"/>
                    </a:lnTo>
                    <a:lnTo>
                      <a:pt x="11" y="348"/>
                    </a:lnTo>
                    <a:lnTo>
                      <a:pt x="7" y="336"/>
                    </a:lnTo>
                    <a:lnTo>
                      <a:pt x="3" y="325"/>
                    </a:lnTo>
                    <a:lnTo>
                      <a:pt x="1" y="311"/>
                    </a:lnTo>
                    <a:lnTo>
                      <a:pt x="0" y="297"/>
                    </a:lnTo>
                    <a:lnTo>
                      <a:pt x="0" y="297"/>
                    </a:lnTo>
                    <a:lnTo>
                      <a:pt x="9" y="290"/>
                    </a:lnTo>
                    <a:lnTo>
                      <a:pt x="16" y="286"/>
                    </a:lnTo>
                    <a:lnTo>
                      <a:pt x="23" y="283"/>
                    </a:lnTo>
                    <a:lnTo>
                      <a:pt x="27" y="282"/>
                    </a:lnTo>
                    <a:lnTo>
                      <a:pt x="34" y="283"/>
                    </a:lnTo>
                    <a:lnTo>
                      <a:pt x="37" y="283"/>
                    </a:lnTo>
                    <a:lnTo>
                      <a:pt x="37" y="282"/>
                    </a:lnTo>
                    <a:lnTo>
                      <a:pt x="37" y="282"/>
                    </a:lnTo>
                    <a:lnTo>
                      <a:pt x="52" y="271"/>
                    </a:lnTo>
                    <a:lnTo>
                      <a:pt x="61" y="261"/>
                    </a:lnTo>
                    <a:lnTo>
                      <a:pt x="64" y="257"/>
                    </a:lnTo>
                    <a:lnTo>
                      <a:pt x="67" y="252"/>
                    </a:lnTo>
                    <a:lnTo>
                      <a:pt x="68" y="248"/>
                    </a:lnTo>
                    <a:lnTo>
                      <a:pt x="68" y="243"/>
                    </a:lnTo>
                    <a:lnTo>
                      <a:pt x="67" y="236"/>
                    </a:lnTo>
                    <a:lnTo>
                      <a:pt x="64" y="228"/>
                    </a:lnTo>
                    <a:lnTo>
                      <a:pt x="60" y="221"/>
                    </a:lnTo>
                    <a:lnTo>
                      <a:pt x="55" y="214"/>
                    </a:lnTo>
                    <a:lnTo>
                      <a:pt x="50" y="206"/>
                    </a:lnTo>
                    <a:lnTo>
                      <a:pt x="47" y="199"/>
                    </a:lnTo>
                    <a:lnTo>
                      <a:pt x="45" y="191"/>
                    </a:lnTo>
                    <a:lnTo>
                      <a:pt x="45" y="188"/>
                    </a:lnTo>
                    <a:lnTo>
                      <a:pt x="45" y="183"/>
                    </a:lnTo>
                    <a:lnTo>
                      <a:pt x="46" y="179"/>
                    </a:lnTo>
                    <a:lnTo>
                      <a:pt x="48" y="174"/>
                    </a:lnTo>
                    <a:lnTo>
                      <a:pt x="52" y="169"/>
                    </a:lnTo>
                    <a:lnTo>
                      <a:pt x="55" y="165"/>
                    </a:lnTo>
                    <a:lnTo>
                      <a:pt x="68" y="154"/>
                    </a:lnTo>
                    <a:lnTo>
                      <a:pt x="85" y="142"/>
                    </a:lnTo>
                    <a:lnTo>
                      <a:pt x="85" y="142"/>
                    </a:lnTo>
                    <a:lnTo>
                      <a:pt x="119" y="120"/>
                    </a:lnTo>
                    <a:lnTo>
                      <a:pt x="132" y="111"/>
                    </a:lnTo>
                    <a:lnTo>
                      <a:pt x="142" y="101"/>
                    </a:lnTo>
                    <a:lnTo>
                      <a:pt x="151" y="95"/>
                    </a:lnTo>
                    <a:lnTo>
                      <a:pt x="157" y="86"/>
                    </a:lnTo>
                    <a:lnTo>
                      <a:pt x="162" y="80"/>
                    </a:lnTo>
                    <a:lnTo>
                      <a:pt x="164" y="73"/>
                    </a:lnTo>
                    <a:lnTo>
                      <a:pt x="167" y="66"/>
                    </a:lnTo>
                    <a:lnTo>
                      <a:pt x="167" y="59"/>
                    </a:lnTo>
                    <a:lnTo>
                      <a:pt x="167" y="45"/>
                    </a:lnTo>
                    <a:lnTo>
                      <a:pt x="165" y="28"/>
                    </a:lnTo>
                    <a:lnTo>
                      <a:pt x="164" y="6"/>
                    </a:lnTo>
                    <a:lnTo>
                      <a:pt x="164" y="6"/>
                    </a:lnTo>
                    <a:lnTo>
                      <a:pt x="165" y="2"/>
                    </a:lnTo>
                    <a:lnTo>
                      <a:pt x="167" y="0"/>
                    </a:lnTo>
                    <a:lnTo>
                      <a:pt x="169" y="0"/>
                    </a:lnTo>
                    <a:lnTo>
                      <a:pt x="172" y="2"/>
                    </a:lnTo>
                    <a:lnTo>
                      <a:pt x="180" y="12"/>
                    </a:lnTo>
                    <a:lnTo>
                      <a:pt x="191" y="26"/>
                    </a:lnTo>
                    <a:lnTo>
                      <a:pt x="205" y="42"/>
                    </a:lnTo>
                    <a:lnTo>
                      <a:pt x="220" y="59"/>
                    </a:lnTo>
                    <a:lnTo>
                      <a:pt x="236" y="75"/>
                    </a:lnTo>
                    <a:lnTo>
                      <a:pt x="244" y="82"/>
                    </a:lnTo>
                    <a:lnTo>
                      <a:pt x="253" y="88"/>
                    </a:lnTo>
                    <a:lnTo>
                      <a:pt x="253" y="88"/>
                    </a:lnTo>
                    <a:lnTo>
                      <a:pt x="259" y="104"/>
                    </a:lnTo>
                    <a:lnTo>
                      <a:pt x="263" y="124"/>
                    </a:lnTo>
                    <a:lnTo>
                      <a:pt x="266" y="147"/>
                    </a:lnTo>
                    <a:lnTo>
                      <a:pt x="267" y="159"/>
                    </a:lnTo>
                    <a:lnTo>
                      <a:pt x="267" y="170"/>
                    </a:lnTo>
                    <a:lnTo>
                      <a:pt x="266" y="181"/>
                    </a:lnTo>
                    <a:lnTo>
                      <a:pt x="263" y="190"/>
                    </a:lnTo>
                    <a:lnTo>
                      <a:pt x="261" y="199"/>
                    </a:lnTo>
                    <a:lnTo>
                      <a:pt x="256" y="205"/>
                    </a:lnTo>
                    <a:lnTo>
                      <a:pt x="252" y="211"/>
                    </a:lnTo>
                    <a:lnTo>
                      <a:pt x="245" y="213"/>
                    </a:lnTo>
                    <a:lnTo>
                      <a:pt x="237" y="214"/>
                    </a:lnTo>
                    <a:lnTo>
                      <a:pt x="228" y="212"/>
                    </a:lnTo>
                    <a:lnTo>
                      <a:pt x="228" y="212"/>
                    </a:lnTo>
                    <a:lnTo>
                      <a:pt x="210" y="205"/>
                    </a:lnTo>
                    <a:lnTo>
                      <a:pt x="195" y="200"/>
                    </a:lnTo>
                    <a:lnTo>
                      <a:pt x="183" y="197"/>
                    </a:lnTo>
                    <a:lnTo>
                      <a:pt x="172" y="195"/>
                    </a:lnTo>
                    <a:lnTo>
                      <a:pt x="163" y="195"/>
                    </a:lnTo>
                    <a:lnTo>
                      <a:pt x="155" y="195"/>
                    </a:lnTo>
                    <a:lnTo>
                      <a:pt x="149" y="196"/>
                    </a:lnTo>
                    <a:lnTo>
                      <a:pt x="145" y="198"/>
                    </a:lnTo>
                    <a:lnTo>
                      <a:pt x="140" y="200"/>
                    </a:lnTo>
                    <a:lnTo>
                      <a:pt x="137" y="204"/>
                    </a:lnTo>
                    <a:lnTo>
                      <a:pt x="130" y="210"/>
                    </a:lnTo>
                    <a:lnTo>
                      <a:pt x="123" y="215"/>
                    </a:lnTo>
                    <a:lnTo>
                      <a:pt x="118" y="218"/>
                    </a:lnTo>
                    <a:lnTo>
                      <a:pt x="114" y="220"/>
                    </a:lnTo>
                    <a:lnTo>
                      <a:pt x="114" y="220"/>
                    </a:lnTo>
                    <a:lnTo>
                      <a:pt x="117" y="230"/>
                    </a:lnTo>
                    <a:lnTo>
                      <a:pt x="122" y="241"/>
                    </a:lnTo>
                    <a:lnTo>
                      <a:pt x="125" y="256"/>
                    </a:lnTo>
                    <a:lnTo>
                      <a:pt x="129" y="272"/>
                    </a:lnTo>
                    <a:lnTo>
                      <a:pt x="131" y="290"/>
                    </a:lnTo>
                    <a:lnTo>
                      <a:pt x="131" y="309"/>
                    </a:lnTo>
                    <a:lnTo>
                      <a:pt x="130" y="318"/>
                    </a:lnTo>
                    <a:lnTo>
                      <a:pt x="129" y="326"/>
                    </a:lnTo>
                    <a:lnTo>
                      <a:pt x="129" y="326"/>
                    </a:lnTo>
                    <a:lnTo>
                      <a:pt x="138" y="334"/>
                    </a:lnTo>
                    <a:lnTo>
                      <a:pt x="147" y="344"/>
                    </a:lnTo>
                    <a:lnTo>
                      <a:pt x="165" y="363"/>
                    </a:lnTo>
                    <a:lnTo>
                      <a:pt x="175" y="370"/>
                    </a:lnTo>
                    <a:lnTo>
                      <a:pt x="179" y="372"/>
                    </a:lnTo>
                    <a:lnTo>
                      <a:pt x="183" y="374"/>
                    </a:lnTo>
                    <a:lnTo>
                      <a:pt x="187" y="374"/>
                    </a:lnTo>
                    <a:lnTo>
                      <a:pt x="191" y="373"/>
                    </a:lnTo>
                    <a:lnTo>
                      <a:pt x="194" y="371"/>
                    </a:lnTo>
                    <a:lnTo>
                      <a:pt x="198" y="367"/>
                    </a:lnTo>
                    <a:lnTo>
                      <a:pt x="198" y="367"/>
                    </a:lnTo>
                    <a:lnTo>
                      <a:pt x="214" y="347"/>
                    </a:lnTo>
                    <a:lnTo>
                      <a:pt x="230" y="330"/>
                    </a:lnTo>
                    <a:lnTo>
                      <a:pt x="244" y="317"/>
                    </a:lnTo>
                    <a:lnTo>
                      <a:pt x="256" y="306"/>
                    </a:lnTo>
                    <a:lnTo>
                      <a:pt x="269" y="298"/>
                    </a:lnTo>
                    <a:lnTo>
                      <a:pt x="282" y="294"/>
                    </a:lnTo>
                    <a:lnTo>
                      <a:pt x="293" y="290"/>
                    </a:lnTo>
                    <a:lnTo>
                      <a:pt x="305" y="288"/>
                    </a:lnTo>
                    <a:lnTo>
                      <a:pt x="316" y="288"/>
                    </a:lnTo>
                    <a:lnTo>
                      <a:pt x="329" y="288"/>
                    </a:lnTo>
                    <a:lnTo>
                      <a:pt x="355" y="291"/>
                    </a:lnTo>
                    <a:lnTo>
                      <a:pt x="386" y="295"/>
                    </a:lnTo>
                    <a:lnTo>
                      <a:pt x="404" y="296"/>
                    </a:lnTo>
                    <a:lnTo>
                      <a:pt x="422" y="297"/>
                    </a:lnTo>
                    <a:lnTo>
                      <a:pt x="422" y="297"/>
                    </a:lnTo>
                    <a:lnTo>
                      <a:pt x="450" y="296"/>
                    </a:lnTo>
                    <a:lnTo>
                      <a:pt x="482" y="295"/>
                    </a:lnTo>
                    <a:lnTo>
                      <a:pt x="513" y="292"/>
                    </a:lnTo>
                    <a:lnTo>
                      <a:pt x="536" y="289"/>
                    </a:lnTo>
                    <a:lnTo>
                      <a:pt x="536" y="289"/>
                    </a:lnTo>
                    <a:lnTo>
                      <a:pt x="541" y="302"/>
                    </a:lnTo>
                    <a:lnTo>
                      <a:pt x="544" y="312"/>
                    </a:lnTo>
                    <a:lnTo>
                      <a:pt x="549" y="320"/>
                    </a:lnTo>
                    <a:lnTo>
                      <a:pt x="553" y="326"/>
                    </a:lnTo>
                    <a:lnTo>
                      <a:pt x="558" y="329"/>
                    </a:lnTo>
                    <a:lnTo>
                      <a:pt x="561" y="332"/>
                    </a:lnTo>
                    <a:lnTo>
                      <a:pt x="566" y="332"/>
                    </a:lnTo>
                    <a:lnTo>
                      <a:pt x="569" y="330"/>
                    </a:lnTo>
                    <a:lnTo>
                      <a:pt x="574" y="328"/>
                    </a:lnTo>
                    <a:lnTo>
                      <a:pt x="577" y="325"/>
                    </a:lnTo>
                    <a:lnTo>
                      <a:pt x="585" y="315"/>
                    </a:lnTo>
                    <a:lnTo>
                      <a:pt x="592" y="303"/>
                    </a:lnTo>
                    <a:lnTo>
                      <a:pt x="598" y="289"/>
                    </a:lnTo>
                    <a:lnTo>
                      <a:pt x="598" y="289"/>
                    </a:lnTo>
                    <a:lnTo>
                      <a:pt x="657" y="289"/>
                    </a:lnTo>
                    <a:lnTo>
                      <a:pt x="657" y="289"/>
                    </a:lnTo>
                    <a:lnTo>
                      <a:pt x="676" y="291"/>
                    </a:lnTo>
                    <a:lnTo>
                      <a:pt x="689" y="294"/>
                    </a:lnTo>
                    <a:lnTo>
                      <a:pt x="698" y="296"/>
                    </a:lnTo>
                    <a:lnTo>
                      <a:pt x="702" y="298"/>
                    </a:lnTo>
                    <a:lnTo>
                      <a:pt x="702" y="299"/>
                    </a:lnTo>
                    <a:lnTo>
                      <a:pt x="702" y="301"/>
                    </a:lnTo>
                    <a:lnTo>
                      <a:pt x="698" y="303"/>
                    </a:lnTo>
                    <a:lnTo>
                      <a:pt x="686" y="310"/>
                    </a:lnTo>
                    <a:lnTo>
                      <a:pt x="667" y="318"/>
                    </a:lnTo>
                    <a:lnTo>
                      <a:pt x="658" y="322"/>
                    </a:lnTo>
                    <a:lnTo>
                      <a:pt x="649" y="327"/>
                    </a:lnTo>
                    <a:lnTo>
                      <a:pt x="642" y="333"/>
                    </a:lnTo>
                    <a:lnTo>
                      <a:pt x="635" y="339"/>
                    </a:lnTo>
                    <a:lnTo>
                      <a:pt x="634" y="342"/>
                    </a:lnTo>
                    <a:lnTo>
                      <a:pt x="633" y="345"/>
                    </a:lnTo>
                    <a:lnTo>
                      <a:pt x="632" y="349"/>
                    </a:lnTo>
                    <a:lnTo>
                      <a:pt x="632" y="352"/>
                    </a:lnTo>
                    <a:lnTo>
                      <a:pt x="632" y="352"/>
                    </a:lnTo>
                    <a:lnTo>
                      <a:pt x="610" y="357"/>
                    </a:lnTo>
                    <a:lnTo>
                      <a:pt x="603" y="359"/>
                    </a:lnTo>
                    <a:lnTo>
                      <a:pt x="597" y="362"/>
                    </a:lnTo>
                    <a:lnTo>
                      <a:pt x="594" y="364"/>
                    </a:lnTo>
                    <a:lnTo>
                      <a:pt x="591" y="367"/>
                    </a:lnTo>
                    <a:lnTo>
                      <a:pt x="591" y="370"/>
                    </a:lnTo>
                    <a:lnTo>
                      <a:pt x="592" y="373"/>
                    </a:lnTo>
                    <a:lnTo>
                      <a:pt x="596" y="376"/>
                    </a:lnTo>
                    <a:lnTo>
                      <a:pt x="600" y="379"/>
                    </a:lnTo>
                    <a:lnTo>
                      <a:pt x="612" y="386"/>
                    </a:lnTo>
                    <a:lnTo>
                      <a:pt x="629" y="393"/>
                    </a:lnTo>
                    <a:lnTo>
                      <a:pt x="650" y="399"/>
                    </a:lnTo>
                    <a:lnTo>
                      <a:pt x="650" y="399"/>
                    </a:lnTo>
                    <a:lnTo>
                      <a:pt x="653" y="402"/>
                    </a:lnTo>
                    <a:lnTo>
                      <a:pt x="657" y="404"/>
                    </a:lnTo>
                    <a:lnTo>
                      <a:pt x="661" y="410"/>
                    </a:lnTo>
                    <a:lnTo>
                      <a:pt x="665" y="416"/>
                    </a:lnTo>
                    <a:lnTo>
                      <a:pt x="667" y="418"/>
                    </a:lnTo>
                    <a:lnTo>
                      <a:pt x="669" y="420"/>
                    </a:lnTo>
                    <a:lnTo>
                      <a:pt x="674" y="421"/>
                    </a:lnTo>
                    <a:lnTo>
                      <a:pt x="678" y="421"/>
                    </a:lnTo>
                    <a:lnTo>
                      <a:pt x="683" y="420"/>
                    </a:lnTo>
                    <a:lnTo>
                      <a:pt x="690" y="418"/>
                    </a:lnTo>
                    <a:lnTo>
                      <a:pt x="698" y="413"/>
                    </a:lnTo>
                    <a:lnTo>
                      <a:pt x="709" y="408"/>
                    </a:lnTo>
                    <a:lnTo>
                      <a:pt x="735" y="389"/>
                    </a:lnTo>
                    <a:lnTo>
                      <a:pt x="735" y="389"/>
                    </a:lnTo>
                    <a:lnTo>
                      <a:pt x="758" y="408"/>
                    </a:lnTo>
                    <a:lnTo>
                      <a:pt x="780" y="420"/>
                    </a:lnTo>
                    <a:lnTo>
                      <a:pt x="789" y="426"/>
                    </a:lnTo>
                    <a:lnTo>
                      <a:pt x="798" y="431"/>
                    </a:lnTo>
                    <a:lnTo>
                      <a:pt x="809" y="433"/>
                    </a:lnTo>
                    <a:lnTo>
                      <a:pt x="819" y="435"/>
                    </a:lnTo>
                    <a:lnTo>
                      <a:pt x="829" y="436"/>
                    </a:lnTo>
                    <a:lnTo>
                      <a:pt x="840" y="436"/>
                    </a:lnTo>
                    <a:lnTo>
                      <a:pt x="852" y="435"/>
                    </a:lnTo>
                    <a:lnTo>
                      <a:pt x="865" y="434"/>
                    </a:lnTo>
                    <a:lnTo>
                      <a:pt x="895" y="427"/>
                    </a:lnTo>
                    <a:lnTo>
                      <a:pt x="933" y="418"/>
                    </a:lnTo>
                    <a:lnTo>
                      <a:pt x="933" y="418"/>
                    </a:lnTo>
                    <a:lnTo>
                      <a:pt x="938" y="428"/>
                    </a:lnTo>
                    <a:lnTo>
                      <a:pt x="941" y="436"/>
                    </a:lnTo>
                    <a:lnTo>
                      <a:pt x="942" y="443"/>
                    </a:lnTo>
                    <a:lnTo>
                      <a:pt x="941" y="449"/>
                    </a:lnTo>
                    <a:lnTo>
                      <a:pt x="940" y="455"/>
                    </a:lnTo>
                    <a:lnTo>
                      <a:pt x="936" y="459"/>
                    </a:lnTo>
                    <a:lnTo>
                      <a:pt x="933" y="464"/>
                    </a:lnTo>
                    <a:lnTo>
                      <a:pt x="928" y="467"/>
                    </a:lnTo>
                    <a:lnTo>
                      <a:pt x="919" y="474"/>
                    </a:lnTo>
                    <a:lnTo>
                      <a:pt x="910" y="481"/>
                    </a:lnTo>
                    <a:lnTo>
                      <a:pt x="905" y="486"/>
                    </a:lnTo>
                    <a:lnTo>
                      <a:pt x="903" y="490"/>
                    </a:lnTo>
                    <a:lnTo>
                      <a:pt x="901" y="496"/>
                    </a:lnTo>
                    <a:lnTo>
                      <a:pt x="900" y="503"/>
                    </a:lnTo>
                    <a:lnTo>
                      <a:pt x="900" y="503"/>
                    </a:lnTo>
                    <a:lnTo>
                      <a:pt x="900" y="516"/>
                    </a:lnTo>
                    <a:lnTo>
                      <a:pt x="901" y="526"/>
                    </a:lnTo>
                    <a:lnTo>
                      <a:pt x="903" y="534"/>
                    </a:lnTo>
                    <a:lnTo>
                      <a:pt x="907" y="540"/>
                    </a:lnTo>
                    <a:lnTo>
                      <a:pt x="910" y="543"/>
                    </a:lnTo>
                    <a:lnTo>
                      <a:pt x="916" y="544"/>
                    </a:lnTo>
                    <a:lnTo>
                      <a:pt x="920" y="543"/>
                    </a:lnTo>
                    <a:lnTo>
                      <a:pt x="926" y="541"/>
                    </a:lnTo>
                    <a:lnTo>
                      <a:pt x="932" y="538"/>
                    </a:lnTo>
                    <a:lnTo>
                      <a:pt x="936" y="533"/>
                    </a:lnTo>
                    <a:lnTo>
                      <a:pt x="941" y="527"/>
                    </a:lnTo>
                    <a:lnTo>
                      <a:pt x="946" y="519"/>
                    </a:lnTo>
                    <a:lnTo>
                      <a:pt x="948" y="511"/>
                    </a:lnTo>
                    <a:lnTo>
                      <a:pt x="949" y="503"/>
                    </a:lnTo>
                    <a:lnTo>
                      <a:pt x="949" y="494"/>
                    </a:lnTo>
                    <a:lnTo>
                      <a:pt x="948" y="483"/>
                    </a:lnTo>
                    <a:lnTo>
                      <a:pt x="948" y="483"/>
                    </a:lnTo>
                    <a:lnTo>
                      <a:pt x="951" y="480"/>
                    </a:lnTo>
                    <a:lnTo>
                      <a:pt x="957" y="478"/>
                    </a:lnTo>
                    <a:lnTo>
                      <a:pt x="963" y="478"/>
                    </a:lnTo>
                    <a:lnTo>
                      <a:pt x="970" y="479"/>
                    </a:lnTo>
                    <a:lnTo>
                      <a:pt x="985" y="483"/>
                    </a:lnTo>
                    <a:lnTo>
                      <a:pt x="1000" y="487"/>
                    </a:lnTo>
                    <a:lnTo>
                      <a:pt x="1005" y="488"/>
                    </a:lnTo>
                    <a:lnTo>
                      <a:pt x="1012" y="488"/>
                    </a:lnTo>
                    <a:lnTo>
                      <a:pt x="1017" y="485"/>
                    </a:lnTo>
                    <a:lnTo>
                      <a:pt x="1022" y="480"/>
                    </a:lnTo>
                    <a:lnTo>
                      <a:pt x="1024" y="472"/>
                    </a:lnTo>
                    <a:lnTo>
                      <a:pt x="1025" y="460"/>
                    </a:lnTo>
                    <a:lnTo>
                      <a:pt x="1024" y="444"/>
                    </a:lnTo>
                    <a:lnTo>
                      <a:pt x="1020" y="425"/>
                    </a:lnTo>
                    <a:lnTo>
                      <a:pt x="1020" y="425"/>
                    </a:lnTo>
                    <a:lnTo>
                      <a:pt x="1023" y="421"/>
                    </a:lnTo>
                    <a:lnTo>
                      <a:pt x="1024" y="417"/>
                    </a:lnTo>
                    <a:lnTo>
                      <a:pt x="1023" y="406"/>
                    </a:lnTo>
                    <a:lnTo>
                      <a:pt x="1022" y="396"/>
                    </a:lnTo>
                    <a:lnTo>
                      <a:pt x="1019" y="387"/>
                    </a:lnTo>
                    <a:lnTo>
                      <a:pt x="1017" y="376"/>
                    </a:lnTo>
                    <a:lnTo>
                      <a:pt x="1016" y="368"/>
                    </a:lnTo>
                    <a:lnTo>
                      <a:pt x="1017" y="365"/>
                    </a:lnTo>
                    <a:lnTo>
                      <a:pt x="1018" y="362"/>
                    </a:lnTo>
                    <a:lnTo>
                      <a:pt x="1020" y="358"/>
                    </a:lnTo>
                    <a:lnTo>
                      <a:pt x="1025" y="356"/>
                    </a:lnTo>
                    <a:lnTo>
                      <a:pt x="1025" y="356"/>
                    </a:lnTo>
                    <a:lnTo>
                      <a:pt x="1035" y="351"/>
                    </a:lnTo>
                    <a:lnTo>
                      <a:pt x="1046" y="348"/>
                    </a:lnTo>
                    <a:lnTo>
                      <a:pt x="1060" y="344"/>
                    </a:lnTo>
                    <a:lnTo>
                      <a:pt x="1069" y="344"/>
                    </a:lnTo>
                    <a:lnTo>
                      <a:pt x="1071" y="344"/>
                    </a:lnTo>
                    <a:lnTo>
                      <a:pt x="1071" y="344"/>
                    </a:lnTo>
                    <a:lnTo>
                      <a:pt x="1079" y="355"/>
                    </a:lnTo>
                    <a:lnTo>
                      <a:pt x="1088" y="364"/>
                    </a:lnTo>
                    <a:lnTo>
                      <a:pt x="1099" y="372"/>
                    </a:lnTo>
                    <a:lnTo>
                      <a:pt x="1110" y="380"/>
                    </a:lnTo>
                    <a:lnTo>
                      <a:pt x="1133" y="395"/>
                    </a:lnTo>
                    <a:lnTo>
                      <a:pt x="1157" y="409"/>
                    </a:lnTo>
                    <a:lnTo>
                      <a:pt x="1180" y="421"/>
                    </a:lnTo>
                    <a:lnTo>
                      <a:pt x="1203" y="436"/>
                    </a:lnTo>
                    <a:lnTo>
                      <a:pt x="1213" y="443"/>
                    </a:lnTo>
                    <a:lnTo>
                      <a:pt x="1222" y="451"/>
                    </a:lnTo>
                    <a:lnTo>
                      <a:pt x="1230" y="460"/>
                    </a:lnTo>
                    <a:lnTo>
                      <a:pt x="1237" y="470"/>
                    </a:lnTo>
                    <a:lnTo>
                      <a:pt x="1237" y="470"/>
                    </a:lnTo>
                    <a:lnTo>
                      <a:pt x="1245" y="485"/>
                    </a:lnTo>
                    <a:lnTo>
                      <a:pt x="1252" y="498"/>
                    </a:lnTo>
                    <a:lnTo>
                      <a:pt x="1252" y="498"/>
                    </a:lnTo>
                    <a:lnTo>
                      <a:pt x="1247" y="507"/>
                    </a:lnTo>
                    <a:lnTo>
                      <a:pt x="1241" y="513"/>
                    </a:lnTo>
                    <a:lnTo>
                      <a:pt x="1228" y="527"/>
                    </a:lnTo>
                    <a:lnTo>
                      <a:pt x="1222" y="534"/>
                    </a:lnTo>
                    <a:lnTo>
                      <a:pt x="1216" y="541"/>
                    </a:lnTo>
                    <a:lnTo>
                      <a:pt x="1213" y="548"/>
                    </a:lnTo>
                    <a:lnTo>
                      <a:pt x="1211" y="557"/>
                    </a:lnTo>
                    <a:lnTo>
                      <a:pt x="1211" y="557"/>
                    </a:lnTo>
                    <a:lnTo>
                      <a:pt x="1213" y="566"/>
                    </a:lnTo>
                    <a:lnTo>
                      <a:pt x="1216" y="576"/>
                    </a:lnTo>
                    <a:lnTo>
                      <a:pt x="1221" y="584"/>
                    </a:lnTo>
                    <a:lnTo>
                      <a:pt x="1226" y="592"/>
                    </a:lnTo>
                    <a:lnTo>
                      <a:pt x="1231" y="600"/>
                    </a:lnTo>
                    <a:lnTo>
                      <a:pt x="1237" y="609"/>
                    </a:lnTo>
                    <a:lnTo>
                      <a:pt x="1239" y="619"/>
                    </a:lnTo>
                    <a:lnTo>
                      <a:pt x="1241" y="631"/>
                    </a:lnTo>
                    <a:lnTo>
                      <a:pt x="1241" y="631"/>
                    </a:lnTo>
                    <a:lnTo>
                      <a:pt x="1240" y="639"/>
                    </a:lnTo>
                    <a:lnTo>
                      <a:pt x="1239" y="646"/>
                    </a:lnTo>
                    <a:lnTo>
                      <a:pt x="1236" y="651"/>
                    </a:lnTo>
                    <a:lnTo>
                      <a:pt x="1233" y="657"/>
                    </a:lnTo>
                    <a:lnTo>
                      <a:pt x="1233" y="657"/>
                    </a:lnTo>
                    <a:lnTo>
                      <a:pt x="1237" y="649"/>
                    </a:lnTo>
                    <a:lnTo>
                      <a:pt x="1237" y="64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7" name="Freeform 135"/>
              <p:cNvSpPr>
                <a:spLocks noChangeAspect="1"/>
              </p:cNvSpPr>
              <p:nvPr/>
            </p:nvSpPr>
            <p:spPr bwMode="auto">
              <a:xfrm>
                <a:off x="6932536" y="1080526"/>
                <a:ext cx="1117502" cy="1283038"/>
              </a:xfrm>
              <a:custGeom>
                <a:avLst/>
                <a:gdLst/>
                <a:ahLst/>
                <a:cxnLst>
                  <a:cxn ang="0">
                    <a:pos x="672" y="1636"/>
                  </a:cxn>
                  <a:cxn ang="0">
                    <a:pos x="714" y="1590"/>
                  </a:cxn>
                  <a:cxn ang="0">
                    <a:pos x="805" y="1495"/>
                  </a:cxn>
                  <a:cxn ang="0">
                    <a:pos x="957" y="1401"/>
                  </a:cxn>
                  <a:cxn ang="0">
                    <a:pos x="1008" y="1419"/>
                  </a:cxn>
                  <a:cxn ang="0">
                    <a:pos x="1066" y="1488"/>
                  </a:cxn>
                  <a:cxn ang="0">
                    <a:pos x="1205" y="1440"/>
                  </a:cxn>
                  <a:cxn ang="0">
                    <a:pos x="1237" y="1332"/>
                  </a:cxn>
                  <a:cxn ang="0">
                    <a:pos x="1273" y="1201"/>
                  </a:cxn>
                  <a:cxn ang="0">
                    <a:pos x="1339" y="1189"/>
                  </a:cxn>
                  <a:cxn ang="0">
                    <a:pos x="1326" y="975"/>
                  </a:cxn>
                  <a:cxn ang="0">
                    <a:pos x="1410" y="867"/>
                  </a:cxn>
                  <a:cxn ang="0">
                    <a:pos x="1380" y="802"/>
                  </a:cxn>
                  <a:cxn ang="0">
                    <a:pos x="1245" y="797"/>
                  </a:cxn>
                  <a:cxn ang="0">
                    <a:pos x="1066" y="863"/>
                  </a:cxn>
                  <a:cxn ang="0">
                    <a:pos x="984" y="898"/>
                  </a:cxn>
                  <a:cxn ang="0">
                    <a:pos x="1021" y="834"/>
                  </a:cxn>
                  <a:cxn ang="0">
                    <a:pos x="1073" y="739"/>
                  </a:cxn>
                  <a:cxn ang="0">
                    <a:pos x="1019" y="626"/>
                  </a:cxn>
                  <a:cxn ang="0">
                    <a:pos x="891" y="591"/>
                  </a:cxn>
                  <a:cxn ang="0">
                    <a:pos x="897" y="540"/>
                  </a:cxn>
                  <a:cxn ang="0">
                    <a:pos x="1015" y="517"/>
                  </a:cxn>
                  <a:cxn ang="0">
                    <a:pos x="1015" y="419"/>
                  </a:cxn>
                  <a:cxn ang="0">
                    <a:pos x="1106" y="403"/>
                  </a:cxn>
                  <a:cxn ang="0">
                    <a:pos x="1175" y="326"/>
                  </a:cxn>
                  <a:cxn ang="0">
                    <a:pos x="1262" y="254"/>
                  </a:cxn>
                  <a:cxn ang="0">
                    <a:pos x="1221" y="212"/>
                  </a:cxn>
                  <a:cxn ang="0">
                    <a:pos x="1140" y="168"/>
                  </a:cxn>
                  <a:cxn ang="0">
                    <a:pos x="1062" y="181"/>
                  </a:cxn>
                  <a:cxn ang="0">
                    <a:pos x="1088" y="82"/>
                  </a:cxn>
                  <a:cxn ang="0">
                    <a:pos x="1022" y="0"/>
                  </a:cxn>
                  <a:cxn ang="0">
                    <a:pos x="848" y="149"/>
                  </a:cxn>
                  <a:cxn ang="0">
                    <a:pos x="928" y="219"/>
                  </a:cxn>
                  <a:cxn ang="0">
                    <a:pos x="921" y="288"/>
                  </a:cxn>
                  <a:cxn ang="0">
                    <a:pos x="800" y="262"/>
                  </a:cxn>
                  <a:cxn ang="0">
                    <a:pos x="595" y="384"/>
                  </a:cxn>
                  <a:cxn ang="0">
                    <a:pos x="317" y="610"/>
                  </a:cxn>
                  <a:cxn ang="0">
                    <a:pos x="151" y="898"/>
                  </a:cxn>
                  <a:cxn ang="0">
                    <a:pos x="217" y="959"/>
                  </a:cxn>
                  <a:cxn ang="0">
                    <a:pos x="304" y="972"/>
                  </a:cxn>
                  <a:cxn ang="0">
                    <a:pos x="300" y="1052"/>
                  </a:cxn>
                  <a:cxn ang="0">
                    <a:pos x="225" y="1069"/>
                  </a:cxn>
                  <a:cxn ang="0">
                    <a:pos x="133" y="1059"/>
                  </a:cxn>
                  <a:cxn ang="0">
                    <a:pos x="122" y="1153"/>
                  </a:cxn>
                  <a:cxn ang="0">
                    <a:pos x="33" y="1266"/>
                  </a:cxn>
                  <a:cxn ang="0">
                    <a:pos x="4" y="1361"/>
                  </a:cxn>
                  <a:cxn ang="0">
                    <a:pos x="51" y="1366"/>
                  </a:cxn>
                  <a:cxn ang="0">
                    <a:pos x="162" y="1447"/>
                  </a:cxn>
                  <a:cxn ang="0">
                    <a:pos x="135" y="1516"/>
                  </a:cxn>
                  <a:cxn ang="0">
                    <a:pos x="92" y="1621"/>
                  </a:cxn>
                  <a:cxn ang="0">
                    <a:pos x="94" y="1698"/>
                  </a:cxn>
                  <a:cxn ang="0">
                    <a:pos x="126" y="1744"/>
                  </a:cxn>
                  <a:cxn ang="0">
                    <a:pos x="214" y="1755"/>
                  </a:cxn>
                  <a:cxn ang="0">
                    <a:pos x="277" y="1797"/>
                  </a:cxn>
                  <a:cxn ang="0">
                    <a:pos x="326" y="1806"/>
                  </a:cxn>
                  <a:cxn ang="0">
                    <a:pos x="397" y="1845"/>
                  </a:cxn>
                  <a:cxn ang="0">
                    <a:pos x="488" y="1812"/>
                  </a:cxn>
                  <a:cxn ang="0">
                    <a:pos x="560" y="1779"/>
                  </a:cxn>
                  <a:cxn ang="0">
                    <a:pos x="654" y="1741"/>
                  </a:cxn>
                </a:cxnLst>
                <a:rect l="0" t="0" r="r" b="b"/>
                <a:pathLst>
                  <a:path w="1411" h="1845">
                    <a:moveTo>
                      <a:pt x="666" y="1709"/>
                    </a:moveTo>
                    <a:lnTo>
                      <a:pt x="666" y="1709"/>
                    </a:lnTo>
                    <a:lnTo>
                      <a:pt x="663" y="1700"/>
                    </a:lnTo>
                    <a:lnTo>
                      <a:pt x="662" y="1692"/>
                    </a:lnTo>
                    <a:lnTo>
                      <a:pt x="662" y="1676"/>
                    </a:lnTo>
                    <a:lnTo>
                      <a:pt x="662" y="1676"/>
                    </a:lnTo>
                    <a:lnTo>
                      <a:pt x="663" y="1659"/>
                    </a:lnTo>
                    <a:lnTo>
                      <a:pt x="666" y="1646"/>
                    </a:lnTo>
                    <a:lnTo>
                      <a:pt x="667" y="1643"/>
                    </a:lnTo>
                    <a:lnTo>
                      <a:pt x="669" y="1639"/>
                    </a:lnTo>
                    <a:lnTo>
                      <a:pt x="672" y="1636"/>
                    </a:lnTo>
                    <a:lnTo>
                      <a:pt x="675" y="1634"/>
                    </a:lnTo>
                    <a:lnTo>
                      <a:pt x="682" y="1631"/>
                    </a:lnTo>
                    <a:lnTo>
                      <a:pt x="690" y="1628"/>
                    </a:lnTo>
                    <a:lnTo>
                      <a:pt x="699" y="1624"/>
                    </a:lnTo>
                    <a:lnTo>
                      <a:pt x="709" y="1617"/>
                    </a:lnTo>
                    <a:lnTo>
                      <a:pt x="709" y="1617"/>
                    </a:lnTo>
                    <a:lnTo>
                      <a:pt x="713" y="1614"/>
                    </a:lnTo>
                    <a:lnTo>
                      <a:pt x="715" y="1610"/>
                    </a:lnTo>
                    <a:lnTo>
                      <a:pt x="715" y="1605"/>
                    </a:lnTo>
                    <a:lnTo>
                      <a:pt x="715" y="1600"/>
                    </a:lnTo>
                    <a:lnTo>
                      <a:pt x="714" y="1590"/>
                    </a:lnTo>
                    <a:lnTo>
                      <a:pt x="715" y="1585"/>
                    </a:lnTo>
                    <a:lnTo>
                      <a:pt x="716" y="1580"/>
                    </a:lnTo>
                    <a:lnTo>
                      <a:pt x="716" y="1580"/>
                    </a:lnTo>
                    <a:lnTo>
                      <a:pt x="738" y="1563"/>
                    </a:lnTo>
                    <a:lnTo>
                      <a:pt x="758" y="1549"/>
                    </a:lnTo>
                    <a:lnTo>
                      <a:pt x="767" y="1541"/>
                    </a:lnTo>
                    <a:lnTo>
                      <a:pt x="775" y="1533"/>
                    </a:lnTo>
                    <a:lnTo>
                      <a:pt x="783" y="1524"/>
                    </a:lnTo>
                    <a:lnTo>
                      <a:pt x="790" y="1515"/>
                    </a:lnTo>
                    <a:lnTo>
                      <a:pt x="790" y="1515"/>
                    </a:lnTo>
                    <a:lnTo>
                      <a:pt x="805" y="1495"/>
                    </a:lnTo>
                    <a:lnTo>
                      <a:pt x="819" y="1479"/>
                    </a:lnTo>
                    <a:lnTo>
                      <a:pt x="835" y="1464"/>
                    </a:lnTo>
                    <a:lnTo>
                      <a:pt x="851" y="1453"/>
                    </a:lnTo>
                    <a:lnTo>
                      <a:pt x="869" y="1442"/>
                    </a:lnTo>
                    <a:lnTo>
                      <a:pt x="889" y="1434"/>
                    </a:lnTo>
                    <a:lnTo>
                      <a:pt x="911" y="1426"/>
                    </a:lnTo>
                    <a:lnTo>
                      <a:pt x="934" y="1419"/>
                    </a:lnTo>
                    <a:lnTo>
                      <a:pt x="934" y="1419"/>
                    </a:lnTo>
                    <a:lnTo>
                      <a:pt x="941" y="1417"/>
                    </a:lnTo>
                    <a:lnTo>
                      <a:pt x="946" y="1412"/>
                    </a:lnTo>
                    <a:lnTo>
                      <a:pt x="957" y="1401"/>
                    </a:lnTo>
                    <a:lnTo>
                      <a:pt x="962" y="1395"/>
                    </a:lnTo>
                    <a:lnTo>
                      <a:pt x="969" y="1391"/>
                    </a:lnTo>
                    <a:lnTo>
                      <a:pt x="976" y="1387"/>
                    </a:lnTo>
                    <a:lnTo>
                      <a:pt x="984" y="1386"/>
                    </a:lnTo>
                    <a:lnTo>
                      <a:pt x="984" y="1386"/>
                    </a:lnTo>
                    <a:lnTo>
                      <a:pt x="991" y="1387"/>
                    </a:lnTo>
                    <a:lnTo>
                      <a:pt x="996" y="1391"/>
                    </a:lnTo>
                    <a:lnTo>
                      <a:pt x="1000" y="1395"/>
                    </a:lnTo>
                    <a:lnTo>
                      <a:pt x="1004" y="1402"/>
                    </a:lnTo>
                    <a:lnTo>
                      <a:pt x="1006" y="1410"/>
                    </a:lnTo>
                    <a:lnTo>
                      <a:pt x="1008" y="1419"/>
                    </a:lnTo>
                    <a:lnTo>
                      <a:pt x="1013" y="1439"/>
                    </a:lnTo>
                    <a:lnTo>
                      <a:pt x="1018" y="1458"/>
                    </a:lnTo>
                    <a:lnTo>
                      <a:pt x="1020" y="1468"/>
                    </a:lnTo>
                    <a:lnTo>
                      <a:pt x="1025" y="1476"/>
                    </a:lnTo>
                    <a:lnTo>
                      <a:pt x="1029" y="1483"/>
                    </a:lnTo>
                    <a:lnTo>
                      <a:pt x="1035" y="1488"/>
                    </a:lnTo>
                    <a:lnTo>
                      <a:pt x="1043" y="1492"/>
                    </a:lnTo>
                    <a:lnTo>
                      <a:pt x="1051" y="1493"/>
                    </a:lnTo>
                    <a:lnTo>
                      <a:pt x="1051" y="1493"/>
                    </a:lnTo>
                    <a:lnTo>
                      <a:pt x="1058" y="1492"/>
                    </a:lnTo>
                    <a:lnTo>
                      <a:pt x="1066" y="1488"/>
                    </a:lnTo>
                    <a:lnTo>
                      <a:pt x="1074" y="1484"/>
                    </a:lnTo>
                    <a:lnTo>
                      <a:pt x="1082" y="1479"/>
                    </a:lnTo>
                    <a:lnTo>
                      <a:pt x="1106" y="1460"/>
                    </a:lnTo>
                    <a:lnTo>
                      <a:pt x="1106" y="1460"/>
                    </a:lnTo>
                    <a:lnTo>
                      <a:pt x="1114" y="1455"/>
                    </a:lnTo>
                    <a:lnTo>
                      <a:pt x="1123" y="1453"/>
                    </a:lnTo>
                    <a:lnTo>
                      <a:pt x="1143" y="1449"/>
                    </a:lnTo>
                    <a:lnTo>
                      <a:pt x="1165" y="1447"/>
                    </a:lnTo>
                    <a:lnTo>
                      <a:pt x="1186" y="1445"/>
                    </a:lnTo>
                    <a:lnTo>
                      <a:pt x="1196" y="1442"/>
                    </a:lnTo>
                    <a:lnTo>
                      <a:pt x="1205" y="1440"/>
                    </a:lnTo>
                    <a:lnTo>
                      <a:pt x="1213" y="1437"/>
                    </a:lnTo>
                    <a:lnTo>
                      <a:pt x="1220" y="1432"/>
                    </a:lnTo>
                    <a:lnTo>
                      <a:pt x="1226" y="1425"/>
                    </a:lnTo>
                    <a:lnTo>
                      <a:pt x="1230" y="1418"/>
                    </a:lnTo>
                    <a:lnTo>
                      <a:pt x="1234" y="1408"/>
                    </a:lnTo>
                    <a:lnTo>
                      <a:pt x="1235" y="1396"/>
                    </a:lnTo>
                    <a:lnTo>
                      <a:pt x="1235" y="1396"/>
                    </a:lnTo>
                    <a:lnTo>
                      <a:pt x="1235" y="1361"/>
                    </a:lnTo>
                    <a:lnTo>
                      <a:pt x="1235" y="1361"/>
                    </a:lnTo>
                    <a:lnTo>
                      <a:pt x="1235" y="1346"/>
                    </a:lnTo>
                    <a:lnTo>
                      <a:pt x="1237" y="1332"/>
                    </a:lnTo>
                    <a:lnTo>
                      <a:pt x="1241" y="1319"/>
                    </a:lnTo>
                    <a:lnTo>
                      <a:pt x="1245" y="1308"/>
                    </a:lnTo>
                    <a:lnTo>
                      <a:pt x="1255" y="1285"/>
                    </a:lnTo>
                    <a:lnTo>
                      <a:pt x="1259" y="1273"/>
                    </a:lnTo>
                    <a:lnTo>
                      <a:pt x="1264" y="1260"/>
                    </a:lnTo>
                    <a:lnTo>
                      <a:pt x="1264" y="1260"/>
                    </a:lnTo>
                    <a:lnTo>
                      <a:pt x="1266" y="1250"/>
                    </a:lnTo>
                    <a:lnTo>
                      <a:pt x="1267" y="1240"/>
                    </a:lnTo>
                    <a:lnTo>
                      <a:pt x="1270" y="1219"/>
                    </a:lnTo>
                    <a:lnTo>
                      <a:pt x="1271" y="1210"/>
                    </a:lnTo>
                    <a:lnTo>
                      <a:pt x="1273" y="1201"/>
                    </a:lnTo>
                    <a:lnTo>
                      <a:pt x="1277" y="1193"/>
                    </a:lnTo>
                    <a:lnTo>
                      <a:pt x="1283" y="1183"/>
                    </a:lnTo>
                    <a:lnTo>
                      <a:pt x="1283" y="1183"/>
                    </a:lnTo>
                    <a:lnTo>
                      <a:pt x="1296" y="1194"/>
                    </a:lnTo>
                    <a:lnTo>
                      <a:pt x="1303" y="1197"/>
                    </a:lnTo>
                    <a:lnTo>
                      <a:pt x="1308" y="1198"/>
                    </a:lnTo>
                    <a:lnTo>
                      <a:pt x="1312" y="1198"/>
                    </a:lnTo>
                    <a:lnTo>
                      <a:pt x="1312" y="1198"/>
                    </a:lnTo>
                    <a:lnTo>
                      <a:pt x="1320" y="1198"/>
                    </a:lnTo>
                    <a:lnTo>
                      <a:pt x="1326" y="1196"/>
                    </a:lnTo>
                    <a:lnTo>
                      <a:pt x="1339" y="1189"/>
                    </a:lnTo>
                    <a:lnTo>
                      <a:pt x="1344" y="1186"/>
                    </a:lnTo>
                    <a:lnTo>
                      <a:pt x="1351" y="1182"/>
                    </a:lnTo>
                    <a:lnTo>
                      <a:pt x="1358" y="1180"/>
                    </a:lnTo>
                    <a:lnTo>
                      <a:pt x="1367" y="1180"/>
                    </a:lnTo>
                    <a:lnTo>
                      <a:pt x="1367" y="1180"/>
                    </a:lnTo>
                    <a:lnTo>
                      <a:pt x="1357" y="1134"/>
                    </a:lnTo>
                    <a:lnTo>
                      <a:pt x="1347" y="1086"/>
                    </a:lnTo>
                    <a:lnTo>
                      <a:pt x="1338" y="1034"/>
                    </a:lnTo>
                    <a:lnTo>
                      <a:pt x="1327" y="982"/>
                    </a:lnTo>
                    <a:lnTo>
                      <a:pt x="1327" y="982"/>
                    </a:lnTo>
                    <a:lnTo>
                      <a:pt x="1326" y="975"/>
                    </a:lnTo>
                    <a:lnTo>
                      <a:pt x="1327" y="969"/>
                    </a:lnTo>
                    <a:lnTo>
                      <a:pt x="1331" y="962"/>
                    </a:lnTo>
                    <a:lnTo>
                      <a:pt x="1335" y="956"/>
                    </a:lnTo>
                    <a:lnTo>
                      <a:pt x="1349" y="942"/>
                    </a:lnTo>
                    <a:lnTo>
                      <a:pt x="1365" y="928"/>
                    </a:lnTo>
                    <a:lnTo>
                      <a:pt x="1381" y="912"/>
                    </a:lnTo>
                    <a:lnTo>
                      <a:pt x="1389" y="904"/>
                    </a:lnTo>
                    <a:lnTo>
                      <a:pt x="1396" y="895"/>
                    </a:lnTo>
                    <a:lnTo>
                      <a:pt x="1402" y="886"/>
                    </a:lnTo>
                    <a:lnTo>
                      <a:pt x="1407" y="876"/>
                    </a:lnTo>
                    <a:lnTo>
                      <a:pt x="1410" y="867"/>
                    </a:lnTo>
                    <a:lnTo>
                      <a:pt x="1411" y="857"/>
                    </a:lnTo>
                    <a:lnTo>
                      <a:pt x="1411" y="857"/>
                    </a:lnTo>
                    <a:lnTo>
                      <a:pt x="1411" y="851"/>
                    </a:lnTo>
                    <a:lnTo>
                      <a:pt x="1410" y="844"/>
                    </a:lnTo>
                    <a:lnTo>
                      <a:pt x="1408" y="837"/>
                    </a:lnTo>
                    <a:lnTo>
                      <a:pt x="1405" y="831"/>
                    </a:lnTo>
                    <a:lnTo>
                      <a:pt x="1402" y="824"/>
                    </a:lnTo>
                    <a:lnTo>
                      <a:pt x="1398" y="819"/>
                    </a:lnTo>
                    <a:lnTo>
                      <a:pt x="1393" y="813"/>
                    </a:lnTo>
                    <a:lnTo>
                      <a:pt x="1387" y="807"/>
                    </a:lnTo>
                    <a:lnTo>
                      <a:pt x="1380" y="802"/>
                    </a:lnTo>
                    <a:lnTo>
                      <a:pt x="1373" y="798"/>
                    </a:lnTo>
                    <a:lnTo>
                      <a:pt x="1365" y="794"/>
                    </a:lnTo>
                    <a:lnTo>
                      <a:pt x="1355" y="791"/>
                    </a:lnTo>
                    <a:lnTo>
                      <a:pt x="1346" y="790"/>
                    </a:lnTo>
                    <a:lnTo>
                      <a:pt x="1334" y="789"/>
                    </a:lnTo>
                    <a:lnTo>
                      <a:pt x="1321" y="789"/>
                    </a:lnTo>
                    <a:lnTo>
                      <a:pt x="1309" y="791"/>
                    </a:lnTo>
                    <a:lnTo>
                      <a:pt x="1309" y="791"/>
                    </a:lnTo>
                    <a:lnTo>
                      <a:pt x="1287" y="793"/>
                    </a:lnTo>
                    <a:lnTo>
                      <a:pt x="1266" y="796"/>
                    </a:lnTo>
                    <a:lnTo>
                      <a:pt x="1245" y="797"/>
                    </a:lnTo>
                    <a:lnTo>
                      <a:pt x="1227" y="797"/>
                    </a:lnTo>
                    <a:lnTo>
                      <a:pt x="1191" y="796"/>
                    </a:lnTo>
                    <a:lnTo>
                      <a:pt x="1174" y="796"/>
                    </a:lnTo>
                    <a:lnTo>
                      <a:pt x="1158" y="797"/>
                    </a:lnTo>
                    <a:lnTo>
                      <a:pt x="1143" y="800"/>
                    </a:lnTo>
                    <a:lnTo>
                      <a:pt x="1128" y="804"/>
                    </a:lnTo>
                    <a:lnTo>
                      <a:pt x="1114" y="811"/>
                    </a:lnTo>
                    <a:lnTo>
                      <a:pt x="1102" y="819"/>
                    </a:lnTo>
                    <a:lnTo>
                      <a:pt x="1089" y="830"/>
                    </a:lnTo>
                    <a:lnTo>
                      <a:pt x="1076" y="845"/>
                    </a:lnTo>
                    <a:lnTo>
                      <a:pt x="1066" y="863"/>
                    </a:lnTo>
                    <a:lnTo>
                      <a:pt x="1054" y="886"/>
                    </a:lnTo>
                    <a:lnTo>
                      <a:pt x="1054" y="886"/>
                    </a:lnTo>
                    <a:lnTo>
                      <a:pt x="1046" y="895"/>
                    </a:lnTo>
                    <a:lnTo>
                      <a:pt x="1037" y="901"/>
                    </a:lnTo>
                    <a:lnTo>
                      <a:pt x="1029" y="905"/>
                    </a:lnTo>
                    <a:lnTo>
                      <a:pt x="1020" y="907"/>
                    </a:lnTo>
                    <a:lnTo>
                      <a:pt x="1012" y="908"/>
                    </a:lnTo>
                    <a:lnTo>
                      <a:pt x="1004" y="907"/>
                    </a:lnTo>
                    <a:lnTo>
                      <a:pt x="997" y="905"/>
                    </a:lnTo>
                    <a:lnTo>
                      <a:pt x="990" y="901"/>
                    </a:lnTo>
                    <a:lnTo>
                      <a:pt x="984" y="898"/>
                    </a:lnTo>
                    <a:lnTo>
                      <a:pt x="981" y="892"/>
                    </a:lnTo>
                    <a:lnTo>
                      <a:pt x="977" y="888"/>
                    </a:lnTo>
                    <a:lnTo>
                      <a:pt x="976" y="881"/>
                    </a:lnTo>
                    <a:lnTo>
                      <a:pt x="976" y="875"/>
                    </a:lnTo>
                    <a:lnTo>
                      <a:pt x="978" y="869"/>
                    </a:lnTo>
                    <a:lnTo>
                      <a:pt x="983" y="862"/>
                    </a:lnTo>
                    <a:lnTo>
                      <a:pt x="989" y="857"/>
                    </a:lnTo>
                    <a:lnTo>
                      <a:pt x="989" y="857"/>
                    </a:lnTo>
                    <a:lnTo>
                      <a:pt x="997" y="851"/>
                    </a:lnTo>
                    <a:lnTo>
                      <a:pt x="1005" y="844"/>
                    </a:lnTo>
                    <a:lnTo>
                      <a:pt x="1021" y="834"/>
                    </a:lnTo>
                    <a:lnTo>
                      <a:pt x="1036" y="823"/>
                    </a:lnTo>
                    <a:lnTo>
                      <a:pt x="1050" y="813"/>
                    </a:lnTo>
                    <a:lnTo>
                      <a:pt x="1057" y="807"/>
                    </a:lnTo>
                    <a:lnTo>
                      <a:pt x="1061" y="800"/>
                    </a:lnTo>
                    <a:lnTo>
                      <a:pt x="1067" y="793"/>
                    </a:lnTo>
                    <a:lnTo>
                      <a:pt x="1071" y="785"/>
                    </a:lnTo>
                    <a:lnTo>
                      <a:pt x="1073" y="776"/>
                    </a:lnTo>
                    <a:lnTo>
                      <a:pt x="1074" y="765"/>
                    </a:lnTo>
                    <a:lnTo>
                      <a:pt x="1074" y="753"/>
                    </a:lnTo>
                    <a:lnTo>
                      <a:pt x="1073" y="739"/>
                    </a:lnTo>
                    <a:lnTo>
                      <a:pt x="1073" y="739"/>
                    </a:lnTo>
                    <a:lnTo>
                      <a:pt x="1071" y="722"/>
                    </a:lnTo>
                    <a:lnTo>
                      <a:pt x="1067" y="707"/>
                    </a:lnTo>
                    <a:lnTo>
                      <a:pt x="1064" y="693"/>
                    </a:lnTo>
                    <a:lnTo>
                      <a:pt x="1060" y="681"/>
                    </a:lnTo>
                    <a:lnTo>
                      <a:pt x="1056" y="669"/>
                    </a:lnTo>
                    <a:lnTo>
                      <a:pt x="1050" y="660"/>
                    </a:lnTo>
                    <a:lnTo>
                      <a:pt x="1044" y="651"/>
                    </a:lnTo>
                    <a:lnTo>
                      <a:pt x="1038" y="644"/>
                    </a:lnTo>
                    <a:lnTo>
                      <a:pt x="1033" y="637"/>
                    </a:lnTo>
                    <a:lnTo>
                      <a:pt x="1026" y="631"/>
                    </a:lnTo>
                    <a:lnTo>
                      <a:pt x="1019" y="626"/>
                    </a:lnTo>
                    <a:lnTo>
                      <a:pt x="1012" y="623"/>
                    </a:lnTo>
                    <a:lnTo>
                      <a:pt x="997" y="616"/>
                    </a:lnTo>
                    <a:lnTo>
                      <a:pt x="982" y="613"/>
                    </a:lnTo>
                    <a:lnTo>
                      <a:pt x="966" y="610"/>
                    </a:lnTo>
                    <a:lnTo>
                      <a:pt x="951" y="608"/>
                    </a:lnTo>
                    <a:lnTo>
                      <a:pt x="936" y="607"/>
                    </a:lnTo>
                    <a:lnTo>
                      <a:pt x="921" y="605"/>
                    </a:lnTo>
                    <a:lnTo>
                      <a:pt x="908" y="600"/>
                    </a:lnTo>
                    <a:lnTo>
                      <a:pt x="903" y="598"/>
                    </a:lnTo>
                    <a:lnTo>
                      <a:pt x="897" y="594"/>
                    </a:lnTo>
                    <a:lnTo>
                      <a:pt x="891" y="591"/>
                    </a:lnTo>
                    <a:lnTo>
                      <a:pt x="886" y="586"/>
                    </a:lnTo>
                    <a:lnTo>
                      <a:pt x="882" y="580"/>
                    </a:lnTo>
                    <a:lnTo>
                      <a:pt x="878" y="575"/>
                    </a:lnTo>
                    <a:lnTo>
                      <a:pt x="878" y="575"/>
                    </a:lnTo>
                    <a:lnTo>
                      <a:pt x="878" y="567"/>
                    </a:lnTo>
                    <a:lnTo>
                      <a:pt x="880" y="560"/>
                    </a:lnTo>
                    <a:lnTo>
                      <a:pt x="881" y="554"/>
                    </a:lnTo>
                    <a:lnTo>
                      <a:pt x="884" y="549"/>
                    </a:lnTo>
                    <a:lnTo>
                      <a:pt x="888" y="546"/>
                    </a:lnTo>
                    <a:lnTo>
                      <a:pt x="891" y="542"/>
                    </a:lnTo>
                    <a:lnTo>
                      <a:pt x="897" y="540"/>
                    </a:lnTo>
                    <a:lnTo>
                      <a:pt x="901" y="539"/>
                    </a:lnTo>
                    <a:lnTo>
                      <a:pt x="914" y="537"/>
                    </a:lnTo>
                    <a:lnTo>
                      <a:pt x="928" y="537"/>
                    </a:lnTo>
                    <a:lnTo>
                      <a:pt x="958" y="537"/>
                    </a:lnTo>
                    <a:lnTo>
                      <a:pt x="972" y="537"/>
                    </a:lnTo>
                    <a:lnTo>
                      <a:pt x="985" y="536"/>
                    </a:lnTo>
                    <a:lnTo>
                      <a:pt x="998" y="532"/>
                    </a:lnTo>
                    <a:lnTo>
                      <a:pt x="1003" y="529"/>
                    </a:lnTo>
                    <a:lnTo>
                      <a:pt x="1007" y="525"/>
                    </a:lnTo>
                    <a:lnTo>
                      <a:pt x="1012" y="522"/>
                    </a:lnTo>
                    <a:lnTo>
                      <a:pt x="1015" y="517"/>
                    </a:lnTo>
                    <a:lnTo>
                      <a:pt x="1018" y="510"/>
                    </a:lnTo>
                    <a:lnTo>
                      <a:pt x="1019" y="503"/>
                    </a:lnTo>
                    <a:lnTo>
                      <a:pt x="1019" y="495"/>
                    </a:lnTo>
                    <a:lnTo>
                      <a:pt x="1019" y="486"/>
                    </a:lnTo>
                    <a:lnTo>
                      <a:pt x="1018" y="476"/>
                    </a:lnTo>
                    <a:lnTo>
                      <a:pt x="1014" y="463"/>
                    </a:lnTo>
                    <a:lnTo>
                      <a:pt x="1014" y="463"/>
                    </a:lnTo>
                    <a:lnTo>
                      <a:pt x="1013" y="449"/>
                    </a:lnTo>
                    <a:lnTo>
                      <a:pt x="1013" y="438"/>
                    </a:lnTo>
                    <a:lnTo>
                      <a:pt x="1013" y="427"/>
                    </a:lnTo>
                    <a:lnTo>
                      <a:pt x="1015" y="419"/>
                    </a:lnTo>
                    <a:lnTo>
                      <a:pt x="1018" y="412"/>
                    </a:lnTo>
                    <a:lnTo>
                      <a:pt x="1020" y="408"/>
                    </a:lnTo>
                    <a:lnTo>
                      <a:pt x="1025" y="403"/>
                    </a:lnTo>
                    <a:lnTo>
                      <a:pt x="1028" y="401"/>
                    </a:lnTo>
                    <a:lnTo>
                      <a:pt x="1033" y="399"/>
                    </a:lnTo>
                    <a:lnTo>
                      <a:pt x="1038" y="399"/>
                    </a:lnTo>
                    <a:lnTo>
                      <a:pt x="1049" y="399"/>
                    </a:lnTo>
                    <a:lnTo>
                      <a:pt x="1069" y="401"/>
                    </a:lnTo>
                    <a:lnTo>
                      <a:pt x="1069" y="401"/>
                    </a:lnTo>
                    <a:lnTo>
                      <a:pt x="1090" y="403"/>
                    </a:lnTo>
                    <a:lnTo>
                      <a:pt x="1106" y="403"/>
                    </a:lnTo>
                    <a:lnTo>
                      <a:pt x="1120" y="402"/>
                    </a:lnTo>
                    <a:lnTo>
                      <a:pt x="1130" y="397"/>
                    </a:lnTo>
                    <a:lnTo>
                      <a:pt x="1138" y="393"/>
                    </a:lnTo>
                    <a:lnTo>
                      <a:pt x="1144" y="387"/>
                    </a:lnTo>
                    <a:lnTo>
                      <a:pt x="1150" y="380"/>
                    </a:lnTo>
                    <a:lnTo>
                      <a:pt x="1152" y="372"/>
                    </a:lnTo>
                    <a:lnTo>
                      <a:pt x="1158" y="356"/>
                    </a:lnTo>
                    <a:lnTo>
                      <a:pt x="1163" y="342"/>
                    </a:lnTo>
                    <a:lnTo>
                      <a:pt x="1166" y="335"/>
                    </a:lnTo>
                    <a:lnTo>
                      <a:pt x="1170" y="331"/>
                    </a:lnTo>
                    <a:lnTo>
                      <a:pt x="1175" y="326"/>
                    </a:lnTo>
                    <a:lnTo>
                      <a:pt x="1183" y="324"/>
                    </a:lnTo>
                    <a:lnTo>
                      <a:pt x="1183" y="324"/>
                    </a:lnTo>
                    <a:lnTo>
                      <a:pt x="1197" y="321"/>
                    </a:lnTo>
                    <a:lnTo>
                      <a:pt x="1209" y="317"/>
                    </a:lnTo>
                    <a:lnTo>
                      <a:pt x="1220" y="310"/>
                    </a:lnTo>
                    <a:lnTo>
                      <a:pt x="1229" y="303"/>
                    </a:lnTo>
                    <a:lnTo>
                      <a:pt x="1239" y="294"/>
                    </a:lnTo>
                    <a:lnTo>
                      <a:pt x="1245" y="285"/>
                    </a:lnTo>
                    <a:lnTo>
                      <a:pt x="1252" y="274"/>
                    </a:lnTo>
                    <a:lnTo>
                      <a:pt x="1258" y="264"/>
                    </a:lnTo>
                    <a:lnTo>
                      <a:pt x="1262" y="254"/>
                    </a:lnTo>
                    <a:lnTo>
                      <a:pt x="1265" y="244"/>
                    </a:lnTo>
                    <a:lnTo>
                      <a:pt x="1266" y="234"/>
                    </a:lnTo>
                    <a:lnTo>
                      <a:pt x="1267" y="225"/>
                    </a:lnTo>
                    <a:lnTo>
                      <a:pt x="1266" y="217"/>
                    </a:lnTo>
                    <a:lnTo>
                      <a:pt x="1264" y="209"/>
                    </a:lnTo>
                    <a:lnTo>
                      <a:pt x="1262" y="203"/>
                    </a:lnTo>
                    <a:lnTo>
                      <a:pt x="1257" y="200"/>
                    </a:lnTo>
                    <a:lnTo>
                      <a:pt x="1257" y="200"/>
                    </a:lnTo>
                    <a:lnTo>
                      <a:pt x="1237" y="208"/>
                    </a:lnTo>
                    <a:lnTo>
                      <a:pt x="1229" y="211"/>
                    </a:lnTo>
                    <a:lnTo>
                      <a:pt x="1221" y="212"/>
                    </a:lnTo>
                    <a:lnTo>
                      <a:pt x="1214" y="213"/>
                    </a:lnTo>
                    <a:lnTo>
                      <a:pt x="1207" y="213"/>
                    </a:lnTo>
                    <a:lnTo>
                      <a:pt x="1202" y="213"/>
                    </a:lnTo>
                    <a:lnTo>
                      <a:pt x="1196" y="212"/>
                    </a:lnTo>
                    <a:lnTo>
                      <a:pt x="1186" y="208"/>
                    </a:lnTo>
                    <a:lnTo>
                      <a:pt x="1178" y="203"/>
                    </a:lnTo>
                    <a:lnTo>
                      <a:pt x="1170" y="196"/>
                    </a:lnTo>
                    <a:lnTo>
                      <a:pt x="1163" y="188"/>
                    </a:lnTo>
                    <a:lnTo>
                      <a:pt x="1155" y="181"/>
                    </a:lnTo>
                    <a:lnTo>
                      <a:pt x="1148" y="174"/>
                    </a:lnTo>
                    <a:lnTo>
                      <a:pt x="1140" y="168"/>
                    </a:lnTo>
                    <a:lnTo>
                      <a:pt x="1129" y="164"/>
                    </a:lnTo>
                    <a:lnTo>
                      <a:pt x="1125" y="163"/>
                    </a:lnTo>
                    <a:lnTo>
                      <a:pt x="1119" y="163"/>
                    </a:lnTo>
                    <a:lnTo>
                      <a:pt x="1113" y="163"/>
                    </a:lnTo>
                    <a:lnTo>
                      <a:pt x="1106" y="164"/>
                    </a:lnTo>
                    <a:lnTo>
                      <a:pt x="1098" y="166"/>
                    </a:lnTo>
                    <a:lnTo>
                      <a:pt x="1091" y="168"/>
                    </a:lnTo>
                    <a:lnTo>
                      <a:pt x="1073" y="178"/>
                    </a:lnTo>
                    <a:lnTo>
                      <a:pt x="1073" y="178"/>
                    </a:lnTo>
                    <a:lnTo>
                      <a:pt x="1065" y="181"/>
                    </a:lnTo>
                    <a:lnTo>
                      <a:pt x="1062" y="181"/>
                    </a:lnTo>
                    <a:lnTo>
                      <a:pt x="1061" y="181"/>
                    </a:lnTo>
                    <a:lnTo>
                      <a:pt x="1060" y="180"/>
                    </a:lnTo>
                    <a:lnTo>
                      <a:pt x="1060" y="179"/>
                    </a:lnTo>
                    <a:lnTo>
                      <a:pt x="1062" y="173"/>
                    </a:lnTo>
                    <a:lnTo>
                      <a:pt x="1072" y="155"/>
                    </a:lnTo>
                    <a:lnTo>
                      <a:pt x="1077" y="143"/>
                    </a:lnTo>
                    <a:lnTo>
                      <a:pt x="1082" y="129"/>
                    </a:lnTo>
                    <a:lnTo>
                      <a:pt x="1087" y="114"/>
                    </a:lnTo>
                    <a:lnTo>
                      <a:pt x="1088" y="98"/>
                    </a:lnTo>
                    <a:lnTo>
                      <a:pt x="1089" y="90"/>
                    </a:lnTo>
                    <a:lnTo>
                      <a:pt x="1088" y="82"/>
                    </a:lnTo>
                    <a:lnTo>
                      <a:pt x="1087" y="73"/>
                    </a:lnTo>
                    <a:lnTo>
                      <a:pt x="1084" y="65"/>
                    </a:lnTo>
                    <a:lnTo>
                      <a:pt x="1081" y="57"/>
                    </a:lnTo>
                    <a:lnTo>
                      <a:pt x="1076" y="49"/>
                    </a:lnTo>
                    <a:lnTo>
                      <a:pt x="1071" y="40"/>
                    </a:lnTo>
                    <a:lnTo>
                      <a:pt x="1064" y="32"/>
                    </a:lnTo>
                    <a:lnTo>
                      <a:pt x="1056" y="23"/>
                    </a:lnTo>
                    <a:lnTo>
                      <a:pt x="1046" y="15"/>
                    </a:lnTo>
                    <a:lnTo>
                      <a:pt x="1035" y="9"/>
                    </a:lnTo>
                    <a:lnTo>
                      <a:pt x="1022" y="0"/>
                    </a:lnTo>
                    <a:lnTo>
                      <a:pt x="1022" y="0"/>
                    </a:lnTo>
                    <a:lnTo>
                      <a:pt x="988" y="20"/>
                    </a:lnTo>
                    <a:lnTo>
                      <a:pt x="955" y="38"/>
                    </a:lnTo>
                    <a:lnTo>
                      <a:pt x="939" y="46"/>
                    </a:lnTo>
                    <a:lnTo>
                      <a:pt x="924" y="56"/>
                    </a:lnTo>
                    <a:lnTo>
                      <a:pt x="911" y="66"/>
                    </a:lnTo>
                    <a:lnTo>
                      <a:pt x="897" y="76"/>
                    </a:lnTo>
                    <a:lnTo>
                      <a:pt x="885" y="88"/>
                    </a:lnTo>
                    <a:lnTo>
                      <a:pt x="874" y="101"/>
                    </a:lnTo>
                    <a:lnTo>
                      <a:pt x="865" y="116"/>
                    </a:lnTo>
                    <a:lnTo>
                      <a:pt x="855" y="132"/>
                    </a:lnTo>
                    <a:lnTo>
                      <a:pt x="848" y="149"/>
                    </a:lnTo>
                    <a:lnTo>
                      <a:pt x="844" y="170"/>
                    </a:lnTo>
                    <a:lnTo>
                      <a:pt x="840" y="193"/>
                    </a:lnTo>
                    <a:lnTo>
                      <a:pt x="838" y="218"/>
                    </a:lnTo>
                    <a:lnTo>
                      <a:pt x="838" y="218"/>
                    </a:lnTo>
                    <a:lnTo>
                      <a:pt x="848" y="216"/>
                    </a:lnTo>
                    <a:lnTo>
                      <a:pt x="860" y="213"/>
                    </a:lnTo>
                    <a:lnTo>
                      <a:pt x="875" y="212"/>
                    </a:lnTo>
                    <a:lnTo>
                      <a:pt x="892" y="212"/>
                    </a:lnTo>
                    <a:lnTo>
                      <a:pt x="909" y="214"/>
                    </a:lnTo>
                    <a:lnTo>
                      <a:pt x="919" y="217"/>
                    </a:lnTo>
                    <a:lnTo>
                      <a:pt x="928" y="219"/>
                    </a:lnTo>
                    <a:lnTo>
                      <a:pt x="936" y="224"/>
                    </a:lnTo>
                    <a:lnTo>
                      <a:pt x="945" y="228"/>
                    </a:lnTo>
                    <a:lnTo>
                      <a:pt x="945" y="228"/>
                    </a:lnTo>
                    <a:lnTo>
                      <a:pt x="943" y="261"/>
                    </a:lnTo>
                    <a:lnTo>
                      <a:pt x="941" y="271"/>
                    </a:lnTo>
                    <a:lnTo>
                      <a:pt x="939" y="275"/>
                    </a:lnTo>
                    <a:lnTo>
                      <a:pt x="937" y="279"/>
                    </a:lnTo>
                    <a:lnTo>
                      <a:pt x="934" y="282"/>
                    </a:lnTo>
                    <a:lnTo>
                      <a:pt x="930" y="285"/>
                    </a:lnTo>
                    <a:lnTo>
                      <a:pt x="927" y="287"/>
                    </a:lnTo>
                    <a:lnTo>
                      <a:pt x="921" y="288"/>
                    </a:lnTo>
                    <a:lnTo>
                      <a:pt x="907" y="290"/>
                    </a:lnTo>
                    <a:lnTo>
                      <a:pt x="890" y="290"/>
                    </a:lnTo>
                    <a:lnTo>
                      <a:pt x="890" y="290"/>
                    </a:lnTo>
                    <a:lnTo>
                      <a:pt x="883" y="290"/>
                    </a:lnTo>
                    <a:lnTo>
                      <a:pt x="877" y="288"/>
                    </a:lnTo>
                    <a:lnTo>
                      <a:pt x="863" y="282"/>
                    </a:lnTo>
                    <a:lnTo>
                      <a:pt x="850" y="275"/>
                    </a:lnTo>
                    <a:lnTo>
                      <a:pt x="832" y="269"/>
                    </a:lnTo>
                    <a:lnTo>
                      <a:pt x="822" y="265"/>
                    </a:lnTo>
                    <a:lnTo>
                      <a:pt x="812" y="263"/>
                    </a:lnTo>
                    <a:lnTo>
                      <a:pt x="800" y="262"/>
                    </a:lnTo>
                    <a:lnTo>
                      <a:pt x="787" y="262"/>
                    </a:lnTo>
                    <a:lnTo>
                      <a:pt x="774" y="263"/>
                    </a:lnTo>
                    <a:lnTo>
                      <a:pt x="759" y="265"/>
                    </a:lnTo>
                    <a:lnTo>
                      <a:pt x="743" y="270"/>
                    </a:lnTo>
                    <a:lnTo>
                      <a:pt x="724" y="275"/>
                    </a:lnTo>
                    <a:lnTo>
                      <a:pt x="724" y="275"/>
                    </a:lnTo>
                    <a:lnTo>
                      <a:pt x="700" y="301"/>
                    </a:lnTo>
                    <a:lnTo>
                      <a:pt x="676" y="324"/>
                    </a:lnTo>
                    <a:lnTo>
                      <a:pt x="649" y="345"/>
                    </a:lnTo>
                    <a:lnTo>
                      <a:pt x="623" y="365"/>
                    </a:lnTo>
                    <a:lnTo>
                      <a:pt x="595" y="384"/>
                    </a:lnTo>
                    <a:lnTo>
                      <a:pt x="569" y="402"/>
                    </a:lnTo>
                    <a:lnTo>
                      <a:pt x="514" y="438"/>
                    </a:lnTo>
                    <a:lnTo>
                      <a:pt x="486" y="456"/>
                    </a:lnTo>
                    <a:lnTo>
                      <a:pt x="460" y="475"/>
                    </a:lnTo>
                    <a:lnTo>
                      <a:pt x="433" y="494"/>
                    </a:lnTo>
                    <a:lnTo>
                      <a:pt x="408" y="514"/>
                    </a:lnTo>
                    <a:lnTo>
                      <a:pt x="382" y="536"/>
                    </a:lnTo>
                    <a:lnTo>
                      <a:pt x="359" y="559"/>
                    </a:lnTo>
                    <a:lnTo>
                      <a:pt x="338" y="584"/>
                    </a:lnTo>
                    <a:lnTo>
                      <a:pt x="317" y="610"/>
                    </a:lnTo>
                    <a:lnTo>
                      <a:pt x="317" y="610"/>
                    </a:lnTo>
                    <a:lnTo>
                      <a:pt x="305" y="629"/>
                    </a:lnTo>
                    <a:lnTo>
                      <a:pt x="295" y="648"/>
                    </a:lnTo>
                    <a:lnTo>
                      <a:pt x="274" y="692"/>
                    </a:lnTo>
                    <a:lnTo>
                      <a:pt x="252" y="738"/>
                    </a:lnTo>
                    <a:lnTo>
                      <a:pt x="241" y="759"/>
                    </a:lnTo>
                    <a:lnTo>
                      <a:pt x="228" y="779"/>
                    </a:lnTo>
                    <a:lnTo>
                      <a:pt x="228" y="779"/>
                    </a:lnTo>
                    <a:lnTo>
                      <a:pt x="209" y="808"/>
                    </a:lnTo>
                    <a:lnTo>
                      <a:pt x="191" y="835"/>
                    </a:lnTo>
                    <a:lnTo>
                      <a:pt x="162" y="880"/>
                    </a:lnTo>
                    <a:lnTo>
                      <a:pt x="151" y="898"/>
                    </a:lnTo>
                    <a:lnTo>
                      <a:pt x="145" y="912"/>
                    </a:lnTo>
                    <a:lnTo>
                      <a:pt x="144" y="918"/>
                    </a:lnTo>
                    <a:lnTo>
                      <a:pt x="144" y="923"/>
                    </a:lnTo>
                    <a:lnTo>
                      <a:pt x="145" y="927"/>
                    </a:lnTo>
                    <a:lnTo>
                      <a:pt x="148" y="930"/>
                    </a:lnTo>
                    <a:lnTo>
                      <a:pt x="148" y="930"/>
                    </a:lnTo>
                    <a:lnTo>
                      <a:pt x="167" y="944"/>
                    </a:lnTo>
                    <a:lnTo>
                      <a:pt x="182" y="952"/>
                    </a:lnTo>
                    <a:lnTo>
                      <a:pt x="195" y="957"/>
                    </a:lnTo>
                    <a:lnTo>
                      <a:pt x="206" y="959"/>
                    </a:lnTo>
                    <a:lnTo>
                      <a:pt x="217" y="959"/>
                    </a:lnTo>
                    <a:lnTo>
                      <a:pt x="228" y="958"/>
                    </a:lnTo>
                    <a:lnTo>
                      <a:pt x="243" y="958"/>
                    </a:lnTo>
                    <a:lnTo>
                      <a:pt x="262" y="960"/>
                    </a:lnTo>
                    <a:lnTo>
                      <a:pt x="262" y="960"/>
                    </a:lnTo>
                    <a:lnTo>
                      <a:pt x="270" y="957"/>
                    </a:lnTo>
                    <a:lnTo>
                      <a:pt x="278" y="954"/>
                    </a:lnTo>
                    <a:lnTo>
                      <a:pt x="285" y="956"/>
                    </a:lnTo>
                    <a:lnTo>
                      <a:pt x="290" y="958"/>
                    </a:lnTo>
                    <a:lnTo>
                      <a:pt x="295" y="961"/>
                    </a:lnTo>
                    <a:lnTo>
                      <a:pt x="300" y="966"/>
                    </a:lnTo>
                    <a:lnTo>
                      <a:pt x="304" y="972"/>
                    </a:lnTo>
                    <a:lnTo>
                      <a:pt x="306" y="977"/>
                    </a:lnTo>
                    <a:lnTo>
                      <a:pt x="311" y="990"/>
                    </a:lnTo>
                    <a:lnTo>
                      <a:pt x="315" y="1003"/>
                    </a:lnTo>
                    <a:lnTo>
                      <a:pt x="317" y="1014"/>
                    </a:lnTo>
                    <a:lnTo>
                      <a:pt x="317" y="1014"/>
                    </a:lnTo>
                    <a:lnTo>
                      <a:pt x="312" y="1019"/>
                    </a:lnTo>
                    <a:lnTo>
                      <a:pt x="310" y="1022"/>
                    </a:lnTo>
                    <a:lnTo>
                      <a:pt x="308" y="1031"/>
                    </a:lnTo>
                    <a:lnTo>
                      <a:pt x="305" y="1041"/>
                    </a:lnTo>
                    <a:lnTo>
                      <a:pt x="302" y="1050"/>
                    </a:lnTo>
                    <a:lnTo>
                      <a:pt x="300" y="1052"/>
                    </a:lnTo>
                    <a:lnTo>
                      <a:pt x="296" y="1056"/>
                    </a:lnTo>
                    <a:lnTo>
                      <a:pt x="292" y="1057"/>
                    </a:lnTo>
                    <a:lnTo>
                      <a:pt x="286" y="1058"/>
                    </a:lnTo>
                    <a:lnTo>
                      <a:pt x="278" y="1058"/>
                    </a:lnTo>
                    <a:lnTo>
                      <a:pt x="269" y="1056"/>
                    </a:lnTo>
                    <a:lnTo>
                      <a:pt x="257" y="1052"/>
                    </a:lnTo>
                    <a:lnTo>
                      <a:pt x="243" y="1048"/>
                    </a:lnTo>
                    <a:lnTo>
                      <a:pt x="243" y="1048"/>
                    </a:lnTo>
                    <a:lnTo>
                      <a:pt x="237" y="1057"/>
                    </a:lnTo>
                    <a:lnTo>
                      <a:pt x="232" y="1064"/>
                    </a:lnTo>
                    <a:lnTo>
                      <a:pt x="225" y="1069"/>
                    </a:lnTo>
                    <a:lnTo>
                      <a:pt x="219" y="1073"/>
                    </a:lnTo>
                    <a:lnTo>
                      <a:pt x="212" y="1076"/>
                    </a:lnTo>
                    <a:lnTo>
                      <a:pt x="206" y="1079"/>
                    </a:lnTo>
                    <a:lnTo>
                      <a:pt x="199" y="1081"/>
                    </a:lnTo>
                    <a:lnTo>
                      <a:pt x="193" y="1081"/>
                    </a:lnTo>
                    <a:lnTo>
                      <a:pt x="185" y="1081"/>
                    </a:lnTo>
                    <a:lnTo>
                      <a:pt x="178" y="1079"/>
                    </a:lnTo>
                    <a:lnTo>
                      <a:pt x="163" y="1074"/>
                    </a:lnTo>
                    <a:lnTo>
                      <a:pt x="148" y="1067"/>
                    </a:lnTo>
                    <a:lnTo>
                      <a:pt x="133" y="1059"/>
                    </a:lnTo>
                    <a:lnTo>
                      <a:pt x="133" y="1059"/>
                    </a:lnTo>
                    <a:lnTo>
                      <a:pt x="127" y="1057"/>
                    </a:lnTo>
                    <a:lnTo>
                      <a:pt x="124" y="1056"/>
                    </a:lnTo>
                    <a:lnTo>
                      <a:pt x="121" y="1058"/>
                    </a:lnTo>
                    <a:lnTo>
                      <a:pt x="119" y="1061"/>
                    </a:lnTo>
                    <a:lnTo>
                      <a:pt x="119" y="1066"/>
                    </a:lnTo>
                    <a:lnTo>
                      <a:pt x="119" y="1072"/>
                    </a:lnTo>
                    <a:lnTo>
                      <a:pt x="120" y="1089"/>
                    </a:lnTo>
                    <a:lnTo>
                      <a:pt x="122" y="1109"/>
                    </a:lnTo>
                    <a:lnTo>
                      <a:pt x="124" y="1130"/>
                    </a:lnTo>
                    <a:lnTo>
                      <a:pt x="124" y="1142"/>
                    </a:lnTo>
                    <a:lnTo>
                      <a:pt x="122" y="1153"/>
                    </a:lnTo>
                    <a:lnTo>
                      <a:pt x="121" y="1165"/>
                    </a:lnTo>
                    <a:lnTo>
                      <a:pt x="118" y="1176"/>
                    </a:lnTo>
                    <a:lnTo>
                      <a:pt x="118" y="1176"/>
                    </a:lnTo>
                    <a:lnTo>
                      <a:pt x="114" y="1187"/>
                    </a:lnTo>
                    <a:lnTo>
                      <a:pt x="107" y="1197"/>
                    </a:lnTo>
                    <a:lnTo>
                      <a:pt x="101" y="1208"/>
                    </a:lnTo>
                    <a:lnTo>
                      <a:pt x="92" y="1216"/>
                    </a:lnTo>
                    <a:lnTo>
                      <a:pt x="73" y="1233"/>
                    </a:lnTo>
                    <a:lnTo>
                      <a:pt x="52" y="1249"/>
                    </a:lnTo>
                    <a:lnTo>
                      <a:pt x="43" y="1258"/>
                    </a:lnTo>
                    <a:lnTo>
                      <a:pt x="33" y="1266"/>
                    </a:lnTo>
                    <a:lnTo>
                      <a:pt x="25" y="1277"/>
                    </a:lnTo>
                    <a:lnTo>
                      <a:pt x="17" y="1287"/>
                    </a:lnTo>
                    <a:lnTo>
                      <a:pt x="10" y="1298"/>
                    </a:lnTo>
                    <a:lnTo>
                      <a:pt x="5" y="1311"/>
                    </a:lnTo>
                    <a:lnTo>
                      <a:pt x="2" y="1326"/>
                    </a:lnTo>
                    <a:lnTo>
                      <a:pt x="0" y="1341"/>
                    </a:lnTo>
                    <a:lnTo>
                      <a:pt x="0" y="1341"/>
                    </a:lnTo>
                    <a:lnTo>
                      <a:pt x="2" y="1349"/>
                    </a:lnTo>
                    <a:lnTo>
                      <a:pt x="2" y="1355"/>
                    </a:lnTo>
                    <a:lnTo>
                      <a:pt x="4" y="1361"/>
                    </a:lnTo>
                    <a:lnTo>
                      <a:pt x="4" y="1361"/>
                    </a:lnTo>
                    <a:lnTo>
                      <a:pt x="4" y="1361"/>
                    </a:lnTo>
                    <a:lnTo>
                      <a:pt x="4" y="1361"/>
                    </a:lnTo>
                    <a:lnTo>
                      <a:pt x="4" y="1361"/>
                    </a:lnTo>
                    <a:lnTo>
                      <a:pt x="11" y="1359"/>
                    </a:lnTo>
                    <a:lnTo>
                      <a:pt x="15" y="1359"/>
                    </a:lnTo>
                    <a:lnTo>
                      <a:pt x="23" y="1361"/>
                    </a:lnTo>
                    <a:lnTo>
                      <a:pt x="29" y="1363"/>
                    </a:lnTo>
                    <a:lnTo>
                      <a:pt x="34" y="1364"/>
                    </a:lnTo>
                    <a:lnTo>
                      <a:pt x="34" y="1364"/>
                    </a:lnTo>
                    <a:lnTo>
                      <a:pt x="42" y="1364"/>
                    </a:lnTo>
                    <a:lnTo>
                      <a:pt x="51" y="1366"/>
                    </a:lnTo>
                    <a:lnTo>
                      <a:pt x="60" y="1369"/>
                    </a:lnTo>
                    <a:lnTo>
                      <a:pt x="71" y="1372"/>
                    </a:lnTo>
                    <a:lnTo>
                      <a:pt x="92" y="1381"/>
                    </a:lnTo>
                    <a:lnTo>
                      <a:pt x="113" y="1393"/>
                    </a:lnTo>
                    <a:lnTo>
                      <a:pt x="124" y="1400"/>
                    </a:lnTo>
                    <a:lnTo>
                      <a:pt x="133" y="1407"/>
                    </a:lnTo>
                    <a:lnTo>
                      <a:pt x="141" y="1415"/>
                    </a:lnTo>
                    <a:lnTo>
                      <a:pt x="148" y="1423"/>
                    </a:lnTo>
                    <a:lnTo>
                      <a:pt x="153" y="1431"/>
                    </a:lnTo>
                    <a:lnTo>
                      <a:pt x="158" y="1439"/>
                    </a:lnTo>
                    <a:lnTo>
                      <a:pt x="162" y="1447"/>
                    </a:lnTo>
                    <a:lnTo>
                      <a:pt x="163" y="1455"/>
                    </a:lnTo>
                    <a:lnTo>
                      <a:pt x="163" y="1455"/>
                    </a:lnTo>
                    <a:lnTo>
                      <a:pt x="162" y="1468"/>
                    </a:lnTo>
                    <a:lnTo>
                      <a:pt x="159" y="1477"/>
                    </a:lnTo>
                    <a:lnTo>
                      <a:pt x="155" y="1485"/>
                    </a:lnTo>
                    <a:lnTo>
                      <a:pt x="151" y="1491"/>
                    </a:lnTo>
                    <a:lnTo>
                      <a:pt x="142" y="1500"/>
                    </a:lnTo>
                    <a:lnTo>
                      <a:pt x="138" y="1504"/>
                    </a:lnTo>
                    <a:lnTo>
                      <a:pt x="136" y="1511"/>
                    </a:lnTo>
                    <a:lnTo>
                      <a:pt x="136" y="1511"/>
                    </a:lnTo>
                    <a:lnTo>
                      <a:pt x="135" y="1516"/>
                    </a:lnTo>
                    <a:lnTo>
                      <a:pt x="134" y="1522"/>
                    </a:lnTo>
                    <a:lnTo>
                      <a:pt x="135" y="1531"/>
                    </a:lnTo>
                    <a:lnTo>
                      <a:pt x="137" y="1541"/>
                    </a:lnTo>
                    <a:lnTo>
                      <a:pt x="137" y="1546"/>
                    </a:lnTo>
                    <a:lnTo>
                      <a:pt x="136" y="1552"/>
                    </a:lnTo>
                    <a:lnTo>
                      <a:pt x="136" y="1552"/>
                    </a:lnTo>
                    <a:lnTo>
                      <a:pt x="134" y="1560"/>
                    </a:lnTo>
                    <a:lnTo>
                      <a:pt x="129" y="1567"/>
                    </a:lnTo>
                    <a:lnTo>
                      <a:pt x="121" y="1580"/>
                    </a:lnTo>
                    <a:lnTo>
                      <a:pt x="102" y="1607"/>
                    </a:lnTo>
                    <a:lnTo>
                      <a:pt x="92" y="1621"/>
                    </a:lnTo>
                    <a:lnTo>
                      <a:pt x="84" y="1634"/>
                    </a:lnTo>
                    <a:lnTo>
                      <a:pt x="82" y="1643"/>
                    </a:lnTo>
                    <a:lnTo>
                      <a:pt x="80" y="1651"/>
                    </a:lnTo>
                    <a:lnTo>
                      <a:pt x="79" y="1659"/>
                    </a:lnTo>
                    <a:lnTo>
                      <a:pt x="78" y="1668"/>
                    </a:lnTo>
                    <a:lnTo>
                      <a:pt x="78" y="1668"/>
                    </a:lnTo>
                    <a:lnTo>
                      <a:pt x="79" y="1678"/>
                    </a:lnTo>
                    <a:lnTo>
                      <a:pt x="80" y="1686"/>
                    </a:lnTo>
                    <a:lnTo>
                      <a:pt x="83" y="1692"/>
                    </a:lnTo>
                    <a:lnTo>
                      <a:pt x="88" y="1695"/>
                    </a:lnTo>
                    <a:lnTo>
                      <a:pt x="94" y="1698"/>
                    </a:lnTo>
                    <a:lnTo>
                      <a:pt x="101" y="1699"/>
                    </a:lnTo>
                    <a:lnTo>
                      <a:pt x="109" y="1699"/>
                    </a:lnTo>
                    <a:lnTo>
                      <a:pt x="118" y="1698"/>
                    </a:lnTo>
                    <a:lnTo>
                      <a:pt x="118" y="1698"/>
                    </a:lnTo>
                    <a:lnTo>
                      <a:pt x="120" y="1703"/>
                    </a:lnTo>
                    <a:lnTo>
                      <a:pt x="121" y="1708"/>
                    </a:lnTo>
                    <a:lnTo>
                      <a:pt x="122" y="1717"/>
                    </a:lnTo>
                    <a:lnTo>
                      <a:pt x="121" y="1735"/>
                    </a:lnTo>
                    <a:lnTo>
                      <a:pt x="121" y="1735"/>
                    </a:lnTo>
                    <a:lnTo>
                      <a:pt x="122" y="1739"/>
                    </a:lnTo>
                    <a:lnTo>
                      <a:pt x="126" y="1744"/>
                    </a:lnTo>
                    <a:lnTo>
                      <a:pt x="132" y="1750"/>
                    </a:lnTo>
                    <a:lnTo>
                      <a:pt x="138" y="1754"/>
                    </a:lnTo>
                    <a:lnTo>
                      <a:pt x="147" y="1758"/>
                    </a:lnTo>
                    <a:lnTo>
                      <a:pt x="156" y="1761"/>
                    </a:lnTo>
                    <a:lnTo>
                      <a:pt x="166" y="1763"/>
                    </a:lnTo>
                    <a:lnTo>
                      <a:pt x="176" y="1764"/>
                    </a:lnTo>
                    <a:lnTo>
                      <a:pt x="176" y="1764"/>
                    </a:lnTo>
                    <a:lnTo>
                      <a:pt x="183" y="1763"/>
                    </a:lnTo>
                    <a:lnTo>
                      <a:pt x="190" y="1762"/>
                    </a:lnTo>
                    <a:lnTo>
                      <a:pt x="203" y="1759"/>
                    </a:lnTo>
                    <a:lnTo>
                      <a:pt x="214" y="1755"/>
                    </a:lnTo>
                    <a:lnTo>
                      <a:pt x="221" y="1753"/>
                    </a:lnTo>
                    <a:lnTo>
                      <a:pt x="228" y="1753"/>
                    </a:lnTo>
                    <a:lnTo>
                      <a:pt x="228" y="1753"/>
                    </a:lnTo>
                    <a:lnTo>
                      <a:pt x="239" y="1754"/>
                    </a:lnTo>
                    <a:lnTo>
                      <a:pt x="247" y="1755"/>
                    </a:lnTo>
                    <a:lnTo>
                      <a:pt x="254" y="1759"/>
                    </a:lnTo>
                    <a:lnTo>
                      <a:pt x="259" y="1763"/>
                    </a:lnTo>
                    <a:lnTo>
                      <a:pt x="263" y="1768"/>
                    </a:lnTo>
                    <a:lnTo>
                      <a:pt x="266" y="1773"/>
                    </a:lnTo>
                    <a:lnTo>
                      <a:pt x="272" y="1785"/>
                    </a:lnTo>
                    <a:lnTo>
                      <a:pt x="277" y="1797"/>
                    </a:lnTo>
                    <a:lnTo>
                      <a:pt x="279" y="1802"/>
                    </a:lnTo>
                    <a:lnTo>
                      <a:pt x="281" y="1807"/>
                    </a:lnTo>
                    <a:lnTo>
                      <a:pt x="285" y="1812"/>
                    </a:lnTo>
                    <a:lnTo>
                      <a:pt x="289" y="1815"/>
                    </a:lnTo>
                    <a:lnTo>
                      <a:pt x="295" y="1819"/>
                    </a:lnTo>
                    <a:lnTo>
                      <a:pt x="302" y="1820"/>
                    </a:lnTo>
                    <a:lnTo>
                      <a:pt x="302" y="1820"/>
                    </a:lnTo>
                    <a:lnTo>
                      <a:pt x="308" y="1817"/>
                    </a:lnTo>
                    <a:lnTo>
                      <a:pt x="312" y="1816"/>
                    </a:lnTo>
                    <a:lnTo>
                      <a:pt x="320" y="1812"/>
                    </a:lnTo>
                    <a:lnTo>
                      <a:pt x="326" y="1806"/>
                    </a:lnTo>
                    <a:lnTo>
                      <a:pt x="335" y="1800"/>
                    </a:lnTo>
                    <a:lnTo>
                      <a:pt x="335" y="1800"/>
                    </a:lnTo>
                    <a:lnTo>
                      <a:pt x="342" y="1807"/>
                    </a:lnTo>
                    <a:lnTo>
                      <a:pt x="348" y="1814"/>
                    </a:lnTo>
                    <a:lnTo>
                      <a:pt x="361" y="1828"/>
                    </a:lnTo>
                    <a:lnTo>
                      <a:pt x="369" y="1835"/>
                    </a:lnTo>
                    <a:lnTo>
                      <a:pt x="377" y="1840"/>
                    </a:lnTo>
                    <a:lnTo>
                      <a:pt x="386" y="1844"/>
                    </a:lnTo>
                    <a:lnTo>
                      <a:pt x="392" y="1844"/>
                    </a:lnTo>
                    <a:lnTo>
                      <a:pt x="397" y="1845"/>
                    </a:lnTo>
                    <a:lnTo>
                      <a:pt x="397" y="1845"/>
                    </a:lnTo>
                    <a:lnTo>
                      <a:pt x="411" y="1844"/>
                    </a:lnTo>
                    <a:lnTo>
                      <a:pt x="422" y="1842"/>
                    </a:lnTo>
                    <a:lnTo>
                      <a:pt x="431" y="1837"/>
                    </a:lnTo>
                    <a:lnTo>
                      <a:pt x="438" y="1832"/>
                    </a:lnTo>
                    <a:lnTo>
                      <a:pt x="451" y="1822"/>
                    </a:lnTo>
                    <a:lnTo>
                      <a:pt x="458" y="1816"/>
                    </a:lnTo>
                    <a:lnTo>
                      <a:pt x="468" y="1812"/>
                    </a:lnTo>
                    <a:lnTo>
                      <a:pt x="468" y="1812"/>
                    </a:lnTo>
                    <a:lnTo>
                      <a:pt x="473" y="1811"/>
                    </a:lnTo>
                    <a:lnTo>
                      <a:pt x="478" y="1811"/>
                    </a:lnTo>
                    <a:lnTo>
                      <a:pt x="488" y="1812"/>
                    </a:lnTo>
                    <a:lnTo>
                      <a:pt x="499" y="1813"/>
                    </a:lnTo>
                    <a:lnTo>
                      <a:pt x="504" y="1813"/>
                    </a:lnTo>
                    <a:lnTo>
                      <a:pt x="511" y="1812"/>
                    </a:lnTo>
                    <a:lnTo>
                      <a:pt x="511" y="1812"/>
                    </a:lnTo>
                    <a:lnTo>
                      <a:pt x="517" y="1811"/>
                    </a:lnTo>
                    <a:lnTo>
                      <a:pt x="524" y="1807"/>
                    </a:lnTo>
                    <a:lnTo>
                      <a:pt x="531" y="1802"/>
                    </a:lnTo>
                    <a:lnTo>
                      <a:pt x="538" y="1797"/>
                    </a:lnTo>
                    <a:lnTo>
                      <a:pt x="550" y="1785"/>
                    </a:lnTo>
                    <a:lnTo>
                      <a:pt x="555" y="1782"/>
                    </a:lnTo>
                    <a:lnTo>
                      <a:pt x="560" y="1779"/>
                    </a:lnTo>
                    <a:lnTo>
                      <a:pt x="560" y="1779"/>
                    </a:lnTo>
                    <a:lnTo>
                      <a:pt x="565" y="1775"/>
                    </a:lnTo>
                    <a:lnTo>
                      <a:pt x="572" y="1771"/>
                    </a:lnTo>
                    <a:lnTo>
                      <a:pt x="585" y="1767"/>
                    </a:lnTo>
                    <a:lnTo>
                      <a:pt x="596" y="1763"/>
                    </a:lnTo>
                    <a:lnTo>
                      <a:pt x="608" y="1762"/>
                    </a:lnTo>
                    <a:lnTo>
                      <a:pt x="619" y="1760"/>
                    </a:lnTo>
                    <a:lnTo>
                      <a:pt x="631" y="1756"/>
                    </a:lnTo>
                    <a:lnTo>
                      <a:pt x="642" y="1751"/>
                    </a:lnTo>
                    <a:lnTo>
                      <a:pt x="648" y="1747"/>
                    </a:lnTo>
                    <a:lnTo>
                      <a:pt x="654" y="1741"/>
                    </a:lnTo>
                    <a:lnTo>
                      <a:pt x="654" y="1741"/>
                    </a:lnTo>
                    <a:lnTo>
                      <a:pt x="657" y="1739"/>
                    </a:lnTo>
                    <a:lnTo>
                      <a:pt x="661" y="1736"/>
                    </a:lnTo>
                    <a:lnTo>
                      <a:pt x="662" y="1733"/>
                    </a:lnTo>
                    <a:lnTo>
                      <a:pt x="662" y="1730"/>
                    </a:lnTo>
                    <a:lnTo>
                      <a:pt x="662" y="1721"/>
                    </a:lnTo>
                    <a:lnTo>
                      <a:pt x="662" y="1709"/>
                    </a:lnTo>
                    <a:lnTo>
                      <a:pt x="662" y="1709"/>
                    </a:lnTo>
                    <a:lnTo>
                      <a:pt x="666" y="1709"/>
                    </a:lnTo>
                    <a:lnTo>
                      <a:pt x="666" y="1709"/>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8" name="Freeform 136"/>
              <p:cNvSpPr>
                <a:spLocks noChangeAspect="1"/>
              </p:cNvSpPr>
              <p:nvPr/>
            </p:nvSpPr>
            <p:spPr bwMode="auto">
              <a:xfrm>
                <a:off x="7455621" y="1900168"/>
                <a:ext cx="746586" cy="1216242"/>
              </a:xfrm>
              <a:custGeom>
                <a:avLst/>
                <a:gdLst/>
                <a:ahLst/>
                <a:cxnLst>
                  <a:cxn ang="0">
                    <a:pos x="892" y="1656"/>
                  </a:cxn>
                  <a:cxn ang="0">
                    <a:pos x="897" y="1590"/>
                  </a:cxn>
                  <a:cxn ang="0">
                    <a:pos x="864" y="1476"/>
                  </a:cxn>
                  <a:cxn ang="0">
                    <a:pos x="882" y="1404"/>
                  </a:cxn>
                  <a:cxn ang="0">
                    <a:pos x="835" y="1303"/>
                  </a:cxn>
                  <a:cxn ang="0">
                    <a:pos x="832" y="1247"/>
                  </a:cxn>
                  <a:cxn ang="0">
                    <a:pos x="902" y="1193"/>
                  </a:cxn>
                  <a:cxn ang="0">
                    <a:pos x="938" y="1114"/>
                  </a:cxn>
                  <a:cxn ang="0">
                    <a:pos x="915" y="1049"/>
                  </a:cxn>
                  <a:cxn ang="0">
                    <a:pos x="876" y="1056"/>
                  </a:cxn>
                  <a:cxn ang="0">
                    <a:pos x="866" y="1103"/>
                  </a:cxn>
                  <a:cxn ang="0">
                    <a:pos x="849" y="1139"/>
                  </a:cxn>
                  <a:cxn ang="0">
                    <a:pos x="784" y="1064"/>
                  </a:cxn>
                  <a:cxn ang="0">
                    <a:pos x="651" y="868"/>
                  </a:cxn>
                  <a:cxn ang="0">
                    <a:pos x="640" y="815"/>
                  </a:cxn>
                  <a:cxn ang="0">
                    <a:pos x="697" y="782"/>
                  </a:cxn>
                  <a:cxn ang="0">
                    <a:pos x="666" y="650"/>
                  </a:cxn>
                  <a:cxn ang="0">
                    <a:pos x="691" y="652"/>
                  </a:cxn>
                  <a:cxn ang="0">
                    <a:pos x="743" y="702"/>
                  </a:cxn>
                  <a:cxn ang="0">
                    <a:pos x="736" y="650"/>
                  </a:cxn>
                  <a:cxn ang="0">
                    <a:pos x="696" y="558"/>
                  </a:cxn>
                  <a:cxn ang="0">
                    <a:pos x="732" y="459"/>
                  </a:cxn>
                  <a:cxn ang="0">
                    <a:pos x="817" y="422"/>
                  </a:cxn>
                  <a:cxn ang="0">
                    <a:pos x="861" y="415"/>
                  </a:cxn>
                  <a:cxn ang="0">
                    <a:pos x="751" y="151"/>
                  </a:cxn>
                  <a:cxn ang="0">
                    <a:pos x="666" y="16"/>
                  </a:cxn>
                  <a:cxn ang="0">
                    <a:pos x="622" y="3"/>
                  </a:cxn>
                  <a:cxn ang="0">
                    <a:pos x="603" y="80"/>
                  </a:cxn>
                  <a:cxn ang="0">
                    <a:pos x="574" y="181"/>
                  </a:cxn>
                  <a:cxn ang="0">
                    <a:pos x="544" y="260"/>
                  </a:cxn>
                  <a:cxn ang="0">
                    <a:pos x="445" y="280"/>
                  </a:cxn>
                  <a:cxn ang="0">
                    <a:pos x="374" y="308"/>
                  </a:cxn>
                  <a:cxn ang="0">
                    <a:pos x="343" y="222"/>
                  </a:cxn>
                  <a:cxn ang="0">
                    <a:pos x="303" y="214"/>
                  </a:cxn>
                  <a:cxn ang="0">
                    <a:pos x="210" y="262"/>
                  </a:cxn>
                  <a:cxn ang="0">
                    <a:pos x="114" y="353"/>
                  </a:cxn>
                  <a:cxn ang="0">
                    <a:pos x="54" y="420"/>
                  </a:cxn>
                  <a:cxn ang="0">
                    <a:pos x="21" y="451"/>
                  </a:cxn>
                  <a:cxn ang="0">
                    <a:pos x="1" y="496"/>
                  </a:cxn>
                  <a:cxn ang="0">
                    <a:pos x="13" y="530"/>
                  </a:cxn>
                  <a:cxn ang="0">
                    <a:pos x="67" y="548"/>
                  </a:cxn>
                  <a:cxn ang="0">
                    <a:pos x="77" y="601"/>
                  </a:cxn>
                  <a:cxn ang="0">
                    <a:pos x="184" y="662"/>
                  </a:cxn>
                  <a:cxn ang="0">
                    <a:pos x="207" y="706"/>
                  </a:cxn>
                  <a:cxn ang="0">
                    <a:pos x="278" y="721"/>
                  </a:cxn>
                  <a:cxn ang="0">
                    <a:pos x="304" y="784"/>
                  </a:cxn>
                  <a:cxn ang="0">
                    <a:pos x="331" y="775"/>
                  </a:cxn>
                  <a:cxn ang="0">
                    <a:pos x="352" y="795"/>
                  </a:cxn>
                  <a:cxn ang="0">
                    <a:pos x="388" y="781"/>
                  </a:cxn>
                  <a:cxn ang="0">
                    <a:pos x="350" y="718"/>
                  </a:cxn>
                  <a:cxn ang="0">
                    <a:pos x="285" y="662"/>
                  </a:cxn>
                  <a:cxn ang="0">
                    <a:pos x="346" y="557"/>
                  </a:cxn>
                  <a:cxn ang="0">
                    <a:pos x="354" y="604"/>
                  </a:cxn>
                  <a:cxn ang="0">
                    <a:pos x="372" y="679"/>
                  </a:cxn>
                  <a:cxn ang="0">
                    <a:pos x="491" y="770"/>
                  </a:cxn>
                  <a:cxn ang="0">
                    <a:pos x="519" y="870"/>
                  </a:cxn>
                  <a:cxn ang="0">
                    <a:pos x="543" y="1044"/>
                  </a:cxn>
                  <a:cxn ang="0">
                    <a:pos x="636" y="1300"/>
                  </a:cxn>
                  <a:cxn ang="0">
                    <a:pos x="637" y="1449"/>
                  </a:cxn>
                  <a:cxn ang="0">
                    <a:pos x="677" y="1525"/>
                  </a:cxn>
                  <a:cxn ang="0">
                    <a:pos x="710" y="1605"/>
                  </a:cxn>
                  <a:cxn ang="0">
                    <a:pos x="802" y="1748"/>
                  </a:cxn>
                </a:cxnLst>
                <a:rect l="0" t="0" r="r" b="b"/>
                <a:pathLst>
                  <a:path w="941" h="1748">
                    <a:moveTo>
                      <a:pt x="824" y="1737"/>
                    </a:moveTo>
                    <a:lnTo>
                      <a:pt x="824" y="1737"/>
                    </a:lnTo>
                    <a:lnTo>
                      <a:pt x="834" y="1728"/>
                    </a:lnTo>
                    <a:lnTo>
                      <a:pt x="847" y="1717"/>
                    </a:lnTo>
                    <a:lnTo>
                      <a:pt x="859" y="1703"/>
                    </a:lnTo>
                    <a:lnTo>
                      <a:pt x="872" y="1688"/>
                    </a:lnTo>
                    <a:lnTo>
                      <a:pt x="884" y="1672"/>
                    </a:lnTo>
                    <a:lnTo>
                      <a:pt x="892" y="1656"/>
                    </a:lnTo>
                    <a:lnTo>
                      <a:pt x="896" y="1648"/>
                    </a:lnTo>
                    <a:lnTo>
                      <a:pt x="899" y="1640"/>
                    </a:lnTo>
                    <a:lnTo>
                      <a:pt x="900" y="1632"/>
                    </a:lnTo>
                    <a:lnTo>
                      <a:pt x="901" y="1624"/>
                    </a:lnTo>
                    <a:lnTo>
                      <a:pt x="901" y="1624"/>
                    </a:lnTo>
                    <a:lnTo>
                      <a:pt x="900" y="1612"/>
                    </a:lnTo>
                    <a:lnTo>
                      <a:pt x="899" y="1601"/>
                    </a:lnTo>
                    <a:lnTo>
                      <a:pt x="897" y="1590"/>
                    </a:lnTo>
                    <a:lnTo>
                      <a:pt x="895" y="1581"/>
                    </a:lnTo>
                    <a:lnTo>
                      <a:pt x="889" y="1563"/>
                    </a:lnTo>
                    <a:lnTo>
                      <a:pt x="882" y="1546"/>
                    </a:lnTo>
                    <a:lnTo>
                      <a:pt x="876" y="1530"/>
                    </a:lnTo>
                    <a:lnTo>
                      <a:pt x="870" y="1514"/>
                    </a:lnTo>
                    <a:lnTo>
                      <a:pt x="865" y="1496"/>
                    </a:lnTo>
                    <a:lnTo>
                      <a:pt x="864" y="1487"/>
                    </a:lnTo>
                    <a:lnTo>
                      <a:pt x="864" y="1476"/>
                    </a:lnTo>
                    <a:lnTo>
                      <a:pt x="864" y="1476"/>
                    </a:lnTo>
                    <a:lnTo>
                      <a:pt x="865" y="1467"/>
                    </a:lnTo>
                    <a:lnTo>
                      <a:pt x="868" y="1459"/>
                    </a:lnTo>
                    <a:lnTo>
                      <a:pt x="873" y="1442"/>
                    </a:lnTo>
                    <a:lnTo>
                      <a:pt x="879" y="1423"/>
                    </a:lnTo>
                    <a:lnTo>
                      <a:pt x="881" y="1414"/>
                    </a:lnTo>
                    <a:lnTo>
                      <a:pt x="882" y="1404"/>
                    </a:lnTo>
                    <a:lnTo>
                      <a:pt x="882" y="1404"/>
                    </a:lnTo>
                    <a:lnTo>
                      <a:pt x="881" y="1395"/>
                    </a:lnTo>
                    <a:lnTo>
                      <a:pt x="880" y="1387"/>
                    </a:lnTo>
                    <a:lnTo>
                      <a:pt x="878" y="1378"/>
                    </a:lnTo>
                    <a:lnTo>
                      <a:pt x="873" y="1370"/>
                    </a:lnTo>
                    <a:lnTo>
                      <a:pt x="865" y="1354"/>
                    </a:lnTo>
                    <a:lnTo>
                      <a:pt x="855" y="1337"/>
                    </a:lnTo>
                    <a:lnTo>
                      <a:pt x="845" y="1320"/>
                    </a:lnTo>
                    <a:lnTo>
                      <a:pt x="835" y="1303"/>
                    </a:lnTo>
                    <a:lnTo>
                      <a:pt x="832" y="1293"/>
                    </a:lnTo>
                    <a:lnTo>
                      <a:pt x="830" y="1284"/>
                    </a:lnTo>
                    <a:lnTo>
                      <a:pt x="827" y="1274"/>
                    </a:lnTo>
                    <a:lnTo>
                      <a:pt x="827" y="1263"/>
                    </a:lnTo>
                    <a:lnTo>
                      <a:pt x="827" y="1263"/>
                    </a:lnTo>
                    <a:lnTo>
                      <a:pt x="827" y="1258"/>
                    </a:lnTo>
                    <a:lnTo>
                      <a:pt x="830" y="1253"/>
                    </a:lnTo>
                    <a:lnTo>
                      <a:pt x="832" y="1247"/>
                    </a:lnTo>
                    <a:lnTo>
                      <a:pt x="834" y="1243"/>
                    </a:lnTo>
                    <a:lnTo>
                      <a:pt x="842" y="1235"/>
                    </a:lnTo>
                    <a:lnTo>
                      <a:pt x="851" y="1228"/>
                    </a:lnTo>
                    <a:lnTo>
                      <a:pt x="873" y="1214"/>
                    </a:lnTo>
                    <a:lnTo>
                      <a:pt x="885" y="1208"/>
                    </a:lnTo>
                    <a:lnTo>
                      <a:pt x="894" y="1201"/>
                    </a:lnTo>
                    <a:lnTo>
                      <a:pt x="894" y="1201"/>
                    </a:lnTo>
                    <a:lnTo>
                      <a:pt x="902" y="1193"/>
                    </a:lnTo>
                    <a:lnTo>
                      <a:pt x="910" y="1184"/>
                    </a:lnTo>
                    <a:lnTo>
                      <a:pt x="916" y="1174"/>
                    </a:lnTo>
                    <a:lnTo>
                      <a:pt x="922" y="1163"/>
                    </a:lnTo>
                    <a:lnTo>
                      <a:pt x="930" y="1138"/>
                    </a:lnTo>
                    <a:lnTo>
                      <a:pt x="938" y="1114"/>
                    </a:lnTo>
                    <a:lnTo>
                      <a:pt x="938" y="1114"/>
                    </a:lnTo>
                    <a:lnTo>
                      <a:pt x="941" y="1117"/>
                    </a:lnTo>
                    <a:lnTo>
                      <a:pt x="938" y="1114"/>
                    </a:lnTo>
                    <a:lnTo>
                      <a:pt x="938" y="1114"/>
                    </a:lnTo>
                    <a:lnTo>
                      <a:pt x="938" y="1114"/>
                    </a:lnTo>
                    <a:lnTo>
                      <a:pt x="932" y="1103"/>
                    </a:lnTo>
                    <a:lnTo>
                      <a:pt x="927" y="1091"/>
                    </a:lnTo>
                    <a:lnTo>
                      <a:pt x="923" y="1075"/>
                    </a:lnTo>
                    <a:lnTo>
                      <a:pt x="919" y="1055"/>
                    </a:lnTo>
                    <a:lnTo>
                      <a:pt x="919" y="1055"/>
                    </a:lnTo>
                    <a:lnTo>
                      <a:pt x="915" y="1049"/>
                    </a:lnTo>
                    <a:lnTo>
                      <a:pt x="910" y="1046"/>
                    </a:lnTo>
                    <a:lnTo>
                      <a:pt x="903" y="1042"/>
                    </a:lnTo>
                    <a:lnTo>
                      <a:pt x="899" y="1042"/>
                    </a:lnTo>
                    <a:lnTo>
                      <a:pt x="895" y="1042"/>
                    </a:lnTo>
                    <a:lnTo>
                      <a:pt x="891" y="1044"/>
                    </a:lnTo>
                    <a:lnTo>
                      <a:pt x="885" y="1047"/>
                    </a:lnTo>
                    <a:lnTo>
                      <a:pt x="880" y="1051"/>
                    </a:lnTo>
                    <a:lnTo>
                      <a:pt x="876" y="1056"/>
                    </a:lnTo>
                    <a:lnTo>
                      <a:pt x="870" y="1063"/>
                    </a:lnTo>
                    <a:lnTo>
                      <a:pt x="864" y="1072"/>
                    </a:lnTo>
                    <a:lnTo>
                      <a:pt x="864" y="1072"/>
                    </a:lnTo>
                    <a:lnTo>
                      <a:pt x="862" y="1077"/>
                    </a:lnTo>
                    <a:lnTo>
                      <a:pt x="862" y="1082"/>
                    </a:lnTo>
                    <a:lnTo>
                      <a:pt x="862" y="1086"/>
                    </a:lnTo>
                    <a:lnTo>
                      <a:pt x="863" y="1092"/>
                    </a:lnTo>
                    <a:lnTo>
                      <a:pt x="866" y="1103"/>
                    </a:lnTo>
                    <a:lnTo>
                      <a:pt x="871" y="1115"/>
                    </a:lnTo>
                    <a:lnTo>
                      <a:pt x="873" y="1126"/>
                    </a:lnTo>
                    <a:lnTo>
                      <a:pt x="872" y="1130"/>
                    </a:lnTo>
                    <a:lnTo>
                      <a:pt x="871" y="1135"/>
                    </a:lnTo>
                    <a:lnTo>
                      <a:pt x="869" y="1137"/>
                    </a:lnTo>
                    <a:lnTo>
                      <a:pt x="864" y="1139"/>
                    </a:lnTo>
                    <a:lnTo>
                      <a:pt x="858" y="1139"/>
                    </a:lnTo>
                    <a:lnTo>
                      <a:pt x="849" y="1139"/>
                    </a:lnTo>
                    <a:lnTo>
                      <a:pt x="849" y="1139"/>
                    </a:lnTo>
                    <a:lnTo>
                      <a:pt x="845" y="1137"/>
                    </a:lnTo>
                    <a:lnTo>
                      <a:pt x="840" y="1133"/>
                    </a:lnTo>
                    <a:lnTo>
                      <a:pt x="830" y="1125"/>
                    </a:lnTo>
                    <a:lnTo>
                      <a:pt x="819" y="1114"/>
                    </a:lnTo>
                    <a:lnTo>
                      <a:pt x="808" y="1100"/>
                    </a:lnTo>
                    <a:lnTo>
                      <a:pt x="796" y="1083"/>
                    </a:lnTo>
                    <a:lnTo>
                      <a:pt x="784" y="1064"/>
                    </a:lnTo>
                    <a:lnTo>
                      <a:pt x="757" y="1024"/>
                    </a:lnTo>
                    <a:lnTo>
                      <a:pt x="731" y="980"/>
                    </a:lnTo>
                    <a:lnTo>
                      <a:pt x="703" y="937"/>
                    </a:lnTo>
                    <a:lnTo>
                      <a:pt x="690" y="917"/>
                    </a:lnTo>
                    <a:lnTo>
                      <a:pt x="677" y="899"/>
                    </a:lnTo>
                    <a:lnTo>
                      <a:pt x="664" y="881"/>
                    </a:lnTo>
                    <a:lnTo>
                      <a:pt x="651" y="868"/>
                    </a:lnTo>
                    <a:lnTo>
                      <a:pt x="651" y="868"/>
                    </a:lnTo>
                    <a:lnTo>
                      <a:pt x="644" y="860"/>
                    </a:lnTo>
                    <a:lnTo>
                      <a:pt x="640" y="851"/>
                    </a:lnTo>
                    <a:lnTo>
                      <a:pt x="636" y="845"/>
                    </a:lnTo>
                    <a:lnTo>
                      <a:pt x="634" y="838"/>
                    </a:lnTo>
                    <a:lnTo>
                      <a:pt x="634" y="831"/>
                    </a:lnTo>
                    <a:lnTo>
                      <a:pt x="635" y="825"/>
                    </a:lnTo>
                    <a:lnTo>
                      <a:pt x="637" y="819"/>
                    </a:lnTo>
                    <a:lnTo>
                      <a:pt x="640" y="815"/>
                    </a:lnTo>
                    <a:lnTo>
                      <a:pt x="644" y="810"/>
                    </a:lnTo>
                    <a:lnTo>
                      <a:pt x="650" y="805"/>
                    </a:lnTo>
                    <a:lnTo>
                      <a:pt x="656" y="802"/>
                    </a:lnTo>
                    <a:lnTo>
                      <a:pt x="663" y="799"/>
                    </a:lnTo>
                    <a:lnTo>
                      <a:pt x="678" y="794"/>
                    </a:lnTo>
                    <a:lnTo>
                      <a:pt x="696" y="790"/>
                    </a:lnTo>
                    <a:lnTo>
                      <a:pt x="696" y="790"/>
                    </a:lnTo>
                    <a:lnTo>
                      <a:pt x="697" y="782"/>
                    </a:lnTo>
                    <a:lnTo>
                      <a:pt x="698" y="775"/>
                    </a:lnTo>
                    <a:lnTo>
                      <a:pt x="697" y="769"/>
                    </a:lnTo>
                    <a:lnTo>
                      <a:pt x="695" y="763"/>
                    </a:lnTo>
                    <a:lnTo>
                      <a:pt x="690" y="756"/>
                    </a:lnTo>
                    <a:lnTo>
                      <a:pt x="685" y="750"/>
                    </a:lnTo>
                    <a:lnTo>
                      <a:pt x="666" y="735"/>
                    </a:lnTo>
                    <a:lnTo>
                      <a:pt x="666" y="735"/>
                    </a:lnTo>
                    <a:lnTo>
                      <a:pt x="666" y="650"/>
                    </a:lnTo>
                    <a:lnTo>
                      <a:pt x="666" y="650"/>
                    </a:lnTo>
                    <a:lnTo>
                      <a:pt x="666" y="650"/>
                    </a:lnTo>
                    <a:lnTo>
                      <a:pt x="670" y="645"/>
                    </a:lnTo>
                    <a:lnTo>
                      <a:pt x="673" y="643"/>
                    </a:lnTo>
                    <a:lnTo>
                      <a:pt x="677" y="642"/>
                    </a:lnTo>
                    <a:lnTo>
                      <a:pt x="681" y="644"/>
                    </a:lnTo>
                    <a:lnTo>
                      <a:pt x="686" y="648"/>
                    </a:lnTo>
                    <a:lnTo>
                      <a:pt x="691" y="652"/>
                    </a:lnTo>
                    <a:lnTo>
                      <a:pt x="702" y="664"/>
                    </a:lnTo>
                    <a:lnTo>
                      <a:pt x="713" y="677"/>
                    </a:lnTo>
                    <a:lnTo>
                      <a:pt x="724" y="689"/>
                    </a:lnTo>
                    <a:lnTo>
                      <a:pt x="729" y="694"/>
                    </a:lnTo>
                    <a:lnTo>
                      <a:pt x="734" y="698"/>
                    </a:lnTo>
                    <a:lnTo>
                      <a:pt x="739" y="701"/>
                    </a:lnTo>
                    <a:lnTo>
                      <a:pt x="743" y="702"/>
                    </a:lnTo>
                    <a:lnTo>
                      <a:pt x="743" y="702"/>
                    </a:lnTo>
                    <a:lnTo>
                      <a:pt x="750" y="700"/>
                    </a:lnTo>
                    <a:lnTo>
                      <a:pt x="752" y="697"/>
                    </a:lnTo>
                    <a:lnTo>
                      <a:pt x="754" y="695"/>
                    </a:lnTo>
                    <a:lnTo>
                      <a:pt x="755" y="689"/>
                    </a:lnTo>
                    <a:lnTo>
                      <a:pt x="755" y="683"/>
                    </a:lnTo>
                    <a:lnTo>
                      <a:pt x="751" y="675"/>
                    </a:lnTo>
                    <a:lnTo>
                      <a:pt x="748" y="668"/>
                    </a:lnTo>
                    <a:lnTo>
                      <a:pt x="736" y="650"/>
                    </a:lnTo>
                    <a:lnTo>
                      <a:pt x="723" y="631"/>
                    </a:lnTo>
                    <a:lnTo>
                      <a:pt x="709" y="612"/>
                    </a:lnTo>
                    <a:lnTo>
                      <a:pt x="704" y="602"/>
                    </a:lnTo>
                    <a:lnTo>
                      <a:pt x="700" y="593"/>
                    </a:lnTo>
                    <a:lnTo>
                      <a:pt x="696" y="584"/>
                    </a:lnTo>
                    <a:lnTo>
                      <a:pt x="696" y="576"/>
                    </a:lnTo>
                    <a:lnTo>
                      <a:pt x="696" y="576"/>
                    </a:lnTo>
                    <a:lnTo>
                      <a:pt x="696" y="558"/>
                    </a:lnTo>
                    <a:lnTo>
                      <a:pt x="698" y="541"/>
                    </a:lnTo>
                    <a:lnTo>
                      <a:pt x="701" y="525"/>
                    </a:lnTo>
                    <a:lnTo>
                      <a:pt x="704" y="511"/>
                    </a:lnTo>
                    <a:lnTo>
                      <a:pt x="709" y="498"/>
                    </a:lnTo>
                    <a:lnTo>
                      <a:pt x="713" y="486"/>
                    </a:lnTo>
                    <a:lnTo>
                      <a:pt x="719" y="475"/>
                    </a:lnTo>
                    <a:lnTo>
                      <a:pt x="725" y="467"/>
                    </a:lnTo>
                    <a:lnTo>
                      <a:pt x="732" y="459"/>
                    </a:lnTo>
                    <a:lnTo>
                      <a:pt x="739" y="451"/>
                    </a:lnTo>
                    <a:lnTo>
                      <a:pt x="747" y="445"/>
                    </a:lnTo>
                    <a:lnTo>
                      <a:pt x="754" y="441"/>
                    </a:lnTo>
                    <a:lnTo>
                      <a:pt x="762" y="436"/>
                    </a:lnTo>
                    <a:lnTo>
                      <a:pt x="770" y="433"/>
                    </a:lnTo>
                    <a:lnTo>
                      <a:pt x="786" y="427"/>
                    </a:lnTo>
                    <a:lnTo>
                      <a:pt x="802" y="423"/>
                    </a:lnTo>
                    <a:lnTo>
                      <a:pt x="817" y="422"/>
                    </a:lnTo>
                    <a:lnTo>
                      <a:pt x="843" y="421"/>
                    </a:lnTo>
                    <a:lnTo>
                      <a:pt x="853" y="421"/>
                    </a:lnTo>
                    <a:lnTo>
                      <a:pt x="859" y="421"/>
                    </a:lnTo>
                    <a:lnTo>
                      <a:pt x="861" y="420"/>
                    </a:lnTo>
                    <a:lnTo>
                      <a:pt x="862" y="419"/>
                    </a:lnTo>
                    <a:lnTo>
                      <a:pt x="862" y="416"/>
                    </a:lnTo>
                    <a:lnTo>
                      <a:pt x="861" y="415"/>
                    </a:lnTo>
                    <a:lnTo>
                      <a:pt x="861" y="415"/>
                    </a:lnTo>
                    <a:lnTo>
                      <a:pt x="853" y="404"/>
                    </a:lnTo>
                    <a:lnTo>
                      <a:pt x="845" y="391"/>
                    </a:lnTo>
                    <a:lnTo>
                      <a:pt x="836" y="376"/>
                    </a:lnTo>
                    <a:lnTo>
                      <a:pt x="827" y="359"/>
                    </a:lnTo>
                    <a:lnTo>
                      <a:pt x="810" y="319"/>
                    </a:lnTo>
                    <a:lnTo>
                      <a:pt x="790" y="270"/>
                    </a:lnTo>
                    <a:lnTo>
                      <a:pt x="771" y="214"/>
                    </a:lnTo>
                    <a:lnTo>
                      <a:pt x="751" y="151"/>
                    </a:lnTo>
                    <a:lnTo>
                      <a:pt x="731" y="78"/>
                    </a:lnTo>
                    <a:lnTo>
                      <a:pt x="710" y="0"/>
                    </a:lnTo>
                    <a:lnTo>
                      <a:pt x="710" y="0"/>
                    </a:lnTo>
                    <a:lnTo>
                      <a:pt x="701" y="0"/>
                    </a:lnTo>
                    <a:lnTo>
                      <a:pt x="693" y="2"/>
                    </a:lnTo>
                    <a:lnTo>
                      <a:pt x="686" y="6"/>
                    </a:lnTo>
                    <a:lnTo>
                      <a:pt x="679" y="9"/>
                    </a:lnTo>
                    <a:lnTo>
                      <a:pt x="666" y="16"/>
                    </a:lnTo>
                    <a:lnTo>
                      <a:pt x="659" y="18"/>
                    </a:lnTo>
                    <a:lnTo>
                      <a:pt x="651" y="18"/>
                    </a:lnTo>
                    <a:lnTo>
                      <a:pt x="651" y="18"/>
                    </a:lnTo>
                    <a:lnTo>
                      <a:pt x="647" y="18"/>
                    </a:lnTo>
                    <a:lnTo>
                      <a:pt x="642" y="17"/>
                    </a:lnTo>
                    <a:lnTo>
                      <a:pt x="635" y="14"/>
                    </a:lnTo>
                    <a:lnTo>
                      <a:pt x="622" y="3"/>
                    </a:lnTo>
                    <a:lnTo>
                      <a:pt x="622" y="3"/>
                    </a:lnTo>
                    <a:lnTo>
                      <a:pt x="616" y="13"/>
                    </a:lnTo>
                    <a:lnTo>
                      <a:pt x="612" y="21"/>
                    </a:lnTo>
                    <a:lnTo>
                      <a:pt x="610" y="30"/>
                    </a:lnTo>
                    <a:lnTo>
                      <a:pt x="609" y="39"/>
                    </a:lnTo>
                    <a:lnTo>
                      <a:pt x="606" y="60"/>
                    </a:lnTo>
                    <a:lnTo>
                      <a:pt x="605" y="70"/>
                    </a:lnTo>
                    <a:lnTo>
                      <a:pt x="603" y="80"/>
                    </a:lnTo>
                    <a:lnTo>
                      <a:pt x="603" y="80"/>
                    </a:lnTo>
                    <a:lnTo>
                      <a:pt x="598" y="93"/>
                    </a:lnTo>
                    <a:lnTo>
                      <a:pt x="594" y="105"/>
                    </a:lnTo>
                    <a:lnTo>
                      <a:pt x="584" y="128"/>
                    </a:lnTo>
                    <a:lnTo>
                      <a:pt x="580" y="139"/>
                    </a:lnTo>
                    <a:lnTo>
                      <a:pt x="576" y="152"/>
                    </a:lnTo>
                    <a:lnTo>
                      <a:pt x="574" y="166"/>
                    </a:lnTo>
                    <a:lnTo>
                      <a:pt x="574" y="181"/>
                    </a:lnTo>
                    <a:lnTo>
                      <a:pt x="574" y="181"/>
                    </a:lnTo>
                    <a:lnTo>
                      <a:pt x="574" y="216"/>
                    </a:lnTo>
                    <a:lnTo>
                      <a:pt x="574" y="216"/>
                    </a:lnTo>
                    <a:lnTo>
                      <a:pt x="573" y="228"/>
                    </a:lnTo>
                    <a:lnTo>
                      <a:pt x="569" y="238"/>
                    </a:lnTo>
                    <a:lnTo>
                      <a:pt x="565" y="245"/>
                    </a:lnTo>
                    <a:lnTo>
                      <a:pt x="559" y="252"/>
                    </a:lnTo>
                    <a:lnTo>
                      <a:pt x="552" y="257"/>
                    </a:lnTo>
                    <a:lnTo>
                      <a:pt x="544" y="260"/>
                    </a:lnTo>
                    <a:lnTo>
                      <a:pt x="535" y="262"/>
                    </a:lnTo>
                    <a:lnTo>
                      <a:pt x="525" y="265"/>
                    </a:lnTo>
                    <a:lnTo>
                      <a:pt x="504" y="267"/>
                    </a:lnTo>
                    <a:lnTo>
                      <a:pt x="482" y="269"/>
                    </a:lnTo>
                    <a:lnTo>
                      <a:pt x="462" y="273"/>
                    </a:lnTo>
                    <a:lnTo>
                      <a:pt x="453" y="275"/>
                    </a:lnTo>
                    <a:lnTo>
                      <a:pt x="445" y="280"/>
                    </a:lnTo>
                    <a:lnTo>
                      <a:pt x="445" y="280"/>
                    </a:lnTo>
                    <a:lnTo>
                      <a:pt x="421" y="299"/>
                    </a:lnTo>
                    <a:lnTo>
                      <a:pt x="413" y="304"/>
                    </a:lnTo>
                    <a:lnTo>
                      <a:pt x="405" y="308"/>
                    </a:lnTo>
                    <a:lnTo>
                      <a:pt x="397" y="312"/>
                    </a:lnTo>
                    <a:lnTo>
                      <a:pt x="390" y="313"/>
                    </a:lnTo>
                    <a:lnTo>
                      <a:pt x="390" y="313"/>
                    </a:lnTo>
                    <a:lnTo>
                      <a:pt x="382" y="312"/>
                    </a:lnTo>
                    <a:lnTo>
                      <a:pt x="374" y="308"/>
                    </a:lnTo>
                    <a:lnTo>
                      <a:pt x="368" y="303"/>
                    </a:lnTo>
                    <a:lnTo>
                      <a:pt x="364" y="296"/>
                    </a:lnTo>
                    <a:lnTo>
                      <a:pt x="359" y="288"/>
                    </a:lnTo>
                    <a:lnTo>
                      <a:pt x="357" y="278"/>
                    </a:lnTo>
                    <a:lnTo>
                      <a:pt x="352" y="259"/>
                    </a:lnTo>
                    <a:lnTo>
                      <a:pt x="347" y="239"/>
                    </a:lnTo>
                    <a:lnTo>
                      <a:pt x="345" y="230"/>
                    </a:lnTo>
                    <a:lnTo>
                      <a:pt x="343" y="222"/>
                    </a:lnTo>
                    <a:lnTo>
                      <a:pt x="339" y="215"/>
                    </a:lnTo>
                    <a:lnTo>
                      <a:pt x="335" y="211"/>
                    </a:lnTo>
                    <a:lnTo>
                      <a:pt x="330" y="207"/>
                    </a:lnTo>
                    <a:lnTo>
                      <a:pt x="323" y="206"/>
                    </a:lnTo>
                    <a:lnTo>
                      <a:pt x="323" y="206"/>
                    </a:lnTo>
                    <a:lnTo>
                      <a:pt x="315" y="207"/>
                    </a:lnTo>
                    <a:lnTo>
                      <a:pt x="308" y="209"/>
                    </a:lnTo>
                    <a:lnTo>
                      <a:pt x="303" y="214"/>
                    </a:lnTo>
                    <a:lnTo>
                      <a:pt x="298" y="220"/>
                    </a:lnTo>
                    <a:lnTo>
                      <a:pt x="288" y="230"/>
                    </a:lnTo>
                    <a:lnTo>
                      <a:pt x="283" y="236"/>
                    </a:lnTo>
                    <a:lnTo>
                      <a:pt x="276" y="239"/>
                    </a:lnTo>
                    <a:lnTo>
                      <a:pt x="276" y="239"/>
                    </a:lnTo>
                    <a:lnTo>
                      <a:pt x="253" y="246"/>
                    </a:lnTo>
                    <a:lnTo>
                      <a:pt x="231" y="254"/>
                    </a:lnTo>
                    <a:lnTo>
                      <a:pt x="210" y="262"/>
                    </a:lnTo>
                    <a:lnTo>
                      <a:pt x="192" y="273"/>
                    </a:lnTo>
                    <a:lnTo>
                      <a:pt x="175" y="284"/>
                    </a:lnTo>
                    <a:lnTo>
                      <a:pt x="159" y="299"/>
                    </a:lnTo>
                    <a:lnTo>
                      <a:pt x="144" y="315"/>
                    </a:lnTo>
                    <a:lnTo>
                      <a:pt x="129" y="335"/>
                    </a:lnTo>
                    <a:lnTo>
                      <a:pt x="129" y="335"/>
                    </a:lnTo>
                    <a:lnTo>
                      <a:pt x="122" y="344"/>
                    </a:lnTo>
                    <a:lnTo>
                      <a:pt x="114" y="353"/>
                    </a:lnTo>
                    <a:lnTo>
                      <a:pt x="106" y="361"/>
                    </a:lnTo>
                    <a:lnTo>
                      <a:pt x="97" y="369"/>
                    </a:lnTo>
                    <a:lnTo>
                      <a:pt x="77" y="383"/>
                    </a:lnTo>
                    <a:lnTo>
                      <a:pt x="55" y="400"/>
                    </a:lnTo>
                    <a:lnTo>
                      <a:pt x="55" y="400"/>
                    </a:lnTo>
                    <a:lnTo>
                      <a:pt x="54" y="405"/>
                    </a:lnTo>
                    <a:lnTo>
                      <a:pt x="53" y="410"/>
                    </a:lnTo>
                    <a:lnTo>
                      <a:pt x="54" y="420"/>
                    </a:lnTo>
                    <a:lnTo>
                      <a:pt x="54" y="425"/>
                    </a:lnTo>
                    <a:lnTo>
                      <a:pt x="54" y="430"/>
                    </a:lnTo>
                    <a:lnTo>
                      <a:pt x="52" y="434"/>
                    </a:lnTo>
                    <a:lnTo>
                      <a:pt x="48" y="437"/>
                    </a:lnTo>
                    <a:lnTo>
                      <a:pt x="48" y="437"/>
                    </a:lnTo>
                    <a:lnTo>
                      <a:pt x="38" y="444"/>
                    </a:lnTo>
                    <a:lnTo>
                      <a:pt x="29" y="448"/>
                    </a:lnTo>
                    <a:lnTo>
                      <a:pt x="21" y="451"/>
                    </a:lnTo>
                    <a:lnTo>
                      <a:pt x="14" y="454"/>
                    </a:lnTo>
                    <a:lnTo>
                      <a:pt x="11" y="456"/>
                    </a:lnTo>
                    <a:lnTo>
                      <a:pt x="8" y="459"/>
                    </a:lnTo>
                    <a:lnTo>
                      <a:pt x="6" y="463"/>
                    </a:lnTo>
                    <a:lnTo>
                      <a:pt x="5" y="466"/>
                    </a:lnTo>
                    <a:lnTo>
                      <a:pt x="2" y="479"/>
                    </a:lnTo>
                    <a:lnTo>
                      <a:pt x="1" y="496"/>
                    </a:lnTo>
                    <a:lnTo>
                      <a:pt x="1" y="496"/>
                    </a:lnTo>
                    <a:lnTo>
                      <a:pt x="1" y="505"/>
                    </a:lnTo>
                    <a:lnTo>
                      <a:pt x="0" y="514"/>
                    </a:lnTo>
                    <a:lnTo>
                      <a:pt x="0" y="522"/>
                    </a:lnTo>
                    <a:lnTo>
                      <a:pt x="0" y="526"/>
                    </a:lnTo>
                    <a:lnTo>
                      <a:pt x="1" y="529"/>
                    </a:lnTo>
                    <a:lnTo>
                      <a:pt x="1" y="529"/>
                    </a:lnTo>
                    <a:lnTo>
                      <a:pt x="6" y="530"/>
                    </a:lnTo>
                    <a:lnTo>
                      <a:pt x="13" y="530"/>
                    </a:lnTo>
                    <a:lnTo>
                      <a:pt x="26" y="530"/>
                    </a:lnTo>
                    <a:lnTo>
                      <a:pt x="42" y="530"/>
                    </a:lnTo>
                    <a:lnTo>
                      <a:pt x="55" y="533"/>
                    </a:lnTo>
                    <a:lnTo>
                      <a:pt x="55" y="533"/>
                    </a:lnTo>
                    <a:lnTo>
                      <a:pt x="59" y="534"/>
                    </a:lnTo>
                    <a:lnTo>
                      <a:pt x="61" y="536"/>
                    </a:lnTo>
                    <a:lnTo>
                      <a:pt x="64" y="541"/>
                    </a:lnTo>
                    <a:lnTo>
                      <a:pt x="67" y="548"/>
                    </a:lnTo>
                    <a:lnTo>
                      <a:pt x="67" y="555"/>
                    </a:lnTo>
                    <a:lnTo>
                      <a:pt x="64" y="570"/>
                    </a:lnTo>
                    <a:lnTo>
                      <a:pt x="63" y="584"/>
                    </a:lnTo>
                    <a:lnTo>
                      <a:pt x="63" y="584"/>
                    </a:lnTo>
                    <a:lnTo>
                      <a:pt x="64" y="588"/>
                    </a:lnTo>
                    <a:lnTo>
                      <a:pt x="65" y="591"/>
                    </a:lnTo>
                    <a:lnTo>
                      <a:pt x="70" y="597"/>
                    </a:lnTo>
                    <a:lnTo>
                      <a:pt x="77" y="601"/>
                    </a:lnTo>
                    <a:lnTo>
                      <a:pt x="84" y="603"/>
                    </a:lnTo>
                    <a:lnTo>
                      <a:pt x="92" y="605"/>
                    </a:lnTo>
                    <a:lnTo>
                      <a:pt x="101" y="605"/>
                    </a:lnTo>
                    <a:lnTo>
                      <a:pt x="118" y="606"/>
                    </a:lnTo>
                    <a:lnTo>
                      <a:pt x="118" y="606"/>
                    </a:lnTo>
                    <a:lnTo>
                      <a:pt x="184" y="662"/>
                    </a:lnTo>
                    <a:lnTo>
                      <a:pt x="184" y="662"/>
                    </a:lnTo>
                    <a:lnTo>
                      <a:pt x="184" y="662"/>
                    </a:lnTo>
                    <a:lnTo>
                      <a:pt x="185" y="672"/>
                    </a:lnTo>
                    <a:lnTo>
                      <a:pt x="186" y="680"/>
                    </a:lnTo>
                    <a:lnTo>
                      <a:pt x="187" y="687"/>
                    </a:lnTo>
                    <a:lnTo>
                      <a:pt x="190" y="693"/>
                    </a:lnTo>
                    <a:lnTo>
                      <a:pt x="193" y="697"/>
                    </a:lnTo>
                    <a:lnTo>
                      <a:pt x="197" y="702"/>
                    </a:lnTo>
                    <a:lnTo>
                      <a:pt x="201" y="704"/>
                    </a:lnTo>
                    <a:lnTo>
                      <a:pt x="207" y="706"/>
                    </a:lnTo>
                    <a:lnTo>
                      <a:pt x="217" y="709"/>
                    </a:lnTo>
                    <a:lnTo>
                      <a:pt x="231" y="710"/>
                    </a:lnTo>
                    <a:lnTo>
                      <a:pt x="245" y="711"/>
                    </a:lnTo>
                    <a:lnTo>
                      <a:pt x="261" y="713"/>
                    </a:lnTo>
                    <a:lnTo>
                      <a:pt x="261" y="713"/>
                    </a:lnTo>
                    <a:lnTo>
                      <a:pt x="268" y="715"/>
                    </a:lnTo>
                    <a:lnTo>
                      <a:pt x="274" y="717"/>
                    </a:lnTo>
                    <a:lnTo>
                      <a:pt x="278" y="721"/>
                    </a:lnTo>
                    <a:lnTo>
                      <a:pt x="282" y="726"/>
                    </a:lnTo>
                    <a:lnTo>
                      <a:pt x="285" y="732"/>
                    </a:lnTo>
                    <a:lnTo>
                      <a:pt x="288" y="738"/>
                    </a:lnTo>
                    <a:lnTo>
                      <a:pt x="292" y="751"/>
                    </a:lnTo>
                    <a:lnTo>
                      <a:pt x="296" y="764"/>
                    </a:lnTo>
                    <a:lnTo>
                      <a:pt x="299" y="775"/>
                    </a:lnTo>
                    <a:lnTo>
                      <a:pt x="301" y="780"/>
                    </a:lnTo>
                    <a:lnTo>
                      <a:pt x="304" y="784"/>
                    </a:lnTo>
                    <a:lnTo>
                      <a:pt x="306" y="786"/>
                    </a:lnTo>
                    <a:lnTo>
                      <a:pt x="309" y="787"/>
                    </a:lnTo>
                    <a:lnTo>
                      <a:pt x="309" y="787"/>
                    </a:lnTo>
                    <a:lnTo>
                      <a:pt x="314" y="786"/>
                    </a:lnTo>
                    <a:lnTo>
                      <a:pt x="317" y="785"/>
                    </a:lnTo>
                    <a:lnTo>
                      <a:pt x="323" y="781"/>
                    </a:lnTo>
                    <a:lnTo>
                      <a:pt x="328" y="777"/>
                    </a:lnTo>
                    <a:lnTo>
                      <a:pt x="331" y="775"/>
                    </a:lnTo>
                    <a:lnTo>
                      <a:pt x="335" y="775"/>
                    </a:lnTo>
                    <a:lnTo>
                      <a:pt x="335" y="775"/>
                    </a:lnTo>
                    <a:lnTo>
                      <a:pt x="336" y="779"/>
                    </a:lnTo>
                    <a:lnTo>
                      <a:pt x="337" y="784"/>
                    </a:lnTo>
                    <a:lnTo>
                      <a:pt x="341" y="787"/>
                    </a:lnTo>
                    <a:lnTo>
                      <a:pt x="344" y="790"/>
                    </a:lnTo>
                    <a:lnTo>
                      <a:pt x="347" y="793"/>
                    </a:lnTo>
                    <a:lnTo>
                      <a:pt x="352" y="795"/>
                    </a:lnTo>
                    <a:lnTo>
                      <a:pt x="357" y="796"/>
                    </a:lnTo>
                    <a:lnTo>
                      <a:pt x="361" y="797"/>
                    </a:lnTo>
                    <a:lnTo>
                      <a:pt x="361" y="797"/>
                    </a:lnTo>
                    <a:lnTo>
                      <a:pt x="366" y="796"/>
                    </a:lnTo>
                    <a:lnTo>
                      <a:pt x="372" y="795"/>
                    </a:lnTo>
                    <a:lnTo>
                      <a:pt x="376" y="792"/>
                    </a:lnTo>
                    <a:lnTo>
                      <a:pt x="381" y="789"/>
                    </a:lnTo>
                    <a:lnTo>
                      <a:pt x="388" y="781"/>
                    </a:lnTo>
                    <a:lnTo>
                      <a:pt x="393" y="775"/>
                    </a:lnTo>
                    <a:lnTo>
                      <a:pt x="393" y="775"/>
                    </a:lnTo>
                    <a:lnTo>
                      <a:pt x="389" y="764"/>
                    </a:lnTo>
                    <a:lnTo>
                      <a:pt x="383" y="754"/>
                    </a:lnTo>
                    <a:lnTo>
                      <a:pt x="376" y="743"/>
                    </a:lnTo>
                    <a:lnTo>
                      <a:pt x="367" y="734"/>
                    </a:lnTo>
                    <a:lnTo>
                      <a:pt x="359" y="725"/>
                    </a:lnTo>
                    <a:lnTo>
                      <a:pt x="350" y="718"/>
                    </a:lnTo>
                    <a:lnTo>
                      <a:pt x="330" y="703"/>
                    </a:lnTo>
                    <a:lnTo>
                      <a:pt x="313" y="693"/>
                    </a:lnTo>
                    <a:lnTo>
                      <a:pt x="298" y="685"/>
                    </a:lnTo>
                    <a:lnTo>
                      <a:pt x="288" y="679"/>
                    </a:lnTo>
                    <a:lnTo>
                      <a:pt x="284" y="675"/>
                    </a:lnTo>
                    <a:lnTo>
                      <a:pt x="284" y="675"/>
                    </a:lnTo>
                    <a:lnTo>
                      <a:pt x="284" y="670"/>
                    </a:lnTo>
                    <a:lnTo>
                      <a:pt x="285" y="662"/>
                    </a:lnTo>
                    <a:lnTo>
                      <a:pt x="291" y="643"/>
                    </a:lnTo>
                    <a:lnTo>
                      <a:pt x="299" y="621"/>
                    </a:lnTo>
                    <a:lnTo>
                      <a:pt x="309" y="599"/>
                    </a:lnTo>
                    <a:lnTo>
                      <a:pt x="316" y="589"/>
                    </a:lnTo>
                    <a:lnTo>
                      <a:pt x="323" y="580"/>
                    </a:lnTo>
                    <a:lnTo>
                      <a:pt x="330" y="571"/>
                    </a:lnTo>
                    <a:lnTo>
                      <a:pt x="338" y="564"/>
                    </a:lnTo>
                    <a:lnTo>
                      <a:pt x="346" y="557"/>
                    </a:lnTo>
                    <a:lnTo>
                      <a:pt x="354" y="553"/>
                    </a:lnTo>
                    <a:lnTo>
                      <a:pt x="364" y="551"/>
                    </a:lnTo>
                    <a:lnTo>
                      <a:pt x="372" y="551"/>
                    </a:lnTo>
                    <a:lnTo>
                      <a:pt x="372" y="551"/>
                    </a:lnTo>
                    <a:lnTo>
                      <a:pt x="366" y="566"/>
                    </a:lnTo>
                    <a:lnTo>
                      <a:pt x="360" y="579"/>
                    </a:lnTo>
                    <a:lnTo>
                      <a:pt x="357" y="593"/>
                    </a:lnTo>
                    <a:lnTo>
                      <a:pt x="354" y="604"/>
                    </a:lnTo>
                    <a:lnTo>
                      <a:pt x="353" y="616"/>
                    </a:lnTo>
                    <a:lnTo>
                      <a:pt x="353" y="626"/>
                    </a:lnTo>
                    <a:lnTo>
                      <a:pt x="354" y="636"/>
                    </a:lnTo>
                    <a:lnTo>
                      <a:pt x="357" y="647"/>
                    </a:lnTo>
                    <a:lnTo>
                      <a:pt x="359" y="655"/>
                    </a:lnTo>
                    <a:lnTo>
                      <a:pt x="362" y="664"/>
                    </a:lnTo>
                    <a:lnTo>
                      <a:pt x="367" y="672"/>
                    </a:lnTo>
                    <a:lnTo>
                      <a:pt x="372" y="679"/>
                    </a:lnTo>
                    <a:lnTo>
                      <a:pt x="384" y="693"/>
                    </a:lnTo>
                    <a:lnTo>
                      <a:pt x="397" y="705"/>
                    </a:lnTo>
                    <a:lnTo>
                      <a:pt x="412" y="716"/>
                    </a:lnTo>
                    <a:lnTo>
                      <a:pt x="428" y="726"/>
                    </a:lnTo>
                    <a:lnTo>
                      <a:pt x="457" y="743"/>
                    </a:lnTo>
                    <a:lnTo>
                      <a:pt x="471" y="752"/>
                    </a:lnTo>
                    <a:lnTo>
                      <a:pt x="482" y="761"/>
                    </a:lnTo>
                    <a:lnTo>
                      <a:pt x="491" y="770"/>
                    </a:lnTo>
                    <a:lnTo>
                      <a:pt x="495" y="774"/>
                    </a:lnTo>
                    <a:lnTo>
                      <a:pt x="497" y="779"/>
                    </a:lnTo>
                    <a:lnTo>
                      <a:pt x="497" y="779"/>
                    </a:lnTo>
                    <a:lnTo>
                      <a:pt x="505" y="800"/>
                    </a:lnTo>
                    <a:lnTo>
                      <a:pt x="510" y="818"/>
                    </a:lnTo>
                    <a:lnTo>
                      <a:pt x="514" y="836"/>
                    </a:lnTo>
                    <a:lnTo>
                      <a:pt x="517" y="853"/>
                    </a:lnTo>
                    <a:lnTo>
                      <a:pt x="519" y="870"/>
                    </a:lnTo>
                    <a:lnTo>
                      <a:pt x="520" y="886"/>
                    </a:lnTo>
                    <a:lnTo>
                      <a:pt x="521" y="918"/>
                    </a:lnTo>
                    <a:lnTo>
                      <a:pt x="521" y="935"/>
                    </a:lnTo>
                    <a:lnTo>
                      <a:pt x="523" y="954"/>
                    </a:lnTo>
                    <a:lnTo>
                      <a:pt x="526" y="973"/>
                    </a:lnTo>
                    <a:lnTo>
                      <a:pt x="530" y="995"/>
                    </a:lnTo>
                    <a:lnTo>
                      <a:pt x="536" y="1018"/>
                    </a:lnTo>
                    <a:lnTo>
                      <a:pt x="543" y="1044"/>
                    </a:lnTo>
                    <a:lnTo>
                      <a:pt x="553" y="1071"/>
                    </a:lnTo>
                    <a:lnTo>
                      <a:pt x="567" y="1102"/>
                    </a:lnTo>
                    <a:lnTo>
                      <a:pt x="567" y="1102"/>
                    </a:lnTo>
                    <a:lnTo>
                      <a:pt x="575" y="1121"/>
                    </a:lnTo>
                    <a:lnTo>
                      <a:pt x="584" y="1143"/>
                    </a:lnTo>
                    <a:lnTo>
                      <a:pt x="603" y="1192"/>
                    </a:lnTo>
                    <a:lnTo>
                      <a:pt x="621" y="1246"/>
                    </a:lnTo>
                    <a:lnTo>
                      <a:pt x="636" y="1300"/>
                    </a:lnTo>
                    <a:lnTo>
                      <a:pt x="636" y="1300"/>
                    </a:lnTo>
                    <a:lnTo>
                      <a:pt x="644" y="1329"/>
                    </a:lnTo>
                    <a:lnTo>
                      <a:pt x="649" y="1354"/>
                    </a:lnTo>
                    <a:lnTo>
                      <a:pt x="650" y="1376"/>
                    </a:lnTo>
                    <a:lnTo>
                      <a:pt x="650" y="1396"/>
                    </a:lnTo>
                    <a:lnTo>
                      <a:pt x="648" y="1412"/>
                    </a:lnTo>
                    <a:lnTo>
                      <a:pt x="644" y="1426"/>
                    </a:lnTo>
                    <a:lnTo>
                      <a:pt x="637" y="1449"/>
                    </a:lnTo>
                    <a:lnTo>
                      <a:pt x="634" y="1458"/>
                    </a:lnTo>
                    <a:lnTo>
                      <a:pt x="633" y="1467"/>
                    </a:lnTo>
                    <a:lnTo>
                      <a:pt x="632" y="1475"/>
                    </a:lnTo>
                    <a:lnTo>
                      <a:pt x="634" y="1483"/>
                    </a:lnTo>
                    <a:lnTo>
                      <a:pt x="639" y="1492"/>
                    </a:lnTo>
                    <a:lnTo>
                      <a:pt x="648" y="1502"/>
                    </a:lnTo>
                    <a:lnTo>
                      <a:pt x="659" y="1512"/>
                    </a:lnTo>
                    <a:lnTo>
                      <a:pt x="677" y="1525"/>
                    </a:lnTo>
                    <a:lnTo>
                      <a:pt x="677" y="1525"/>
                    </a:lnTo>
                    <a:lnTo>
                      <a:pt x="686" y="1533"/>
                    </a:lnTo>
                    <a:lnTo>
                      <a:pt x="694" y="1541"/>
                    </a:lnTo>
                    <a:lnTo>
                      <a:pt x="698" y="1550"/>
                    </a:lnTo>
                    <a:lnTo>
                      <a:pt x="702" y="1559"/>
                    </a:lnTo>
                    <a:lnTo>
                      <a:pt x="704" y="1569"/>
                    </a:lnTo>
                    <a:lnTo>
                      <a:pt x="706" y="1580"/>
                    </a:lnTo>
                    <a:lnTo>
                      <a:pt x="710" y="1605"/>
                    </a:lnTo>
                    <a:lnTo>
                      <a:pt x="713" y="1619"/>
                    </a:lnTo>
                    <a:lnTo>
                      <a:pt x="718" y="1634"/>
                    </a:lnTo>
                    <a:lnTo>
                      <a:pt x="725" y="1649"/>
                    </a:lnTo>
                    <a:lnTo>
                      <a:pt x="733" y="1666"/>
                    </a:lnTo>
                    <a:lnTo>
                      <a:pt x="744" y="1685"/>
                    </a:lnTo>
                    <a:lnTo>
                      <a:pt x="761" y="1704"/>
                    </a:lnTo>
                    <a:lnTo>
                      <a:pt x="779" y="1726"/>
                    </a:lnTo>
                    <a:lnTo>
                      <a:pt x="802" y="1748"/>
                    </a:lnTo>
                    <a:lnTo>
                      <a:pt x="802" y="1748"/>
                    </a:lnTo>
                    <a:lnTo>
                      <a:pt x="824" y="1737"/>
                    </a:lnTo>
                    <a:lnTo>
                      <a:pt x="824" y="173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49" name="Freeform 137"/>
              <p:cNvSpPr>
                <a:spLocks noChangeAspect="1"/>
              </p:cNvSpPr>
              <p:nvPr/>
            </p:nvSpPr>
            <p:spPr bwMode="auto">
              <a:xfrm>
                <a:off x="7357345" y="4605401"/>
                <a:ext cx="299586" cy="231003"/>
              </a:xfrm>
              <a:custGeom>
                <a:avLst/>
                <a:gdLst/>
                <a:ahLst/>
                <a:cxnLst>
                  <a:cxn ang="0">
                    <a:pos x="371" y="41"/>
                  </a:cxn>
                  <a:cxn ang="0">
                    <a:pos x="353" y="32"/>
                  </a:cxn>
                  <a:cxn ang="0">
                    <a:pos x="338" y="47"/>
                  </a:cxn>
                  <a:cxn ang="0">
                    <a:pos x="315" y="85"/>
                  </a:cxn>
                  <a:cxn ang="0">
                    <a:pos x="272" y="178"/>
                  </a:cxn>
                  <a:cxn ang="0">
                    <a:pos x="250" y="220"/>
                  </a:cxn>
                  <a:cxn ang="0">
                    <a:pos x="215" y="268"/>
                  </a:cxn>
                  <a:cxn ang="0">
                    <a:pos x="173" y="306"/>
                  </a:cxn>
                  <a:cxn ang="0">
                    <a:pos x="133" y="329"/>
                  </a:cxn>
                  <a:cxn ang="0">
                    <a:pos x="103" y="333"/>
                  </a:cxn>
                  <a:cxn ang="0">
                    <a:pos x="88" y="327"/>
                  </a:cxn>
                  <a:cxn ang="0">
                    <a:pos x="77" y="314"/>
                  </a:cxn>
                  <a:cxn ang="0">
                    <a:pos x="61" y="284"/>
                  </a:cxn>
                  <a:cxn ang="0">
                    <a:pos x="39" y="236"/>
                  </a:cxn>
                  <a:cxn ang="0">
                    <a:pos x="26" y="221"/>
                  </a:cxn>
                  <a:cxn ang="0">
                    <a:pos x="0" y="213"/>
                  </a:cxn>
                  <a:cxn ang="0">
                    <a:pos x="15" y="189"/>
                  </a:cxn>
                  <a:cxn ang="0">
                    <a:pos x="18" y="161"/>
                  </a:cxn>
                  <a:cxn ang="0">
                    <a:pos x="19" y="135"/>
                  </a:cxn>
                  <a:cxn ang="0">
                    <a:pos x="28" y="121"/>
                  </a:cxn>
                  <a:cxn ang="0">
                    <a:pos x="39" y="107"/>
                  </a:cxn>
                  <a:cxn ang="0">
                    <a:pos x="51" y="102"/>
                  </a:cxn>
                  <a:cxn ang="0">
                    <a:pos x="59" y="101"/>
                  </a:cxn>
                  <a:cxn ang="0">
                    <a:pos x="77" y="92"/>
                  </a:cxn>
                  <a:cxn ang="0">
                    <a:pos x="77" y="56"/>
                  </a:cxn>
                  <a:cxn ang="0">
                    <a:pos x="81" y="47"/>
                  </a:cxn>
                  <a:cxn ang="0">
                    <a:pos x="94" y="45"/>
                  </a:cxn>
                  <a:cxn ang="0">
                    <a:pos x="135" y="47"/>
                  </a:cxn>
                  <a:cxn ang="0">
                    <a:pos x="141" y="45"/>
                  </a:cxn>
                  <a:cxn ang="0">
                    <a:pos x="152" y="33"/>
                  </a:cxn>
                  <a:cxn ang="0">
                    <a:pos x="171" y="33"/>
                  </a:cxn>
                  <a:cxn ang="0">
                    <a:pos x="215" y="44"/>
                  </a:cxn>
                  <a:cxn ang="0">
                    <a:pos x="260" y="54"/>
                  </a:cxn>
                  <a:cxn ang="0">
                    <a:pos x="286" y="54"/>
                  </a:cxn>
                  <a:cxn ang="0">
                    <a:pos x="302" y="43"/>
                  </a:cxn>
                  <a:cxn ang="0">
                    <a:pos x="307" y="21"/>
                  </a:cxn>
                  <a:cxn ang="0">
                    <a:pos x="309" y="8"/>
                  </a:cxn>
                  <a:cxn ang="0">
                    <a:pos x="323" y="2"/>
                  </a:cxn>
                  <a:cxn ang="0">
                    <a:pos x="356" y="1"/>
                  </a:cxn>
                  <a:cxn ang="0">
                    <a:pos x="378" y="0"/>
                  </a:cxn>
                  <a:cxn ang="0">
                    <a:pos x="378" y="16"/>
                  </a:cxn>
                  <a:cxn ang="0">
                    <a:pos x="378" y="47"/>
                  </a:cxn>
                  <a:cxn ang="0">
                    <a:pos x="375" y="47"/>
                  </a:cxn>
                </a:cxnLst>
                <a:rect l="0" t="0" r="r" b="b"/>
                <a:pathLst>
                  <a:path w="378" h="333">
                    <a:moveTo>
                      <a:pt x="375" y="47"/>
                    </a:moveTo>
                    <a:lnTo>
                      <a:pt x="375" y="47"/>
                    </a:lnTo>
                    <a:lnTo>
                      <a:pt x="371" y="41"/>
                    </a:lnTo>
                    <a:lnTo>
                      <a:pt x="367" y="37"/>
                    </a:lnTo>
                    <a:lnTo>
                      <a:pt x="360" y="35"/>
                    </a:lnTo>
                    <a:lnTo>
                      <a:pt x="353" y="32"/>
                    </a:lnTo>
                    <a:lnTo>
                      <a:pt x="353" y="32"/>
                    </a:lnTo>
                    <a:lnTo>
                      <a:pt x="345" y="39"/>
                    </a:lnTo>
                    <a:lnTo>
                      <a:pt x="338" y="47"/>
                    </a:lnTo>
                    <a:lnTo>
                      <a:pt x="332" y="55"/>
                    </a:lnTo>
                    <a:lnTo>
                      <a:pt x="325" y="64"/>
                    </a:lnTo>
                    <a:lnTo>
                      <a:pt x="315" y="85"/>
                    </a:lnTo>
                    <a:lnTo>
                      <a:pt x="303" y="107"/>
                    </a:lnTo>
                    <a:lnTo>
                      <a:pt x="284" y="155"/>
                    </a:lnTo>
                    <a:lnTo>
                      <a:pt x="272" y="178"/>
                    </a:lnTo>
                    <a:lnTo>
                      <a:pt x="261" y="201"/>
                    </a:lnTo>
                    <a:lnTo>
                      <a:pt x="261" y="201"/>
                    </a:lnTo>
                    <a:lnTo>
                      <a:pt x="250" y="220"/>
                    </a:lnTo>
                    <a:lnTo>
                      <a:pt x="239" y="236"/>
                    </a:lnTo>
                    <a:lnTo>
                      <a:pt x="227" y="253"/>
                    </a:lnTo>
                    <a:lnTo>
                      <a:pt x="215" y="268"/>
                    </a:lnTo>
                    <a:lnTo>
                      <a:pt x="201" y="282"/>
                    </a:lnTo>
                    <a:lnTo>
                      <a:pt x="187" y="295"/>
                    </a:lnTo>
                    <a:lnTo>
                      <a:pt x="173" y="306"/>
                    </a:lnTo>
                    <a:lnTo>
                      <a:pt x="160" y="315"/>
                    </a:lnTo>
                    <a:lnTo>
                      <a:pt x="147" y="323"/>
                    </a:lnTo>
                    <a:lnTo>
                      <a:pt x="133" y="329"/>
                    </a:lnTo>
                    <a:lnTo>
                      <a:pt x="120" y="333"/>
                    </a:lnTo>
                    <a:lnTo>
                      <a:pt x="109" y="333"/>
                    </a:lnTo>
                    <a:lnTo>
                      <a:pt x="103" y="333"/>
                    </a:lnTo>
                    <a:lnTo>
                      <a:pt x="99" y="331"/>
                    </a:lnTo>
                    <a:lnTo>
                      <a:pt x="93" y="329"/>
                    </a:lnTo>
                    <a:lnTo>
                      <a:pt x="88" y="327"/>
                    </a:lnTo>
                    <a:lnTo>
                      <a:pt x="85" y="323"/>
                    </a:lnTo>
                    <a:lnTo>
                      <a:pt x="80" y="319"/>
                    </a:lnTo>
                    <a:lnTo>
                      <a:pt x="77" y="314"/>
                    </a:lnTo>
                    <a:lnTo>
                      <a:pt x="73" y="308"/>
                    </a:lnTo>
                    <a:lnTo>
                      <a:pt x="73" y="308"/>
                    </a:lnTo>
                    <a:lnTo>
                      <a:pt x="61" y="284"/>
                    </a:lnTo>
                    <a:lnTo>
                      <a:pt x="51" y="264"/>
                    </a:lnTo>
                    <a:lnTo>
                      <a:pt x="45" y="249"/>
                    </a:lnTo>
                    <a:lnTo>
                      <a:pt x="39" y="236"/>
                    </a:lnTo>
                    <a:lnTo>
                      <a:pt x="33" y="227"/>
                    </a:lnTo>
                    <a:lnTo>
                      <a:pt x="30" y="223"/>
                    </a:lnTo>
                    <a:lnTo>
                      <a:pt x="26" y="221"/>
                    </a:lnTo>
                    <a:lnTo>
                      <a:pt x="20" y="219"/>
                    </a:lnTo>
                    <a:lnTo>
                      <a:pt x="15" y="216"/>
                    </a:lnTo>
                    <a:lnTo>
                      <a:pt x="0" y="213"/>
                    </a:lnTo>
                    <a:lnTo>
                      <a:pt x="0" y="213"/>
                    </a:lnTo>
                    <a:lnTo>
                      <a:pt x="9" y="200"/>
                    </a:lnTo>
                    <a:lnTo>
                      <a:pt x="15" y="189"/>
                    </a:lnTo>
                    <a:lnTo>
                      <a:pt x="17" y="176"/>
                    </a:lnTo>
                    <a:lnTo>
                      <a:pt x="18" y="161"/>
                    </a:lnTo>
                    <a:lnTo>
                      <a:pt x="18" y="161"/>
                    </a:lnTo>
                    <a:lnTo>
                      <a:pt x="18" y="143"/>
                    </a:lnTo>
                    <a:lnTo>
                      <a:pt x="18" y="143"/>
                    </a:lnTo>
                    <a:lnTo>
                      <a:pt x="19" y="135"/>
                    </a:lnTo>
                    <a:lnTo>
                      <a:pt x="21" y="129"/>
                    </a:lnTo>
                    <a:lnTo>
                      <a:pt x="24" y="124"/>
                    </a:lnTo>
                    <a:lnTo>
                      <a:pt x="28" y="121"/>
                    </a:lnTo>
                    <a:lnTo>
                      <a:pt x="32" y="117"/>
                    </a:lnTo>
                    <a:lnTo>
                      <a:pt x="35" y="113"/>
                    </a:lnTo>
                    <a:lnTo>
                      <a:pt x="39" y="107"/>
                    </a:lnTo>
                    <a:lnTo>
                      <a:pt x="40" y="99"/>
                    </a:lnTo>
                    <a:lnTo>
                      <a:pt x="40" y="99"/>
                    </a:lnTo>
                    <a:lnTo>
                      <a:pt x="51" y="102"/>
                    </a:lnTo>
                    <a:lnTo>
                      <a:pt x="51" y="102"/>
                    </a:lnTo>
                    <a:lnTo>
                      <a:pt x="51" y="102"/>
                    </a:lnTo>
                    <a:lnTo>
                      <a:pt x="59" y="101"/>
                    </a:lnTo>
                    <a:lnTo>
                      <a:pt x="65" y="99"/>
                    </a:lnTo>
                    <a:lnTo>
                      <a:pt x="77" y="92"/>
                    </a:lnTo>
                    <a:lnTo>
                      <a:pt x="77" y="92"/>
                    </a:lnTo>
                    <a:lnTo>
                      <a:pt x="77" y="62"/>
                    </a:lnTo>
                    <a:lnTo>
                      <a:pt x="77" y="62"/>
                    </a:lnTo>
                    <a:lnTo>
                      <a:pt x="77" y="56"/>
                    </a:lnTo>
                    <a:lnTo>
                      <a:pt x="78" y="53"/>
                    </a:lnTo>
                    <a:lnTo>
                      <a:pt x="79" y="49"/>
                    </a:lnTo>
                    <a:lnTo>
                      <a:pt x="81" y="47"/>
                    </a:lnTo>
                    <a:lnTo>
                      <a:pt x="84" y="46"/>
                    </a:lnTo>
                    <a:lnTo>
                      <a:pt x="87" y="45"/>
                    </a:lnTo>
                    <a:lnTo>
                      <a:pt x="94" y="45"/>
                    </a:lnTo>
                    <a:lnTo>
                      <a:pt x="112" y="48"/>
                    </a:lnTo>
                    <a:lnTo>
                      <a:pt x="124" y="48"/>
                    </a:lnTo>
                    <a:lnTo>
                      <a:pt x="135" y="47"/>
                    </a:lnTo>
                    <a:lnTo>
                      <a:pt x="135" y="47"/>
                    </a:lnTo>
                    <a:lnTo>
                      <a:pt x="139" y="47"/>
                    </a:lnTo>
                    <a:lnTo>
                      <a:pt x="141" y="45"/>
                    </a:lnTo>
                    <a:lnTo>
                      <a:pt x="145" y="40"/>
                    </a:lnTo>
                    <a:lnTo>
                      <a:pt x="149" y="35"/>
                    </a:lnTo>
                    <a:lnTo>
                      <a:pt x="152" y="33"/>
                    </a:lnTo>
                    <a:lnTo>
                      <a:pt x="155" y="32"/>
                    </a:lnTo>
                    <a:lnTo>
                      <a:pt x="155" y="32"/>
                    </a:lnTo>
                    <a:lnTo>
                      <a:pt x="171" y="33"/>
                    </a:lnTo>
                    <a:lnTo>
                      <a:pt x="186" y="36"/>
                    </a:lnTo>
                    <a:lnTo>
                      <a:pt x="201" y="39"/>
                    </a:lnTo>
                    <a:lnTo>
                      <a:pt x="215" y="44"/>
                    </a:lnTo>
                    <a:lnTo>
                      <a:pt x="230" y="47"/>
                    </a:lnTo>
                    <a:lnTo>
                      <a:pt x="245" y="51"/>
                    </a:lnTo>
                    <a:lnTo>
                      <a:pt x="260" y="54"/>
                    </a:lnTo>
                    <a:lnTo>
                      <a:pt x="276" y="54"/>
                    </a:lnTo>
                    <a:lnTo>
                      <a:pt x="276" y="54"/>
                    </a:lnTo>
                    <a:lnTo>
                      <a:pt x="286" y="54"/>
                    </a:lnTo>
                    <a:lnTo>
                      <a:pt x="294" y="52"/>
                    </a:lnTo>
                    <a:lnTo>
                      <a:pt x="299" y="47"/>
                    </a:lnTo>
                    <a:lnTo>
                      <a:pt x="302" y="43"/>
                    </a:lnTo>
                    <a:lnTo>
                      <a:pt x="303" y="36"/>
                    </a:lnTo>
                    <a:lnTo>
                      <a:pt x="305" y="29"/>
                    </a:lnTo>
                    <a:lnTo>
                      <a:pt x="307" y="21"/>
                    </a:lnTo>
                    <a:lnTo>
                      <a:pt x="308" y="12"/>
                    </a:lnTo>
                    <a:lnTo>
                      <a:pt x="308" y="12"/>
                    </a:lnTo>
                    <a:lnTo>
                      <a:pt x="309" y="8"/>
                    </a:lnTo>
                    <a:lnTo>
                      <a:pt x="311" y="7"/>
                    </a:lnTo>
                    <a:lnTo>
                      <a:pt x="316" y="3"/>
                    </a:lnTo>
                    <a:lnTo>
                      <a:pt x="323" y="2"/>
                    </a:lnTo>
                    <a:lnTo>
                      <a:pt x="331" y="1"/>
                    </a:lnTo>
                    <a:lnTo>
                      <a:pt x="348" y="1"/>
                    </a:lnTo>
                    <a:lnTo>
                      <a:pt x="356" y="1"/>
                    </a:lnTo>
                    <a:lnTo>
                      <a:pt x="363" y="0"/>
                    </a:lnTo>
                    <a:lnTo>
                      <a:pt x="363" y="0"/>
                    </a:lnTo>
                    <a:lnTo>
                      <a:pt x="378" y="0"/>
                    </a:lnTo>
                    <a:lnTo>
                      <a:pt x="378" y="0"/>
                    </a:lnTo>
                    <a:lnTo>
                      <a:pt x="378" y="0"/>
                    </a:lnTo>
                    <a:lnTo>
                      <a:pt x="378" y="16"/>
                    </a:lnTo>
                    <a:lnTo>
                      <a:pt x="377" y="28"/>
                    </a:lnTo>
                    <a:lnTo>
                      <a:pt x="377" y="37"/>
                    </a:lnTo>
                    <a:lnTo>
                      <a:pt x="378" y="47"/>
                    </a:lnTo>
                    <a:lnTo>
                      <a:pt x="378" y="47"/>
                    </a:lnTo>
                    <a:lnTo>
                      <a:pt x="375" y="47"/>
                    </a:lnTo>
                    <a:lnTo>
                      <a:pt x="375" y="47"/>
                    </a:lnTo>
                    <a:lnTo>
                      <a:pt x="375" y="47"/>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50" name="Freeform 138"/>
              <p:cNvSpPr>
                <a:spLocks noChangeAspect="1"/>
              </p:cNvSpPr>
              <p:nvPr/>
            </p:nvSpPr>
            <p:spPr bwMode="auto">
              <a:xfrm>
                <a:off x="4779958" y="3812200"/>
                <a:ext cx="1363193" cy="1402714"/>
              </a:xfrm>
              <a:custGeom>
                <a:avLst/>
                <a:gdLst/>
                <a:ahLst/>
                <a:cxnLst>
                  <a:cxn ang="0">
                    <a:pos x="1683" y="607"/>
                  </a:cxn>
                  <a:cxn ang="0">
                    <a:pos x="1627" y="507"/>
                  </a:cxn>
                  <a:cxn ang="0">
                    <a:pos x="1533" y="466"/>
                  </a:cxn>
                  <a:cxn ang="0">
                    <a:pos x="1410" y="368"/>
                  </a:cxn>
                  <a:cxn ang="0">
                    <a:pos x="1290" y="507"/>
                  </a:cxn>
                  <a:cxn ang="0">
                    <a:pos x="1210" y="657"/>
                  </a:cxn>
                  <a:cxn ang="0">
                    <a:pos x="1116" y="634"/>
                  </a:cxn>
                  <a:cxn ang="0">
                    <a:pos x="970" y="718"/>
                  </a:cxn>
                  <a:cxn ang="0">
                    <a:pos x="965" y="432"/>
                  </a:cxn>
                  <a:cxn ang="0">
                    <a:pos x="878" y="305"/>
                  </a:cxn>
                  <a:cxn ang="0">
                    <a:pos x="823" y="221"/>
                  </a:cxn>
                  <a:cxn ang="0">
                    <a:pos x="739" y="77"/>
                  </a:cxn>
                  <a:cxn ang="0">
                    <a:pos x="716" y="7"/>
                  </a:cxn>
                  <a:cxn ang="0">
                    <a:pos x="599" y="78"/>
                  </a:cxn>
                  <a:cxn ang="0">
                    <a:pos x="602" y="175"/>
                  </a:cxn>
                  <a:cxn ang="0">
                    <a:pos x="647" y="268"/>
                  </a:cxn>
                  <a:cxn ang="0">
                    <a:pos x="647" y="338"/>
                  </a:cxn>
                  <a:cxn ang="0">
                    <a:pos x="610" y="424"/>
                  </a:cxn>
                  <a:cxn ang="0">
                    <a:pos x="575" y="495"/>
                  </a:cxn>
                  <a:cxn ang="0">
                    <a:pos x="639" y="628"/>
                  </a:cxn>
                  <a:cxn ang="0">
                    <a:pos x="617" y="719"/>
                  </a:cxn>
                  <a:cxn ang="0">
                    <a:pos x="660" y="786"/>
                  </a:cxn>
                  <a:cxn ang="0">
                    <a:pos x="640" y="880"/>
                  </a:cxn>
                  <a:cxn ang="0">
                    <a:pos x="511" y="817"/>
                  </a:cxn>
                  <a:cxn ang="0">
                    <a:pos x="462" y="875"/>
                  </a:cxn>
                  <a:cxn ang="0">
                    <a:pos x="419" y="958"/>
                  </a:cxn>
                  <a:cxn ang="0">
                    <a:pos x="383" y="1007"/>
                  </a:cxn>
                  <a:cxn ang="0">
                    <a:pos x="362" y="1119"/>
                  </a:cxn>
                  <a:cxn ang="0">
                    <a:pos x="284" y="1033"/>
                  </a:cxn>
                  <a:cxn ang="0">
                    <a:pos x="162" y="1095"/>
                  </a:cxn>
                  <a:cxn ang="0">
                    <a:pos x="116" y="1223"/>
                  </a:cxn>
                  <a:cxn ang="0">
                    <a:pos x="120" y="1348"/>
                  </a:cxn>
                  <a:cxn ang="0">
                    <a:pos x="91" y="1461"/>
                  </a:cxn>
                  <a:cxn ang="0">
                    <a:pos x="89" y="1565"/>
                  </a:cxn>
                  <a:cxn ang="0">
                    <a:pos x="0" y="1637"/>
                  </a:cxn>
                  <a:cxn ang="0">
                    <a:pos x="82" y="1727"/>
                  </a:cxn>
                  <a:cxn ang="0">
                    <a:pos x="159" y="1742"/>
                  </a:cxn>
                  <a:cxn ang="0">
                    <a:pos x="308" y="1785"/>
                  </a:cxn>
                  <a:cxn ang="0">
                    <a:pos x="402" y="1737"/>
                  </a:cxn>
                  <a:cxn ang="0">
                    <a:pos x="457" y="1808"/>
                  </a:cxn>
                  <a:cxn ang="0">
                    <a:pos x="606" y="1869"/>
                  </a:cxn>
                  <a:cxn ang="0">
                    <a:pos x="701" y="1920"/>
                  </a:cxn>
                  <a:cxn ang="0">
                    <a:pos x="771" y="1968"/>
                  </a:cxn>
                  <a:cxn ang="0">
                    <a:pos x="808" y="1999"/>
                  </a:cxn>
                  <a:cxn ang="0">
                    <a:pos x="793" y="1949"/>
                  </a:cxn>
                  <a:cxn ang="0">
                    <a:pos x="871" y="1858"/>
                  </a:cxn>
                  <a:cxn ang="0">
                    <a:pos x="999" y="1645"/>
                  </a:cxn>
                  <a:cxn ang="0">
                    <a:pos x="1032" y="1565"/>
                  </a:cxn>
                  <a:cxn ang="0">
                    <a:pos x="1074" y="1322"/>
                  </a:cxn>
                  <a:cxn ang="0">
                    <a:pos x="1072" y="1197"/>
                  </a:cxn>
                  <a:cxn ang="0">
                    <a:pos x="1019" y="1117"/>
                  </a:cxn>
                  <a:cxn ang="0">
                    <a:pos x="1098" y="1042"/>
                  </a:cxn>
                  <a:cxn ang="0">
                    <a:pos x="1199" y="1015"/>
                  </a:cxn>
                  <a:cxn ang="0">
                    <a:pos x="1266" y="983"/>
                  </a:cxn>
                  <a:cxn ang="0">
                    <a:pos x="1340" y="992"/>
                  </a:cxn>
                  <a:cxn ang="0">
                    <a:pos x="1415" y="991"/>
                  </a:cxn>
                  <a:cxn ang="0">
                    <a:pos x="1492" y="880"/>
                  </a:cxn>
                  <a:cxn ang="0">
                    <a:pos x="1575" y="881"/>
                  </a:cxn>
                  <a:cxn ang="0">
                    <a:pos x="1672" y="827"/>
                  </a:cxn>
                  <a:cxn ang="0">
                    <a:pos x="1612" y="748"/>
                  </a:cxn>
                </a:cxnLst>
                <a:rect l="0" t="0" r="r" b="b"/>
                <a:pathLst>
                  <a:path w="1719" h="2016">
                    <a:moveTo>
                      <a:pt x="1598" y="724"/>
                    </a:moveTo>
                    <a:lnTo>
                      <a:pt x="1598" y="724"/>
                    </a:lnTo>
                    <a:lnTo>
                      <a:pt x="1598" y="625"/>
                    </a:lnTo>
                    <a:lnTo>
                      <a:pt x="1598" y="625"/>
                    </a:lnTo>
                    <a:lnTo>
                      <a:pt x="1599" y="620"/>
                    </a:lnTo>
                    <a:lnTo>
                      <a:pt x="1602" y="615"/>
                    </a:lnTo>
                    <a:lnTo>
                      <a:pt x="1605" y="613"/>
                    </a:lnTo>
                    <a:lnTo>
                      <a:pt x="1610" y="612"/>
                    </a:lnTo>
                    <a:lnTo>
                      <a:pt x="1618" y="610"/>
                    </a:lnTo>
                    <a:lnTo>
                      <a:pt x="1624" y="610"/>
                    </a:lnTo>
                    <a:lnTo>
                      <a:pt x="1624" y="610"/>
                    </a:lnTo>
                    <a:lnTo>
                      <a:pt x="1667" y="610"/>
                    </a:lnTo>
                    <a:lnTo>
                      <a:pt x="1667" y="610"/>
                    </a:lnTo>
                    <a:lnTo>
                      <a:pt x="1676" y="609"/>
                    </a:lnTo>
                    <a:lnTo>
                      <a:pt x="1683" y="607"/>
                    </a:lnTo>
                    <a:lnTo>
                      <a:pt x="1690" y="604"/>
                    </a:lnTo>
                    <a:lnTo>
                      <a:pt x="1696" y="600"/>
                    </a:lnTo>
                    <a:lnTo>
                      <a:pt x="1708" y="591"/>
                    </a:lnTo>
                    <a:lnTo>
                      <a:pt x="1719" y="580"/>
                    </a:lnTo>
                    <a:lnTo>
                      <a:pt x="1704" y="573"/>
                    </a:lnTo>
                    <a:lnTo>
                      <a:pt x="1704" y="573"/>
                    </a:lnTo>
                    <a:lnTo>
                      <a:pt x="1696" y="566"/>
                    </a:lnTo>
                    <a:lnTo>
                      <a:pt x="1686" y="559"/>
                    </a:lnTo>
                    <a:lnTo>
                      <a:pt x="1663" y="543"/>
                    </a:lnTo>
                    <a:lnTo>
                      <a:pt x="1651" y="534"/>
                    </a:lnTo>
                    <a:lnTo>
                      <a:pt x="1641" y="526"/>
                    </a:lnTo>
                    <a:lnTo>
                      <a:pt x="1633" y="516"/>
                    </a:lnTo>
                    <a:lnTo>
                      <a:pt x="1629" y="512"/>
                    </a:lnTo>
                    <a:lnTo>
                      <a:pt x="1627" y="507"/>
                    </a:lnTo>
                    <a:lnTo>
                      <a:pt x="1627" y="507"/>
                    </a:lnTo>
                    <a:lnTo>
                      <a:pt x="1624" y="495"/>
                    </a:lnTo>
                    <a:lnTo>
                      <a:pt x="1621" y="484"/>
                    </a:lnTo>
                    <a:lnTo>
                      <a:pt x="1617" y="465"/>
                    </a:lnTo>
                    <a:lnTo>
                      <a:pt x="1613" y="455"/>
                    </a:lnTo>
                    <a:lnTo>
                      <a:pt x="1609" y="447"/>
                    </a:lnTo>
                    <a:lnTo>
                      <a:pt x="1603" y="441"/>
                    </a:lnTo>
                    <a:lnTo>
                      <a:pt x="1594" y="434"/>
                    </a:lnTo>
                    <a:lnTo>
                      <a:pt x="1558" y="434"/>
                    </a:lnTo>
                    <a:lnTo>
                      <a:pt x="1558" y="434"/>
                    </a:lnTo>
                    <a:lnTo>
                      <a:pt x="1555" y="447"/>
                    </a:lnTo>
                    <a:lnTo>
                      <a:pt x="1552" y="453"/>
                    </a:lnTo>
                    <a:lnTo>
                      <a:pt x="1549" y="458"/>
                    </a:lnTo>
                    <a:lnTo>
                      <a:pt x="1545" y="461"/>
                    </a:lnTo>
                    <a:lnTo>
                      <a:pt x="1540" y="465"/>
                    </a:lnTo>
                    <a:lnTo>
                      <a:pt x="1533" y="466"/>
                    </a:lnTo>
                    <a:lnTo>
                      <a:pt x="1525" y="466"/>
                    </a:lnTo>
                    <a:lnTo>
                      <a:pt x="1525" y="466"/>
                    </a:lnTo>
                    <a:lnTo>
                      <a:pt x="1512" y="465"/>
                    </a:lnTo>
                    <a:lnTo>
                      <a:pt x="1503" y="462"/>
                    </a:lnTo>
                    <a:lnTo>
                      <a:pt x="1494" y="457"/>
                    </a:lnTo>
                    <a:lnTo>
                      <a:pt x="1487" y="451"/>
                    </a:lnTo>
                    <a:lnTo>
                      <a:pt x="1480" y="443"/>
                    </a:lnTo>
                    <a:lnTo>
                      <a:pt x="1474" y="435"/>
                    </a:lnTo>
                    <a:lnTo>
                      <a:pt x="1465" y="416"/>
                    </a:lnTo>
                    <a:lnTo>
                      <a:pt x="1453" y="399"/>
                    </a:lnTo>
                    <a:lnTo>
                      <a:pt x="1447" y="390"/>
                    </a:lnTo>
                    <a:lnTo>
                      <a:pt x="1441" y="383"/>
                    </a:lnTo>
                    <a:lnTo>
                      <a:pt x="1431" y="376"/>
                    </a:lnTo>
                    <a:lnTo>
                      <a:pt x="1422" y="371"/>
                    </a:lnTo>
                    <a:lnTo>
                      <a:pt x="1410" y="368"/>
                    </a:lnTo>
                    <a:lnTo>
                      <a:pt x="1396" y="368"/>
                    </a:lnTo>
                    <a:lnTo>
                      <a:pt x="1396" y="368"/>
                    </a:lnTo>
                    <a:lnTo>
                      <a:pt x="1375" y="368"/>
                    </a:lnTo>
                    <a:lnTo>
                      <a:pt x="1358" y="370"/>
                    </a:lnTo>
                    <a:lnTo>
                      <a:pt x="1344" y="374"/>
                    </a:lnTo>
                    <a:lnTo>
                      <a:pt x="1332" y="378"/>
                    </a:lnTo>
                    <a:lnTo>
                      <a:pt x="1323" y="384"/>
                    </a:lnTo>
                    <a:lnTo>
                      <a:pt x="1316" y="391"/>
                    </a:lnTo>
                    <a:lnTo>
                      <a:pt x="1311" y="399"/>
                    </a:lnTo>
                    <a:lnTo>
                      <a:pt x="1306" y="409"/>
                    </a:lnTo>
                    <a:lnTo>
                      <a:pt x="1303" y="420"/>
                    </a:lnTo>
                    <a:lnTo>
                      <a:pt x="1300" y="431"/>
                    </a:lnTo>
                    <a:lnTo>
                      <a:pt x="1297" y="459"/>
                    </a:lnTo>
                    <a:lnTo>
                      <a:pt x="1293" y="490"/>
                    </a:lnTo>
                    <a:lnTo>
                      <a:pt x="1290" y="507"/>
                    </a:lnTo>
                    <a:lnTo>
                      <a:pt x="1286" y="525"/>
                    </a:lnTo>
                    <a:lnTo>
                      <a:pt x="1286" y="525"/>
                    </a:lnTo>
                    <a:lnTo>
                      <a:pt x="1283" y="535"/>
                    </a:lnTo>
                    <a:lnTo>
                      <a:pt x="1279" y="544"/>
                    </a:lnTo>
                    <a:lnTo>
                      <a:pt x="1270" y="561"/>
                    </a:lnTo>
                    <a:lnTo>
                      <a:pt x="1259" y="577"/>
                    </a:lnTo>
                    <a:lnTo>
                      <a:pt x="1248" y="592"/>
                    </a:lnTo>
                    <a:lnTo>
                      <a:pt x="1237" y="607"/>
                    </a:lnTo>
                    <a:lnTo>
                      <a:pt x="1228" y="622"/>
                    </a:lnTo>
                    <a:lnTo>
                      <a:pt x="1223" y="630"/>
                    </a:lnTo>
                    <a:lnTo>
                      <a:pt x="1221" y="640"/>
                    </a:lnTo>
                    <a:lnTo>
                      <a:pt x="1217" y="648"/>
                    </a:lnTo>
                    <a:lnTo>
                      <a:pt x="1216" y="657"/>
                    </a:lnTo>
                    <a:lnTo>
                      <a:pt x="1216" y="657"/>
                    </a:lnTo>
                    <a:lnTo>
                      <a:pt x="1210" y="657"/>
                    </a:lnTo>
                    <a:lnTo>
                      <a:pt x="1205" y="656"/>
                    </a:lnTo>
                    <a:lnTo>
                      <a:pt x="1200" y="653"/>
                    </a:lnTo>
                    <a:lnTo>
                      <a:pt x="1195" y="651"/>
                    </a:lnTo>
                    <a:lnTo>
                      <a:pt x="1187" y="644"/>
                    </a:lnTo>
                    <a:lnTo>
                      <a:pt x="1181" y="637"/>
                    </a:lnTo>
                    <a:lnTo>
                      <a:pt x="1175" y="630"/>
                    </a:lnTo>
                    <a:lnTo>
                      <a:pt x="1169" y="623"/>
                    </a:lnTo>
                    <a:lnTo>
                      <a:pt x="1163" y="619"/>
                    </a:lnTo>
                    <a:lnTo>
                      <a:pt x="1160" y="618"/>
                    </a:lnTo>
                    <a:lnTo>
                      <a:pt x="1158" y="618"/>
                    </a:lnTo>
                    <a:lnTo>
                      <a:pt x="1158" y="618"/>
                    </a:lnTo>
                    <a:lnTo>
                      <a:pt x="1146" y="619"/>
                    </a:lnTo>
                    <a:lnTo>
                      <a:pt x="1136" y="622"/>
                    </a:lnTo>
                    <a:lnTo>
                      <a:pt x="1125" y="627"/>
                    </a:lnTo>
                    <a:lnTo>
                      <a:pt x="1116" y="634"/>
                    </a:lnTo>
                    <a:lnTo>
                      <a:pt x="1108" y="642"/>
                    </a:lnTo>
                    <a:lnTo>
                      <a:pt x="1099" y="651"/>
                    </a:lnTo>
                    <a:lnTo>
                      <a:pt x="1082" y="671"/>
                    </a:lnTo>
                    <a:lnTo>
                      <a:pt x="1064" y="690"/>
                    </a:lnTo>
                    <a:lnTo>
                      <a:pt x="1054" y="699"/>
                    </a:lnTo>
                    <a:lnTo>
                      <a:pt x="1045" y="707"/>
                    </a:lnTo>
                    <a:lnTo>
                      <a:pt x="1033" y="714"/>
                    </a:lnTo>
                    <a:lnTo>
                      <a:pt x="1022" y="719"/>
                    </a:lnTo>
                    <a:lnTo>
                      <a:pt x="1009" y="722"/>
                    </a:lnTo>
                    <a:lnTo>
                      <a:pt x="995" y="724"/>
                    </a:lnTo>
                    <a:lnTo>
                      <a:pt x="995" y="724"/>
                    </a:lnTo>
                    <a:lnTo>
                      <a:pt x="987" y="724"/>
                    </a:lnTo>
                    <a:lnTo>
                      <a:pt x="980" y="722"/>
                    </a:lnTo>
                    <a:lnTo>
                      <a:pt x="975" y="720"/>
                    </a:lnTo>
                    <a:lnTo>
                      <a:pt x="970" y="718"/>
                    </a:lnTo>
                    <a:lnTo>
                      <a:pt x="965" y="716"/>
                    </a:lnTo>
                    <a:lnTo>
                      <a:pt x="962" y="712"/>
                    </a:lnTo>
                    <a:lnTo>
                      <a:pt x="960" y="709"/>
                    </a:lnTo>
                    <a:lnTo>
                      <a:pt x="957" y="704"/>
                    </a:lnTo>
                    <a:lnTo>
                      <a:pt x="954" y="695"/>
                    </a:lnTo>
                    <a:lnTo>
                      <a:pt x="952" y="686"/>
                    </a:lnTo>
                    <a:lnTo>
                      <a:pt x="952" y="665"/>
                    </a:lnTo>
                    <a:lnTo>
                      <a:pt x="952" y="665"/>
                    </a:lnTo>
                    <a:lnTo>
                      <a:pt x="952" y="492"/>
                    </a:lnTo>
                    <a:lnTo>
                      <a:pt x="952" y="492"/>
                    </a:lnTo>
                    <a:lnTo>
                      <a:pt x="952" y="481"/>
                    </a:lnTo>
                    <a:lnTo>
                      <a:pt x="954" y="469"/>
                    </a:lnTo>
                    <a:lnTo>
                      <a:pt x="956" y="460"/>
                    </a:lnTo>
                    <a:lnTo>
                      <a:pt x="960" y="451"/>
                    </a:lnTo>
                    <a:lnTo>
                      <a:pt x="965" y="432"/>
                    </a:lnTo>
                    <a:lnTo>
                      <a:pt x="968" y="422"/>
                    </a:lnTo>
                    <a:lnTo>
                      <a:pt x="970" y="412"/>
                    </a:lnTo>
                    <a:lnTo>
                      <a:pt x="970" y="412"/>
                    </a:lnTo>
                    <a:lnTo>
                      <a:pt x="950" y="401"/>
                    </a:lnTo>
                    <a:lnTo>
                      <a:pt x="932" y="391"/>
                    </a:lnTo>
                    <a:lnTo>
                      <a:pt x="917" y="380"/>
                    </a:lnTo>
                    <a:lnTo>
                      <a:pt x="903" y="368"/>
                    </a:lnTo>
                    <a:lnTo>
                      <a:pt x="897" y="361"/>
                    </a:lnTo>
                    <a:lnTo>
                      <a:pt x="893" y="354"/>
                    </a:lnTo>
                    <a:lnTo>
                      <a:pt x="888" y="347"/>
                    </a:lnTo>
                    <a:lnTo>
                      <a:pt x="885" y="339"/>
                    </a:lnTo>
                    <a:lnTo>
                      <a:pt x="881" y="331"/>
                    </a:lnTo>
                    <a:lnTo>
                      <a:pt x="879" y="323"/>
                    </a:lnTo>
                    <a:lnTo>
                      <a:pt x="878" y="314"/>
                    </a:lnTo>
                    <a:lnTo>
                      <a:pt x="878" y="305"/>
                    </a:lnTo>
                    <a:lnTo>
                      <a:pt x="878" y="305"/>
                    </a:lnTo>
                    <a:lnTo>
                      <a:pt x="878" y="264"/>
                    </a:lnTo>
                    <a:lnTo>
                      <a:pt x="878" y="264"/>
                    </a:lnTo>
                    <a:lnTo>
                      <a:pt x="877" y="259"/>
                    </a:lnTo>
                    <a:lnTo>
                      <a:pt x="876" y="254"/>
                    </a:lnTo>
                    <a:lnTo>
                      <a:pt x="873" y="250"/>
                    </a:lnTo>
                    <a:lnTo>
                      <a:pt x="871" y="246"/>
                    </a:lnTo>
                    <a:lnTo>
                      <a:pt x="868" y="244"/>
                    </a:lnTo>
                    <a:lnTo>
                      <a:pt x="863" y="241"/>
                    </a:lnTo>
                    <a:lnTo>
                      <a:pt x="855" y="237"/>
                    </a:lnTo>
                    <a:lnTo>
                      <a:pt x="835" y="230"/>
                    </a:lnTo>
                    <a:lnTo>
                      <a:pt x="828" y="226"/>
                    </a:lnTo>
                    <a:lnTo>
                      <a:pt x="825" y="223"/>
                    </a:lnTo>
                    <a:lnTo>
                      <a:pt x="823" y="221"/>
                    </a:lnTo>
                    <a:lnTo>
                      <a:pt x="823" y="221"/>
                    </a:lnTo>
                    <a:lnTo>
                      <a:pt x="817" y="208"/>
                    </a:lnTo>
                    <a:lnTo>
                      <a:pt x="813" y="197"/>
                    </a:lnTo>
                    <a:lnTo>
                      <a:pt x="811" y="186"/>
                    </a:lnTo>
                    <a:lnTo>
                      <a:pt x="810" y="175"/>
                    </a:lnTo>
                    <a:lnTo>
                      <a:pt x="809" y="164"/>
                    </a:lnTo>
                    <a:lnTo>
                      <a:pt x="807" y="154"/>
                    </a:lnTo>
                    <a:lnTo>
                      <a:pt x="803" y="144"/>
                    </a:lnTo>
                    <a:lnTo>
                      <a:pt x="797" y="132"/>
                    </a:lnTo>
                    <a:lnTo>
                      <a:pt x="797" y="132"/>
                    </a:lnTo>
                    <a:lnTo>
                      <a:pt x="792" y="118"/>
                    </a:lnTo>
                    <a:lnTo>
                      <a:pt x="784" y="107"/>
                    </a:lnTo>
                    <a:lnTo>
                      <a:pt x="775" y="96"/>
                    </a:lnTo>
                    <a:lnTo>
                      <a:pt x="765" y="88"/>
                    </a:lnTo>
                    <a:lnTo>
                      <a:pt x="752" y="82"/>
                    </a:lnTo>
                    <a:lnTo>
                      <a:pt x="739" y="77"/>
                    </a:lnTo>
                    <a:lnTo>
                      <a:pt x="723" y="73"/>
                    </a:lnTo>
                    <a:lnTo>
                      <a:pt x="705" y="70"/>
                    </a:lnTo>
                    <a:lnTo>
                      <a:pt x="705" y="70"/>
                    </a:lnTo>
                    <a:lnTo>
                      <a:pt x="706" y="63"/>
                    </a:lnTo>
                    <a:lnTo>
                      <a:pt x="710" y="58"/>
                    </a:lnTo>
                    <a:lnTo>
                      <a:pt x="716" y="49"/>
                    </a:lnTo>
                    <a:lnTo>
                      <a:pt x="719" y="45"/>
                    </a:lnTo>
                    <a:lnTo>
                      <a:pt x="721" y="39"/>
                    </a:lnTo>
                    <a:lnTo>
                      <a:pt x="723" y="33"/>
                    </a:lnTo>
                    <a:lnTo>
                      <a:pt x="724" y="26"/>
                    </a:lnTo>
                    <a:lnTo>
                      <a:pt x="724" y="26"/>
                    </a:lnTo>
                    <a:lnTo>
                      <a:pt x="724" y="16"/>
                    </a:lnTo>
                    <a:lnTo>
                      <a:pt x="724" y="12"/>
                    </a:lnTo>
                    <a:lnTo>
                      <a:pt x="723" y="10"/>
                    </a:lnTo>
                    <a:lnTo>
                      <a:pt x="716" y="7"/>
                    </a:lnTo>
                    <a:lnTo>
                      <a:pt x="690" y="0"/>
                    </a:lnTo>
                    <a:lnTo>
                      <a:pt x="690" y="0"/>
                    </a:lnTo>
                    <a:lnTo>
                      <a:pt x="688" y="9"/>
                    </a:lnTo>
                    <a:lnTo>
                      <a:pt x="686" y="16"/>
                    </a:lnTo>
                    <a:lnTo>
                      <a:pt x="680" y="23"/>
                    </a:lnTo>
                    <a:lnTo>
                      <a:pt x="674" y="27"/>
                    </a:lnTo>
                    <a:lnTo>
                      <a:pt x="667" y="32"/>
                    </a:lnTo>
                    <a:lnTo>
                      <a:pt x="659" y="35"/>
                    </a:lnTo>
                    <a:lnTo>
                      <a:pt x="643" y="42"/>
                    </a:lnTo>
                    <a:lnTo>
                      <a:pt x="627" y="49"/>
                    </a:lnTo>
                    <a:lnTo>
                      <a:pt x="619" y="54"/>
                    </a:lnTo>
                    <a:lnTo>
                      <a:pt x="612" y="58"/>
                    </a:lnTo>
                    <a:lnTo>
                      <a:pt x="606" y="64"/>
                    </a:lnTo>
                    <a:lnTo>
                      <a:pt x="602" y="71"/>
                    </a:lnTo>
                    <a:lnTo>
                      <a:pt x="599" y="78"/>
                    </a:lnTo>
                    <a:lnTo>
                      <a:pt x="598" y="88"/>
                    </a:lnTo>
                    <a:lnTo>
                      <a:pt x="598" y="88"/>
                    </a:lnTo>
                    <a:lnTo>
                      <a:pt x="599" y="99"/>
                    </a:lnTo>
                    <a:lnTo>
                      <a:pt x="602" y="108"/>
                    </a:lnTo>
                    <a:lnTo>
                      <a:pt x="605" y="115"/>
                    </a:lnTo>
                    <a:lnTo>
                      <a:pt x="610" y="121"/>
                    </a:lnTo>
                    <a:lnTo>
                      <a:pt x="618" y="131"/>
                    </a:lnTo>
                    <a:lnTo>
                      <a:pt x="620" y="137"/>
                    </a:lnTo>
                    <a:lnTo>
                      <a:pt x="621" y="144"/>
                    </a:lnTo>
                    <a:lnTo>
                      <a:pt x="621" y="144"/>
                    </a:lnTo>
                    <a:lnTo>
                      <a:pt x="620" y="148"/>
                    </a:lnTo>
                    <a:lnTo>
                      <a:pt x="618" y="154"/>
                    </a:lnTo>
                    <a:lnTo>
                      <a:pt x="610" y="163"/>
                    </a:lnTo>
                    <a:lnTo>
                      <a:pt x="605" y="169"/>
                    </a:lnTo>
                    <a:lnTo>
                      <a:pt x="602" y="175"/>
                    </a:lnTo>
                    <a:lnTo>
                      <a:pt x="599" y="182"/>
                    </a:lnTo>
                    <a:lnTo>
                      <a:pt x="598" y="191"/>
                    </a:lnTo>
                    <a:lnTo>
                      <a:pt x="598" y="191"/>
                    </a:lnTo>
                    <a:lnTo>
                      <a:pt x="599" y="198"/>
                    </a:lnTo>
                    <a:lnTo>
                      <a:pt x="601" y="205"/>
                    </a:lnTo>
                    <a:lnTo>
                      <a:pt x="603" y="210"/>
                    </a:lnTo>
                    <a:lnTo>
                      <a:pt x="606" y="215"/>
                    </a:lnTo>
                    <a:lnTo>
                      <a:pt x="613" y="224"/>
                    </a:lnTo>
                    <a:lnTo>
                      <a:pt x="622" y="231"/>
                    </a:lnTo>
                    <a:lnTo>
                      <a:pt x="631" y="238"/>
                    </a:lnTo>
                    <a:lnTo>
                      <a:pt x="639" y="246"/>
                    </a:lnTo>
                    <a:lnTo>
                      <a:pt x="642" y="251"/>
                    </a:lnTo>
                    <a:lnTo>
                      <a:pt x="644" y="256"/>
                    </a:lnTo>
                    <a:lnTo>
                      <a:pt x="645" y="262"/>
                    </a:lnTo>
                    <a:lnTo>
                      <a:pt x="647" y="268"/>
                    </a:lnTo>
                    <a:lnTo>
                      <a:pt x="647" y="268"/>
                    </a:lnTo>
                    <a:lnTo>
                      <a:pt x="645" y="274"/>
                    </a:lnTo>
                    <a:lnTo>
                      <a:pt x="644" y="278"/>
                    </a:lnTo>
                    <a:lnTo>
                      <a:pt x="639" y="287"/>
                    </a:lnTo>
                    <a:lnTo>
                      <a:pt x="634" y="297"/>
                    </a:lnTo>
                    <a:lnTo>
                      <a:pt x="632" y="300"/>
                    </a:lnTo>
                    <a:lnTo>
                      <a:pt x="632" y="305"/>
                    </a:lnTo>
                    <a:lnTo>
                      <a:pt x="632" y="305"/>
                    </a:lnTo>
                    <a:lnTo>
                      <a:pt x="632" y="310"/>
                    </a:lnTo>
                    <a:lnTo>
                      <a:pt x="634" y="316"/>
                    </a:lnTo>
                    <a:lnTo>
                      <a:pt x="636" y="321"/>
                    </a:lnTo>
                    <a:lnTo>
                      <a:pt x="639" y="324"/>
                    </a:lnTo>
                    <a:lnTo>
                      <a:pt x="644" y="331"/>
                    </a:lnTo>
                    <a:lnTo>
                      <a:pt x="645" y="335"/>
                    </a:lnTo>
                    <a:lnTo>
                      <a:pt x="647" y="338"/>
                    </a:lnTo>
                    <a:lnTo>
                      <a:pt x="647" y="338"/>
                    </a:lnTo>
                    <a:lnTo>
                      <a:pt x="645" y="348"/>
                    </a:lnTo>
                    <a:lnTo>
                      <a:pt x="642" y="358"/>
                    </a:lnTo>
                    <a:lnTo>
                      <a:pt x="639" y="365"/>
                    </a:lnTo>
                    <a:lnTo>
                      <a:pt x="634" y="373"/>
                    </a:lnTo>
                    <a:lnTo>
                      <a:pt x="629" y="380"/>
                    </a:lnTo>
                    <a:lnTo>
                      <a:pt x="625" y="386"/>
                    </a:lnTo>
                    <a:lnTo>
                      <a:pt x="622" y="394"/>
                    </a:lnTo>
                    <a:lnTo>
                      <a:pt x="621" y="404"/>
                    </a:lnTo>
                    <a:lnTo>
                      <a:pt x="621" y="404"/>
                    </a:lnTo>
                    <a:lnTo>
                      <a:pt x="620" y="409"/>
                    </a:lnTo>
                    <a:lnTo>
                      <a:pt x="619" y="413"/>
                    </a:lnTo>
                    <a:lnTo>
                      <a:pt x="617" y="416"/>
                    </a:lnTo>
                    <a:lnTo>
                      <a:pt x="614" y="420"/>
                    </a:lnTo>
                    <a:lnTo>
                      <a:pt x="610" y="424"/>
                    </a:lnTo>
                    <a:lnTo>
                      <a:pt x="606" y="430"/>
                    </a:lnTo>
                    <a:lnTo>
                      <a:pt x="606" y="430"/>
                    </a:lnTo>
                    <a:lnTo>
                      <a:pt x="598" y="435"/>
                    </a:lnTo>
                    <a:lnTo>
                      <a:pt x="593" y="441"/>
                    </a:lnTo>
                    <a:lnTo>
                      <a:pt x="583" y="451"/>
                    </a:lnTo>
                    <a:lnTo>
                      <a:pt x="575" y="461"/>
                    </a:lnTo>
                    <a:lnTo>
                      <a:pt x="570" y="466"/>
                    </a:lnTo>
                    <a:lnTo>
                      <a:pt x="563" y="470"/>
                    </a:lnTo>
                    <a:lnTo>
                      <a:pt x="563" y="470"/>
                    </a:lnTo>
                    <a:lnTo>
                      <a:pt x="565" y="477"/>
                    </a:lnTo>
                    <a:lnTo>
                      <a:pt x="568" y="482"/>
                    </a:lnTo>
                    <a:lnTo>
                      <a:pt x="572" y="484"/>
                    </a:lnTo>
                    <a:lnTo>
                      <a:pt x="576" y="485"/>
                    </a:lnTo>
                    <a:lnTo>
                      <a:pt x="576" y="485"/>
                    </a:lnTo>
                    <a:lnTo>
                      <a:pt x="575" y="495"/>
                    </a:lnTo>
                    <a:lnTo>
                      <a:pt x="573" y="503"/>
                    </a:lnTo>
                    <a:lnTo>
                      <a:pt x="566" y="515"/>
                    </a:lnTo>
                    <a:lnTo>
                      <a:pt x="564" y="522"/>
                    </a:lnTo>
                    <a:lnTo>
                      <a:pt x="561" y="529"/>
                    </a:lnTo>
                    <a:lnTo>
                      <a:pt x="559" y="538"/>
                    </a:lnTo>
                    <a:lnTo>
                      <a:pt x="558" y="551"/>
                    </a:lnTo>
                    <a:lnTo>
                      <a:pt x="558" y="551"/>
                    </a:lnTo>
                    <a:lnTo>
                      <a:pt x="559" y="574"/>
                    </a:lnTo>
                    <a:lnTo>
                      <a:pt x="561" y="597"/>
                    </a:lnTo>
                    <a:lnTo>
                      <a:pt x="564" y="606"/>
                    </a:lnTo>
                    <a:lnTo>
                      <a:pt x="566" y="615"/>
                    </a:lnTo>
                    <a:lnTo>
                      <a:pt x="570" y="622"/>
                    </a:lnTo>
                    <a:lnTo>
                      <a:pt x="573" y="628"/>
                    </a:lnTo>
                    <a:lnTo>
                      <a:pt x="639" y="628"/>
                    </a:lnTo>
                    <a:lnTo>
                      <a:pt x="639" y="628"/>
                    </a:lnTo>
                    <a:lnTo>
                      <a:pt x="643" y="636"/>
                    </a:lnTo>
                    <a:lnTo>
                      <a:pt x="648" y="645"/>
                    </a:lnTo>
                    <a:lnTo>
                      <a:pt x="652" y="656"/>
                    </a:lnTo>
                    <a:lnTo>
                      <a:pt x="654" y="661"/>
                    </a:lnTo>
                    <a:lnTo>
                      <a:pt x="654" y="668"/>
                    </a:lnTo>
                    <a:lnTo>
                      <a:pt x="654" y="668"/>
                    </a:lnTo>
                    <a:lnTo>
                      <a:pt x="654" y="674"/>
                    </a:lnTo>
                    <a:lnTo>
                      <a:pt x="652" y="679"/>
                    </a:lnTo>
                    <a:lnTo>
                      <a:pt x="650" y="682"/>
                    </a:lnTo>
                    <a:lnTo>
                      <a:pt x="648" y="687"/>
                    </a:lnTo>
                    <a:lnTo>
                      <a:pt x="641" y="694"/>
                    </a:lnTo>
                    <a:lnTo>
                      <a:pt x="634" y="701"/>
                    </a:lnTo>
                    <a:lnTo>
                      <a:pt x="626" y="706"/>
                    </a:lnTo>
                    <a:lnTo>
                      <a:pt x="619" y="714"/>
                    </a:lnTo>
                    <a:lnTo>
                      <a:pt x="617" y="719"/>
                    </a:lnTo>
                    <a:lnTo>
                      <a:pt x="614" y="724"/>
                    </a:lnTo>
                    <a:lnTo>
                      <a:pt x="613" y="728"/>
                    </a:lnTo>
                    <a:lnTo>
                      <a:pt x="613" y="734"/>
                    </a:lnTo>
                    <a:lnTo>
                      <a:pt x="613" y="734"/>
                    </a:lnTo>
                    <a:lnTo>
                      <a:pt x="613" y="737"/>
                    </a:lnTo>
                    <a:lnTo>
                      <a:pt x="614" y="740"/>
                    </a:lnTo>
                    <a:lnTo>
                      <a:pt x="620" y="745"/>
                    </a:lnTo>
                    <a:lnTo>
                      <a:pt x="626" y="751"/>
                    </a:lnTo>
                    <a:lnTo>
                      <a:pt x="634" y="757"/>
                    </a:lnTo>
                    <a:lnTo>
                      <a:pt x="643" y="764"/>
                    </a:lnTo>
                    <a:lnTo>
                      <a:pt x="650" y="771"/>
                    </a:lnTo>
                    <a:lnTo>
                      <a:pt x="657" y="778"/>
                    </a:lnTo>
                    <a:lnTo>
                      <a:pt x="659" y="782"/>
                    </a:lnTo>
                    <a:lnTo>
                      <a:pt x="660" y="786"/>
                    </a:lnTo>
                    <a:lnTo>
                      <a:pt x="660" y="786"/>
                    </a:lnTo>
                    <a:lnTo>
                      <a:pt x="660" y="804"/>
                    </a:lnTo>
                    <a:lnTo>
                      <a:pt x="660" y="804"/>
                    </a:lnTo>
                    <a:lnTo>
                      <a:pt x="660" y="809"/>
                    </a:lnTo>
                    <a:lnTo>
                      <a:pt x="658" y="812"/>
                    </a:lnTo>
                    <a:lnTo>
                      <a:pt x="654" y="819"/>
                    </a:lnTo>
                    <a:lnTo>
                      <a:pt x="649" y="827"/>
                    </a:lnTo>
                    <a:lnTo>
                      <a:pt x="647" y="832"/>
                    </a:lnTo>
                    <a:lnTo>
                      <a:pt x="647" y="838"/>
                    </a:lnTo>
                    <a:lnTo>
                      <a:pt x="647" y="838"/>
                    </a:lnTo>
                    <a:lnTo>
                      <a:pt x="647" y="863"/>
                    </a:lnTo>
                    <a:lnTo>
                      <a:pt x="647" y="863"/>
                    </a:lnTo>
                    <a:lnTo>
                      <a:pt x="645" y="867"/>
                    </a:lnTo>
                    <a:lnTo>
                      <a:pt x="644" y="872"/>
                    </a:lnTo>
                    <a:lnTo>
                      <a:pt x="642" y="877"/>
                    </a:lnTo>
                    <a:lnTo>
                      <a:pt x="640" y="880"/>
                    </a:lnTo>
                    <a:lnTo>
                      <a:pt x="635" y="884"/>
                    </a:lnTo>
                    <a:lnTo>
                      <a:pt x="629" y="887"/>
                    </a:lnTo>
                    <a:lnTo>
                      <a:pt x="622" y="888"/>
                    </a:lnTo>
                    <a:lnTo>
                      <a:pt x="613" y="889"/>
                    </a:lnTo>
                    <a:lnTo>
                      <a:pt x="613" y="889"/>
                    </a:lnTo>
                    <a:lnTo>
                      <a:pt x="605" y="887"/>
                    </a:lnTo>
                    <a:lnTo>
                      <a:pt x="594" y="882"/>
                    </a:lnTo>
                    <a:lnTo>
                      <a:pt x="564" y="867"/>
                    </a:lnTo>
                    <a:lnTo>
                      <a:pt x="525" y="844"/>
                    </a:lnTo>
                    <a:lnTo>
                      <a:pt x="525" y="844"/>
                    </a:lnTo>
                    <a:lnTo>
                      <a:pt x="521" y="835"/>
                    </a:lnTo>
                    <a:lnTo>
                      <a:pt x="518" y="826"/>
                    </a:lnTo>
                    <a:lnTo>
                      <a:pt x="515" y="821"/>
                    </a:lnTo>
                    <a:lnTo>
                      <a:pt x="513" y="818"/>
                    </a:lnTo>
                    <a:lnTo>
                      <a:pt x="511" y="817"/>
                    </a:lnTo>
                    <a:lnTo>
                      <a:pt x="506" y="816"/>
                    </a:lnTo>
                    <a:lnTo>
                      <a:pt x="506" y="816"/>
                    </a:lnTo>
                    <a:lnTo>
                      <a:pt x="498" y="816"/>
                    </a:lnTo>
                    <a:lnTo>
                      <a:pt x="490" y="818"/>
                    </a:lnTo>
                    <a:lnTo>
                      <a:pt x="482" y="821"/>
                    </a:lnTo>
                    <a:lnTo>
                      <a:pt x="475" y="826"/>
                    </a:lnTo>
                    <a:lnTo>
                      <a:pt x="468" y="832"/>
                    </a:lnTo>
                    <a:lnTo>
                      <a:pt x="464" y="839"/>
                    </a:lnTo>
                    <a:lnTo>
                      <a:pt x="460" y="847"/>
                    </a:lnTo>
                    <a:lnTo>
                      <a:pt x="459" y="856"/>
                    </a:lnTo>
                    <a:lnTo>
                      <a:pt x="459" y="856"/>
                    </a:lnTo>
                    <a:lnTo>
                      <a:pt x="459" y="871"/>
                    </a:lnTo>
                    <a:lnTo>
                      <a:pt x="459" y="871"/>
                    </a:lnTo>
                    <a:lnTo>
                      <a:pt x="461" y="873"/>
                    </a:lnTo>
                    <a:lnTo>
                      <a:pt x="462" y="875"/>
                    </a:lnTo>
                    <a:lnTo>
                      <a:pt x="468" y="878"/>
                    </a:lnTo>
                    <a:lnTo>
                      <a:pt x="472" y="882"/>
                    </a:lnTo>
                    <a:lnTo>
                      <a:pt x="473" y="885"/>
                    </a:lnTo>
                    <a:lnTo>
                      <a:pt x="474" y="889"/>
                    </a:lnTo>
                    <a:lnTo>
                      <a:pt x="474" y="889"/>
                    </a:lnTo>
                    <a:lnTo>
                      <a:pt x="474" y="894"/>
                    </a:lnTo>
                    <a:lnTo>
                      <a:pt x="472" y="899"/>
                    </a:lnTo>
                    <a:lnTo>
                      <a:pt x="468" y="908"/>
                    </a:lnTo>
                    <a:lnTo>
                      <a:pt x="461" y="917"/>
                    </a:lnTo>
                    <a:lnTo>
                      <a:pt x="453" y="925"/>
                    </a:lnTo>
                    <a:lnTo>
                      <a:pt x="436" y="940"/>
                    </a:lnTo>
                    <a:lnTo>
                      <a:pt x="428" y="948"/>
                    </a:lnTo>
                    <a:lnTo>
                      <a:pt x="422" y="955"/>
                    </a:lnTo>
                    <a:lnTo>
                      <a:pt x="422" y="955"/>
                    </a:lnTo>
                    <a:lnTo>
                      <a:pt x="419" y="958"/>
                    </a:lnTo>
                    <a:lnTo>
                      <a:pt x="416" y="963"/>
                    </a:lnTo>
                    <a:lnTo>
                      <a:pt x="414" y="970"/>
                    </a:lnTo>
                    <a:lnTo>
                      <a:pt x="413" y="979"/>
                    </a:lnTo>
                    <a:lnTo>
                      <a:pt x="412" y="988"/>
                    </a:lnTo>
                    <a:lnTo>
                      <a:pt x="412" y="988"/>
                    </a:lnTo>
                    <a:lnTo>
                      <a:pt x="410" y="992"/>
                    </a:lnTo>
                    <a:lnTo>
                      <a:pt x="407" y="993"/>
                    </a:lnTo>
                    <a:lnTo>
                      <a:pt x="405" y="994"/>
                    </a:lnTo>
                    <a:lnTo>
                      <a:pt x="402" y="994"/>
                    </a:lnTo>
                    <a:lnTo>
                      <a:pt x="396" y="994"/>
                    </a:lnTo>
                    <a:lnTo>
                      <a:pt x="392" y="994"/>
                    </a:lnTo>
                    <a:lnTo>
                      <a:pt x="389" y="995"/>
                    </a:lnTo>
                    <a:lnTo>
                      <a:pt x="389" y="995"/>
                    </a:lnTo>
                    <a:lnTo>
                      <a:pt x="387" y="999"/>
                    </a:lnTo>
                    <a:lnTo>
                      <a:pt x="383" y="1007"/>
                    </a:lnTo>
                    <a:lnTo>
                      <a:pt x="377" y="1027"/>
                    </a:lnTo>
                    <a:lnTo>
                      <a:pt x="373" y="1050"/>
                    </a:lnTo>
                    <a:lnTo>
                      <a:pt x="370" y="1065"/>
                    </a:lnTo>
                    <a:lnTo>
                      <a:pt x="370" y="1065"/>
                    </a:lnTo>
                    <a:lnTo>
                      <a:pt x="372" y="1075"/>
                    </a:lnTo>
                    <a:lnTo>
                      <a:pt x="373" y="1083"/>
                    </a:lnTo>
                    <a:lnTo>
                      <a:pt x="376" y="1101"/>
                    </a:lnTo>
                    <a:lnTo>
                      <a:pt x="377" y="1109"/>
                    </a:lnTo>
                    <a:lnTo>
                      <a:pt x="377" y="1115"/>
                    </a:lnTo>
                    <a:lnTo>
                      <a:pt x="376" y="1117"/>
                    </a:lnTo>
                    <a:lnTo>
                      <a:pt x="375" y="1119"/>
                    </a:lnTo>
                    <a:lnTo>
                      <a:pt x="374" y="1121"/>
                    </a:lnTo>
                    <a:lnTo>
                      <a:pt x="370" y="1121"/>
                    </a:lnTo>
                    <a:lnTo>
                      <a:pt x="370" y="1121"/>
                    </a:lnTo>
                    <a:lnTo>
                      <a:pt x="362" y="1119"/>
                    </a:lnTo>
                    <a:lnTo>
                      <a:pt x="354" y="1117"/>
                    </a:lnTo>
                    <a:lnTo>
                      <a:pt x="349" y="1113"/>
                    </a:lnTo>
                    <a:lnTo>
                      <a:pt x="343" y="1107"/>
                    </a:lnTo>
                    <a:lnTo>
                      <a:pt x="339" y="1100"/>
                    </a:lnTo>
                    <a:lnTo>
                      <a:pt x="335" y="1093"/>
                    </a:lnTo>
                    <a:lnTo>
                      <a:pt x="329" y="1077"/>
                    </a:lnTo>
                    <a:lnTo>
                      <a:pt x="323" y="1061"/>
                    </a:lnTo>
                    <a:lnTo>
                      <a:pt x="320" y="1053"/>
                    </a:lnTo>
                    <a:lnTo>
                      <a:pt x="315" y="1046"/>
                    </a:lnTo>
                    <a:lnTo>
                      <a:pt x="311" y="1041"/>
                    </a:lnTo>
                    <a:lnTo>
                      <a:pt x="305" y="1037"/>
                    </a:lnTo>
                    <a:lnTo>
                      <a:pt x="298" y="1033"/>
                    </a:lnTo>
                    <a:lnTo>
                      <a:pt x="290" y="1032"/>
                    </a:lnTo>
                    <a:lnTo>
                      <a:pt x="290" y="1032"/>
                    </a:lnTo>
                    <a:lnTo>
                      <a:pt x="284" y="1033"/>
                    </a:lnTo>
                    <a:lnTo>
                      <a:pt x="280" y="1035"/>
                    </a:lnTo>
                    <a:lnTo>
                      <a:pt x="275" y="1038"/>
                    </a:lnTo>
                    <a:lnTo>
                      <a:pt x="271" y="1042"/>
                    </a:lnTo>
                    <a:lnTo>
                      <a:pt x="263" y="1053"/>
                    </a:lnTo>
                    <a:lnTo>
                      <a:pt x="255" y="1064"/>
                    </a:lnTo>
                    <a:lnTo>
                      <a:pt x="246" y="1075"/>
                    </a:lnTo>
                    <a:lnTo>
                      <a:pt x="242" y="1080"/>
                    </a:lnTo>
                    <a:lnTo>
                      <a:pt x="236" y="1085"/>
                    </a:lnTo>
                    <a:lnTo>
                      <a:pt x="230" y="1090"/>
                    </a:lnTo>
                    <a:lnTo>
                      <a:pt x="224" y="1092"/>
                    </a:lnTo>
                    <a:lnTo>
                      <a:pt x="217" y="1094"/>
                    </a:lnTo>
                    <a:lnTo>
                      <a:pt x="209" y="1095"/>
                    </a:lnTo>
                    <a:lnTo>
                      <a:pt x="209" y="1095"/>
                    </a:lnTo>
                    <a:lnTo>
                      <a:pt x="162" y="1095"/>
                    </a:lnTo>
                    <a:lnTo>
                      <a:pt x="162" y="1095"/>
                    </a:lnTo>
                    <a:lnTo>
                      <a:pt x="155" y="1095"/>
                    </a:lnTo>
                    <a:lnTo>
                      <a:pt x="150" y="1098"/>
                    </a:lnTo>
                    <a:lnTo>
                      <a:pt x="145" y="1100"/>
                    </a:lnTo>
                    <a:lnTo>
                      <a:pt x="139" y="1104"/>
                    </a:lnTo>
                    <a:lnTo>
                      <a:pt x="135" y="1109"/>
                    </a:lnTo>
                    <a:lnTo>
                      <a:pt x="131" y="1115"/>
                    </a:lnTo>
                    <a:lnTo>
                      <a:pt x="123" y="1129"/>
                    </a:lnTo>
                    <a:lnTo>
                      <a:pt x="117" y="1145"/>
                    </a:lnTo>
                    <a:lnTo>
                      <a:pt x="114" y="1163"/>
                    </a:lnTo>
                    <a:lnTo>
                      <a:pt x="110" y="1182"/>
                    </a:lnTo>
                    <a:lnTo>
                      <a:pt x="110" y="1201"/>
                    </a:lnTo>
                    <a:lnTo>
                      <a:pt x="110" y="1201"/>
                    </a:lnTo>
                    <a:lnTo>
                      <a:pt x="110" y="1207"/>
                    </a:lnTo>
                    <a:lnTo>
                      <a:pt x="112" y="1213"/>
                    </a:lnTo>
                    <a:lnTo>
                      <a:pt x="116" y="1223"/>
                    </a:lnTo>
                    <a:lnTo>
                      <a:pt x="123" y="1232"/>
                    </a:lnTo>
                    <a:lnTo>
                      <a:pt x="130" y="1241"/>
                    </a:lnTo>
                    <a:lnTo>
                      <a:pt x="138" y="1252"/>
                    </a:lnTo>
                    <a:lnTo>
                      <a:pt x="144" y="1262"/>
                    </a:lnTo>
                    <a:lnTo>
                      <a:pt x="147" y="1267"/>
                    </a:lnTo>
                    <a:lnTo>
                      <a:pt x="148" y="1272"/>
                    </a:lnTo>
                    <a:lnTo>
                      <a:pt x="150" y="1279"/>
                    </a:lnTo>
                    <a:lnTo>
                      <a:pt x="151" y="1286"/>
                    </a:lnTo>
                    <a:lnTo>
                      <a:pt x="151" y="1286"/>
                    </a:lnTo>
                    <a:lnTo>
                      <a:pt x="150" y="1297"/>
                    </a:lnTo>
                    <a:lnTo>
                      <a:pt x="146" y="1308"/>
                    </a:lnTo>
                    <a:lnTo>
                      <a:pt x="141" y="1320"/>
                    </a:lnTo>
                    <a:lnTo>
                      <a:pt x="136" y="1331"/>
                    </a:lnTo>
                    <a:lnTo>
                      <a:pt x="129" y="1340"/>
                    </a:lnTo>
                    <a:lnTo>
                      <a:pt x="120" y="1348"/>
                    </a:lnTo>
                    <a:lnTo>
                      <a:pt x="110" y="1355"/>
                    </a:lnTo>
                    <a:lnTo>
                      <a:pt x="99" y="1360"/>
                    </a:lnTo>
                    <a:lnTo>
                      <a:pt x="99" y="1360"/>
                    </a:lnTo>
                    <a:lnTo>
                      <a:pt x="98" y="1368"/>
                    </a:lnTo>
                    <a:lnTo>
                      <a:pt x="94" y="1376"/>
                    </a:lnTo>
                    <a:lnTo>
                      <a:pt x="86" y="1393"/>
                    </a:lnTo>
                    <a:lnTo>
                      <a:pt x="79" y="1407"/>
                    </a:lnTo>
                    <a:lnTo>
                      <a:pt x="78" y="1413"/>
                    </a:lnTo>
                    <a:lnTo>
                      <a:pt x="77" y="1419"/>
                    </a:lnTo>
                    <a:lnTo>
                      <a:pt x="77" y="1419"/>
                    </a:lnTo>
                    <a:lnTo>
                      <a:pt x="77" y="1424"/>
                    </a:lnTo>
                    <a:lnTo>
                      <a:pt x="79" y="1431"/>
                    </a:lnTo>
                    <a:lnTo>
                      <a:pt x="84" y="1443"/>
                    </a:lnTo>
                    <a:lnTo>
                      <a:pt x="90" y="1454"/>
                    </a:lnTo>
                    <a:lnTo>
                      <a:pt x="91" y="1461"/>
                    </a:lnTo>
                    <a:lnTo>
                      <a:pt x="92" y="1469"/>
                    </a:lnTo>
                    <a:lnTo>
                      <a:pt x="92" y="1469"/>
                    </a:lnTo>
                    <a:lnTo>
                      <a:pt x="91" y="1478"/>
                    </a:lnTo>
                    <a:lnTo>
                      <a:pt x="90" y="1487"/>
                    </a:lnTo>
                    <a:lnTo>
                      <a:pt x="84" y="1500"/>
                    </a:lnTo>
                    <a:lnTo>
                      <a:pt x="79" y="1512"/>
                    </a:lnTo>
                    <a:lnTo>
                      <a:pt x="77" y="1518"/>
                    </a:lnTo>
                    <a:lnTo>
                      <a:pt x="77" y="1524"/>
                    </a:lnTo>
                    <a:lnTo>
                      <a:pt x="77" y="1524"/>
                    </a:lnTo>
                    <a:lnTo>
                      <a:pt x="77" y="1530"/>
                    </a:lnTo>
                    <a:lnTo>
                      <a:pt x="78" y="1535"/>
                    </a:lnTo>
                    <a:lnTo>
                      <a:pt x="83" y="1545"/>
                    </a:lnTo>
                    <a:lnTo>
                      <a:pt x="86" y="1554"/>
                    </a:lnTo>
                    <a:lnTo>
                      <a:pt x="87" y="1560"/>
                    </a:lnTo>
                    <a:lnTo>
                      <a:pt x="89" y="1565"/>
                    </a:lnTo>
                    <a:lnTo>
                      <a:pt x="89" y="1565"/>
                    </a:lnTo>
                    <a:lnTo>
                      <a:pt x="87" y="1576"/>
                    </a:lnTo>
                    <a:lnTo>
                      <a:pt x="85" y="1584"/>
                    </a:lnTo>
                    <a:lnTo>
                      <a:pt x="82" y="1590"/>
                    </a:lnTo>
                    <a:lnTo>
                      <a:pt x="77" y="1594"/>
                    </a:lnTo>
                    <a:lnTo>
                      <a:pt x="71" y="1596"/>
                    </a:lnTo>
                    <a:lnTo>
                      <a:pt x="63" y="1598"/>
                    </a:lnTo>
                    <a:lnTo>
                      <a:pt x="44" y="1598"/>
                    </a:lnTo>
                    <a:lnTo>
                      <a:pt x="44" y="1598"/>
                    </a:lnTo>
                    <a:lnTo>
                      <a:pt x="40" y="1599"/>
                    </a:lnTo>
                    <a:lnTo>
                      <a:pt x="34" y="1604"/>
                    </a:lnTo>
                    <a:lnTo>
                      <a:pt x="19" y="1615"/>
                    </a:lnTo>
                    <a:lnTo>
                      <a:pt x="6" y="1628"/>
                    </a:lnTo>
                    <a:lnTo>
                      <a:pt x="1" y="1634"/>
                    </a:lnTo>
                    <a:lnTo>
                      <a:pt x="0" y="1637"/>
                    </a:lnTo>
                    <a:lnTo>
                      <a:pt x="0" y="1637"/>
                    </a:lnTo>
                    <a:lnTo>
                      <a:pt x="1" y="1641"/>
                    </a:lnTo>
                    <a:lnTo>
                      <a:pt x="2" y="1644"/>
                    </a:lnTo>
                    <a:lnTo>
                      <a:pt x="5" y="1648"/>
                    </a:lnTo>
                    <a:lnTo>
                      <a:pt x="8" y="1650"/>
                    </a:lnTo>
                    <a:lnTo>
                      <a:pt x="14" y="1653"/>
                    </a:lnTo>
                    <a:lnTo>
                      <a:pt x="18" y="1656"/>
                    </a:lnTo>
                    <a:lnTo>
                      <a:pt x="18" y="1656"/>
                    </a:lnTo>
                    <a:lnTo>
                      <a:pt x="26" y="1664"/>
                    </a:lnTo>
                    <a:lnTo>
                      <a:pt x="36" y="1674"/>
                    </a:lnTo>
                    <a:lnTo>
                      <a:pt x="54" y="1698"/>
                    </a:lnTo>
                    <a:lnTo>
                      <a:pt x="63" y="1710"/>
                    </a:lnTo>
                    <a:lnTo>
                      <a:pt x="72" y="1720"/>
                    </a:lnTo>
                    <a:lnTo>
                      <a:pt x="77" y="1725"/>
                    </a:lnTo>
                    <a:lnTo>
                      <a:pt x="82" y="1727"/>
                    </a:lnTo>
                    <a:lnTo>
                      <a:pt x="86" y="1729"/>
                    </a:lnTo>
                    <a:lnTo>
                      <a:pt x="92" y="1729"/>
                    </a:lnTo>
                    <a:lnTo>
                      <a:pt x="92" y="1729"/>
                    </a:lnTo>
                    <a:lnTo>
                      <a:pt x="95" y="1729"/>
                    </a:lnTo>
                    <a:lnTo>
                      <a:pt x="99" y="1728"/>
                    </a:lnTo>
                    <a:lnTo>
                      <a:pt x="106" y="1724"/>
                    </a:lnTo>
                    <a:lnTo>
                      <a:pt x="114" y="1720"/>
                    </a:lnTo>
                    <a:lnTo>
                      <a:pt x="117" y="1719"/>
                    </a:lnTo>
                    <a:lnTo>
                      <a:pt x="121" y="1719"/>
                    </a:lnTo>
                    <a:lnTo>
                      <a:pt x="121" y="1719"/>
                    </a:lnTo>
                    <a:lnTo>
                      <a:pt x="132" y="1719"/>
                    </a:lnTo>
                    <a:lnTo>
                      <a:pt x="140" y="1722"/>
                    </a:lnTo>
                    <a:lnTo>
                      <a:pt x="146" y="1726"/>
                    </a:lnTo>
                    <a:lnTo>
                      <a:pt x="151" y="1730"/>
                    </a:lnTo>
                    <a:lnTo>
                      <a:pt x="159" y="1742"/>
                    </a:lnTo>
                    <a:lnTo>
                      <a:pt x="162" y="1747"/>
                    </a:lnTo>
                    <a:lnTo>
                      <a:pt x="169" y="1751"/>
                    </a:lnTo>
                    <a:lnTo>
                      <a:pt x="169" y="1751"/>
                    </a:lnTo>
                    <a:lnTo>
                      <a:pt x="192" y="1766"/>
                    </a:lnTo>
                    <a:lnTo>
                      <a:pt x="216" y="1780"/>
                    </a:lnTo>
                    <a:lnTo>
                      <a:pt x="228" y="1787"/>
                    </a:lnTo>
                    <a:lnTo>
                      <a:pt x="242" y="1791"/>
                    </a:lnTo>
                    <a:lnTo>
                      <a:pt x="255" y="1795"/>
                    </a:lnTo>
                    <a:lnTo>
                      <a:pt x="271" y="1796"/>
                    </a:lnTo>
                    <a:lnTo>
                      <a:pt x="271" y="1796"/>
                    </a:lnTo>
                    <a:lnTo>
                      <a:pt x="283" y="1795"/>
                    </a:lnTo>
                    <a:lnTo>
                      <a:pt x="291" y="1791"/>
                    </a:lnTo>
                    <a:lnTo>
                      <a:pt x="299" y="1788"/>
                    </a:lnTo>
                    <a:lnTo>
                      <a:pt x="308" y="1785"/>
                    </a:lnTo>
                    <a:lnTo>
                      <a:pt x="308" y="1785"/>
                    </a:lnTo>
                    <a:lnTo>
                      <a:pt x="312" y="1789"/>
                    </a:lnTo>
                    <a:lnTo>
                      <a:pt x="315" y="1794"/>
                    </a:lnTo>
                    <a:lnTo>
                      <a:pt x="321" y="1797"/>
                    </a:lnTo>
                    <a:lnTo>
                      <a:pt x="326" y="1800"/>
                    </a:lnTo>
                    <a:lnTo>
                      <a:pt x="337" y="1802"/>
                    </a:lnTo>
                    <a:lnTo>
                      <a:pt x="349" y="1803"/>
                    </a:lnTo>
                    <a:lnTo>
                      <a:pt x="349" y="1803"/>
                    </a:lnTo>
                    <a:lnTo>
                      <a:pt x="355" y="1793"/>
                    </a:lnTo>
                    <a:lnTo>
                      <a:pt x="361" y="1782"/>
                    </a:lnTo>
                    <a:lnTo>
                      <a:pt x="373" y="1760"/>
                    </a:lnTo>
                    <a:lnTo>
                      <a:pt x="380" y="1751"/>
                    </a:lnTo>
                    <a:lnTo>
                      <a:pt x="387" y="1743"/>
                    </a:lnTo>
                    <a:lnTo>
                      <a:pt x="391" y="1741"/>
                    </a:lnTo>
                    <a:lnTo>
                      <a:pt x="396" y="1739"/>
                    </a:lnTo>
                    <a:lnTo>
                      <a:pt x="402" y="1737"/>
                    </a:lnTo>
                    <a:lnTo>
                      <a:pt x="407" y="1736"/>
                    </a:lnTo>
                    <a:lnTo>
                      <a:pt x="407" y="1736"/>
                    </a:lnTo>
                    <a:lnTo>
                      <a:pt x="412" y="1737"/>
                    </a:lnTo>
                    <a:lnTo>
                      <a:pt x="416" y="1739"/>
                    </a:lnTo>
                    <a:lnTo>
                      <a:pt x="420" y="1741"/>
                    </a:lnTo>
                    <a:lnTo>
                      <a:pt x="423" y="1744"/>
                    </a:lnTo>
                    <a:lnTo>
                      <a:pt x="427" y="1751"/>
                    </a:lnTo>
                    <a:lnTo>
                      <a:pt x="429" y="1760"/>
                    </a:lnTo>
                    <a:lnTo>
                      <a:pt x="434" y="1780"/>
                    </a:lnTo>
                    <a:lnTo>
                      <a:pt x="436" y="1789"/>
                    </a:lnTo>
                    <a:lnTo>
                      <a:pt x="438" y="1793"/>
                    </a:lnTo>
                    <a:lnTo>
                      <a:pt x="441" y="1796"/>
                    </a:lnTo>
                    <a:lnTo>
                      <a:pt x="441" y="1796"/>
                    </a:lnTo>
                    <a:lnTo>
                      <a:pt x="449" y="1803"/>
                    </a:lnTo>
                    <a:lnTo>
                      <a:pt x="457" y="1808"/>
                    </a:lnTo>
                    <a:lnTo>
                      <a:pt x="466" y="1812"/>
                    </a:lnTo>
                    <a:lnTo>
                      <a:pt x="475" y="1814"/>
                    </a:lnTo>
                    <a:lnTo>
                      <a:pt x="496" y="1819"/>
                    </a:lnTo>
                    <a:lnTo>
                      <a:pt x="507" y="1821"/>
                    </a:lnTo>
                    <a:lnTo>
                      <a:pt x="518" y="1825"/>
                    </a:lnTo>
                    <a:lnTo>
                      <a:pt x="518" y="1825"/>
                    </a:lnTo>
                    <a:lnTo>
                      <a:pt x="532" y="1831"/>
                    </a:lnTo>
                    <a:lnTo>
                      <a:pt x="543" y="1837"/>
                    </a:lnTo>
                    <a:lnTo>
                      <a:pt x="563" y="1852"/>
                    </a:lnTo>
                    <a:lnTo>
                      <a:pt x="571" y="1859"/>
                    </a:lnTo>
                    <a:lnTo>
                      <a:pt x="581" y="1864"/>
                    </a:lnTo>
                    <a:lnTo>
                      <a:pt x="593" y="1867"/>
                    </a:lnTo>
                    <a:lnTo>
                      <a:pt x="599" y="1869"/>
                    </a:lnTo>
                    <a:lnTo>
                      <a:pt x="606" y="1869"/>
                    </a:lnTo>
                    <a:lnTo>
                      <a:pt x="606" y="1869"/>
                    </a:lnTo>
                    <a:lnTo>
                      <a:pt x="612" y="1870"/>
                    </a:lnTo>
                    <a:lnTo>
                      <a:pt x="618" y="1872"/>
                    </a:lnTo>
                    <a:lnTo>
                      <a:pt x="621" y="1872"/>
                    </a:lnTo>
                    <a:lnTo>
                      <a:pt x="626" y="1872"/>
                    </a:lnTo>
                    <a:lnTo>
                      <a:pt x="631" y="1871"/>
                    </a:lnTo>
                    <a:lnTo>
                      <a:pt x="635" y="1869"/>
                    </a:lnTo>
                    <a:lnTo>
                      <a:pt x="635" y="1869"/>
                    </a:lnTo>
                    <a:lnTo>
                      <a:pt x="640" y="1874"/>
                    </a:lnTo>
                    <a:lnTo>
                      <a:pt x="643" y="1880"/>
                    </a:lnTo>
                    <a:lnTo>
                      <a:pt x="652" y="1888"/>
                    </a:lnTo>
                    <a:lnTo>
                      <a:pt x="662" y="1895"/>
                    </a:lnTo>
                    <a:lnTo>
                      <a:pt x="672" y="1900"/>
                    </a:lnTo>
                    <a:lnTo>
                      <a:pt x="682" y="1905"/>
                    </a:lnTo>
                    <a:lnTo>
                      <a:pt x="693" y="1912"/>
                    </a:lnTo>
                    <a:lnTo>
                      <a:pt x="701" y="1920"/>
                    </a:lnTo>
                    <a:lnTo>
                      <a:pt x="705" y="1926"/>
                    </a:lnTo>
                    <a:lnTo>
                      <a:pt x="709" y="1932"/>
                    </a:lnTo>
                    <a:lnTo>
                      <a:pt x="709" y="1932"/>
                    </a:lnTo>
                    <a:lnTo>
                      <a:pt x="713" y="1943"/>
                    </a:lnTo>
                    <a:lnTo>
                      <a:pt x="718" y="1955"/>
                    </a:lnTo>
                    <a:lnTo>
                      <a:pt x="721" y="1961"/>
                    </a:lnTo>
                    <a:lnTo>
                      <a:pt x="725" y="1965"/>
                    </a:lnTo>
                    <a:lnTo>
                      <a:pt x="731" y="1968"/>
                    </a:lnTo>
                    <a:lnTo>
                      <a:pt x="739" y="1969"/>
                    </a:lnTo>
                    <a:lnTo>
                      <a:pt x="739" y="1969"/>
                    </a:lnTo>
                    <a:lnTo>
                      <a:pt x="747" y="1968"/>
                    </a:lnTo>
                    <a:lnTo>
                      <a:pt x="755" y="1968"/>
                    </a:lnTo>
                    <a:lnTo>
                      <a:pt x="761" y="1966"/>
                    </a:lnTo>
                    <a:lnTo>
                      <a:pt x="766" y="1966"/>
                    </a:lnTo>
                    <a:lnTo>
                      <a:pt x="771" y="1968"/>
                    </a:lnTo>
                    <a:lnTo>
                      <a:pt x="775" y="1971"/>
                    </a:lnTo>
                    <a:lnTo>
                      <a:pt x="781" y="1978"/>
                    </a:lnTo>
                    <a:lnTo>
                      <a:pt x="786" y="1987"/>
                    </a:lnTo>
                    <a:lnTo>
                      <a:pt x="786" y="1987"/>
                    </a:lnTo>
                    <a:lnTo>
                      <a:pt x="789" y="1992"/>
                    </a:lnTo>
                    <a:lnTo>
                      <a:pt x="790" y="1997"/>
                    </a:lnTo>
                    <a:lnTo>
                      <a:pt x="789" y="2005"/>
                    </a:lnTo>
                    <a:lnTo>
                      <a:pt x="789" y="2009"/>
                    </a:lnTo>
                    <a:lnTo>
                      <a:pt x="790" y="2012"/>
                    </a:lnTo>
                    <a:lnTo>
                      <a:pt x="794" y="2015"/>
                    </a:lnTo>
                    <a:lnTo>
                      <a:pt x="801" y="2016"/>
                    </a:lnTo>
                    <a:lnTo>
                      <a:pt x="801" y="2016"/>
                    </a:lnTo>
                    <a:lnTo>
                      <a:pt x="802" y="2011"/>
                    </a:lnTo>
                    <a:lnTo>
                      <a:pt x="803" y="2007"/>
                    </a:lnTo>
                    <a:lnTo>
                      <a:pt x="808" y="1999"/>
                    </a:lnTo>
                    <a:lnTo>
                      <a:pt x="813" y="1993"/>
                    </a:lnTo>
                    <a:lnTo>
                      <a:pt x="820" y="1988"/>
                    </a:lnTo>
                    <a:lnTo>
                      <a:pt x="836" y="1981"/>
                    </a:lnTo>
                    <a:lnTo>
                      <a:pt x="845" y="1977"/>
                    </a:lnTo>
                    <a:lnTo>
                      <a:pt x="851" y="1972"/>
                    </a:lnTo>
                    <a:lnTo>
                      <a:pt x="851" y="1972"/>
                    </a:lnTo>
                    <a:lnTo>
                      <a:pt x="851" y="1965"/>
                    </a:lnTo>
                    <a:lnTo>
                      <a:pt x="850" y="1958"/>
                    </a:lnTo>
                    <a:lnTo>
                      <a:pt x="847" y="1947"/>
                    </a:lnTo>
                    <a:lnTo>
                      <a:pt x="847" y="1947"/>
                    </a:lnTo>
                    <a:lnTo>
                      <a:pt x="831" y="1949"/>
                    </a:lnTo>
                    <a:lnTo>
                      <a:pt x="816" y="1950"/>
                    </a:lnTo>
                    <a:lnTo>
                      <a:pt x="816" y="1950"/>
                    </a:lnTo>
                    <a:lnTo>
                      <a:pt x="801" y="1950"/>
                    </a:lnTo>
                    <a:lnTo>
                      <a:pt x="793" y="1949"/>
                    </a:lnTo>
                    <a:lnTo>
                      <a:pt x="785" y="1948"/>
                    </a:lnTo>
                    <a:lnTo>
                      <a:pt x="778" y="1946"/>
                    </a:lnTo>
                    <a:lnTo>
                      <a:pt x="773" y="1942"/>
                    </a:lnTo>
                    <a:lnTo>
                      <a:pt x="769" y="1938"/>
                    </a:lnTo>
                    <a:lnTo>
                      <a:pt x="769" y="1934"/>
                    </a:lnTo>
                    <a:lnTo>
                      <a:pt x="767" y="1932"/>
                    </a:lnTo>
                    <a:lnTo>
                      <a:pt x="767" y="1932"/>
                    </a:lnTo>
                    <a:lnTo>
                      <a:pt x="769" y="1928"/>
                    </a:lnTo>
                    <a:lnTo>
                      <a:pt x="772" y="1924"/>
                    </a:lnTo>
                    <a:lnTo>
                      <a:pt x="782" y="1915"/>
                    </a:lnTo>
                    <a:lnTo>
                      <a:pt x="797" y="1903"/>
                    </a:lnTo>
                    <a:lnTo>
                      <a:pt x="815" y="1892"/>
                    </a:lnTo>
                    <a:lnTo>
                      <a:pt x="850" y="1871"/>
                    </a:lnTo>
                    <a:lnTo>
                      <a:pt x="871" y="1858"/>
                    </a:lnTo>
                    <a:lnTo>
                      <a:pt x="871" y="1858"/>
                    </a:lnTo>
                    <a:lnTo>
                      <a:pt x="884" y="1846"/>
                    </a:lnTo>
                    <a:lnTo>
                      <a:pt x="894" y="1832"/>
                    </a:lnTo>
                    <a:lnTo>
                      <a:pt x="903" y="1818"/>
                    </a:lnTo>
                    <a:lnTo>
                      <a:pt x="912" y="1804"/>
                    </a:lnTo>
                    <a:lnTo>
                      <a:pt x="929" y="1774"/>
                    </a:lnTo>
                    <a:lnTo>
                      <a:pt x="938" y="1759"/>
                    </a:lnTo>
                    <a:lnTo>
                      <a:pt x="948" y="1744"/>
                    </a:lnTo>
                    <a:lnTo>
                      <a:pt x="948" y="1744"/>
                    </a:lnTo>
                    <a:lnTo>
                      <a:pt x="956" y="1732"/>
                    </a:lnTo>
                    <a:lnTo>
                      <a:pt x="963" y="1720"/>
                    </a:lnTo>
                    <a:lnTo>
                      <a:pt x="970" y="1709"/>
                    </a:lnTo>
                    <a:lnTo>
                      <a:pt x="975" y="1697"/>
                    </a:lnTo>
                    <a:lnTo>
                      <a:pt x="985" y="1673"/>
                    </a:lnTo>
                    <a:lnTo>
                      <a:pt x="992" y="1659"/>
                    </a:lnTo>
                    <a:lnTo>
                      <a:pt x="999" y="1645"/>
                    </a:lnTo>
                    <a:lnTo>
                      <a:pt x="999" y="1645"/>
                    </a:lnTo>
                    <a:lnTo>
                      <a:pt x="1002" y="1640"/>
                    </a:lnTo>
                    <a:lnTo>
                      <a:pt x="1006" y="1635"/>
                    </a:lnTo>
                    <a:lnTo>
                      <a:pt x="1014" y="1628"/>
                    </a:lnTo>
                    <a:lnTo>
                      <a:pt x="1021" y="1621"/>
                    </a:lnTo>
                    <a:lnTo>
                      <a:pt x="1023" y="1618"/>
                    </a:lnTo>
                    <a:lnTo>
                      <a:pt x="1025" y="1613"/>
                    </a:lnTo>
                    <a:lnTo>
                      <a:pt x="1025" y="1613"/>
                    </a:lnTo>
                    <a:lnTo>
                      <a:pt x="1026" y="1606"/>
                    </a:lnTo>
                    <a:lnTo>
                      <a:pt x="1027" y="1600"/>
                    </a:lnTo>
                    <a:lnTo>
                      <a:pt x="1027" y="1589"/>
                    </a:lnTo>
                    <a:lnTo>
                      <a:pt x="1027" y="1583"/>
                    </a:lnTo>
                    <a:lnTo>
                      <a:pt x="1027" y="1577"/>
                    </a:lnTo>
                    <a:lnTo>
                      <a:pt x="1030" y="1572"/>
                    </a:lnTo>
                    <a:lnTo>
                      <a:pt x="1032" y="1565"/>
                    </a:lnTo>
                    <a:lnTo>
                      <a:pt x="1032" y="1565"/>
                    </a:lnTo>
                    <a:lnTo>
                      <a:pt x="1046" y="1548"/>
                    </a:lnTo>
                    <a:lnTo>
                      <a:pt x="1059" y="1531"/>
                    </a:lnTo>
                    <a:lnTo>
                      <a:pt x="1070" y="1513"/>
                    </a:lnTo>
                    <a:lnTo>
                      <a:pt x="1084" y="1492"/>
                    </a:lnTo>
                    <a:lnTo>
                      <a:pt x="1084" y="1399"/>
                    </a:lnTo>
                    <a:lnTo>
                      <a:pt x="1084" y="1399"/>
                    </a:lnTo>
                    <a:lnTo>
                      <a:pt x="1087" y="1391"/>
                    </a:lnTo>
                    <a:lnTo>
                      <a:pt x="1092" y="1378"/>
                    </a:lnTo>
                    <a:lnTo>
                      <a:pt x="1092" y="1378"/>
                    </a:lnTo>
                    <a:lnTo>
                      <a:pt x="1087" y="1353"/>
                    </a:lnTo>
                    <a:lnTo>
                      <a:pt x="1085" y="1339"/>
                    </a:lnTo>
                    <a:lnTo>
                      <a:pt x="1080" y="1325"/>
                    </a:lnTo>
                    <a:lnTo>
                      <a:pt x="1080" y="1325"/>
                    </a:lnTo>
                    <a:lnTo>
                      <a:pt x="1074" y="1322"/>
                    </a:lnTo>
                    <a:lnTo>
                      <a:pt x="1067" y="1316"/>
                    </a:lnTo>
                    <a:lnTo>
                      <a:pt x="1061" y="1308"/>
                    </a:lnTo>
                    <a:lnTo>
                      <a:pt x="1056" y="1300"/>
                    </a:lnTo>
                    <a:lnTo>
                      <a:pt x="1052" y="1291"/>
                    </a:lnTo>
                    <a:lnTo>
                      <a:pt x="1049" y="1281"/>
                    </a:lnTo>
                    <a:lnTo>
                      <a:pt x="1047" y="1270"/>
                    </a:lnTo>
                    <a:lnTo>
                      <a:pt x="1046" y="1260"/>
                    </a:lnTo>
                    <a:lnTo>
                      <a:pt x="1046" y="1260"/>
                    </a:lnTo>
                    <a:lnTo>
                      <a:pt x="1047" y="1248"/>
                    </a:lnTo>
                    <a:lnTo>
                      <a:pt x="1048" y="1238"/>
                    </a:lnTo>
                    <a:lnTo>
                      <a:pt x="1052" y="1228"/>
                    </a:lnTo>
                    <a:lnTo>
                      <a:pt x="1055" y="1220"/>
                    </a:lnTo>
                    <a:lnTo>
                      <a:pt x="1060" y="1211"/>
                    </a:lnTo>
                    <a:lnTo>
                      <a:pt x="1065" y="1203"/>
                    </a:lnTo>
                    <a:lnTo>
                      <a:pt x="1072" y="1197"/>
                    </a:lnTo>
                    <a:lnTo>
                      <a:pt x="1080" y="1190"/>
                    </a:lnTo>
                    <a:lnTo>
                      <a:pt x="1080" y="1190"/>
                    </a:lnTo>
                    <a:lnTo>
                      <a:pt x="1074" y="1185"/>
                    </a:lnTo>
                    <a:lnTo>
                      <a:pt x="1064" y="1180"/>
                    </a:lnTo>
                    <a:lnTo>
                      <a:pt x="1054" y="1175"/>
                    </a:lnTo>
                    <a:lnTo>
                      <a:pt x="1044" y="1168"/>
                    </a:lnTo>
                    <a:lnTo>
                      <a:pt x="1033" y="1160"/>
                    </a:lnTo>
                    <a:lnTo>
                      <a:pt x="1025" y="1152"/>
                    </a:lnTo>
                    <a:lnTo>
                      <a:pt x="1022" y="1147"/>
                    </a:lnTo>
                    <a:lnTo>
                      <a:pt x="1019" y="1141"/>
                    </a:lnTo>
                    <a:lnTo>
                      <a:pt x="1018" y="1137"/>
                    </a:lnTo>
                    <a:lnTo>
                      <a:pt x="1018" y="1131"/>
                    </a:lnTo>
                    <a:lnTo>
                      <a:pt x="1018" y="1131"/>
                    </a:lnTo>
                    <a:lnTo>
                      <a:pt x="1018" y="1124"/>
                    </a:lnTo>
                    <a:lnTo>
                      <a:pt x="1019" y="1117"/>
                    </a:lnTo>
                    <a:lnTo>
                      <a:pt x="1023" y="1111"/>
                    </a:lnTo>
                    <a:lnTo>
                      <a:pt x="1026" y="1107"/>
                    </a:lnTo>
                    <a:lnTo>
                      <a:pt x="1030" y="1102"/>
                    </a:lnTo>
                    <a:lnTo>
                      <a:pt x="1036" y="1099"/>
                    </a:lnTo>
                    <a:lnTo>
                      <a:pt x="1046" y="1094"/>
                    </a:lnTo>
                    <a:lnTo>
                      <a:pt x="1070" y="1085"/>
                    </a:lnTo>
                    <a:lnTo>
                      <a:pt x="1082" y="1079"/>
                    </a:lnTo>
                    <a:lnTo>
                      <a:pt x="1086" y="1076"/>
                    </a:lnTo>
                    <a:lnTo>
                      <a:pt x="1091" y="1072"/>
                    </a:lnTo>
                    <a:lnTo>
                      <a:pt x="1091" y="1072"/>
                    </a:lnTo>
                    <a:lnTo>
                      <a:pt x="1094" y="1067"/>
                    </a:lnTo>
                    <a:lnTo>
                      <a:pt x="1097" y="1061"/>
                    </a:lnTo>
                    <a:lnTo>
                      <a:pt x="1097" y="1055"/>
                    </a:lnTo>
                    <a:lnTo>
                      <a:pt x="1098" y="1048"/>
                    </a:lnTo>
                    <a:lnTo>
                      <a:pt x="1098" y="1042"/>
                    </a:lnTo>
                    <a:lnTo>
                      <a:pt x="1099" y="1037"/>
                    </a:lnTo>
                    <a:lnTo>
                      <a:pt x="1102" y="1031"/>
                    </a:lnTo>
                    <a:lnTo>
                      <a:pt x="1109" y="1025"/>
                    </a:lnTo>
                    <a:lnTo>
                      <a:pt x="1109" y="1025"/>
                    </a:lnTo>
                    <a:lnTo>
                      <a:pt x="1113" y="1023"/>
                    </a:lnTo>
                    <a:lnTo>
                      <a:pt x="1116" y="1022"/>
                    </a:lnTo>
                    <a:lnTo>
                      <a:pt x="1125" y="1020"/>
                    </a:lnTo>
                    <a:lnTo>
                      <a:pt x="1135" y="1020"/>
                    </a:lnTo>
                    <a:lnTo>
                      <a:pt x="1146" y="1020"/>
                    </a:lnTo>
                    <a:lnTo>
                      <a:pt x="1159" y="1022"/>
                    </a:lnTo>
                    <a:lnTo>
                      <a:pt x="1171" y="1022"/>
                    </a:lnTo>
                    <a:lnTo>
                      <a:pt x="1185" y="1020"/>
                    </a:lnTo>
                    <a:lnTo>
                      <a:pt x="1198" y="1018"/>
                    </a:lnTo>
                    <a:lnTo>
                      <a:pt x="1198" y="1018"/>
                    </a:lnTo>
                    <a:lnTo>
                      <a:pt x="1199" y="1015"/>
                    </a:lnTo>
                    <a:lnTo>
                      <a:pt x="1199" y="1008"/>
                    </a:lnTo>
                    <a:lnTo>
                      <a:pt x="1201" y="992"/>
                    </a:lnTo>
                    <a:lnTo>
                      <a:pt x="1202" y="983"/>
                    </a:lnTo>
                    <a:lnTo>
                      <a:pt x="1205" y="973"/>
                    </a:lnTo>
                    <a:lnTo>
                      <a:pt x="1208" y="966"/>
                    </a:lnTo>
                    <a:lnTo>
                      <a:pt x="1209" y="964"/>
                    </a:lnTo>
                    <a:lnTo>
                      <a:pt x="1213" y="963"/>
                    </a:lnTo>
                    <a:lnTo>
                      <a:pt x="1213" y="963"/>
                    </a:lnTo>
                    <a:lnTo>
                      <a:pt x="1219" y="966"/>
                    </a:lnTo>
                    <a:lnTo>
                      <a:pt x="1228" y="973"/>
                    </a:lnTo>
                    <a:lnTo>
                      <a:pt x="1239" y="981"/>
                    </a:lnTo>
                    <a:lnTo>
                      <a:pt x="1244" y="984"/>
                    </a:lnTo>
                    <a:lnTo>
                      <a:pt x="1248" y="984"/>
                    </a:lnTo>
                    <a:lnTo>
                      <a:pt x="1248" y="984"/>
                    </a:lnTo>
                    <a:lnTo>
                      <a:pt x="1266" y="983"/>
                    </a:lnTo>
                    <a:lnTo>
                      <a:pt x="1273" y="981"/>
                    </a:lnTo>
                    <a:lnTo>
                      <a:pt x="1281" y="979"/>
                    </a:lnTo>
                    <a:lnTo>
                      <a:pt x="1288" y="976"/>
                    </a:lnTo>
                    <a:lnTo>
                      <a:pt x="1293" y="972"/>
                    </a:lnTo>
                    <a:lnTo>
                      <a:pt x="1299" y="968"/>
                    </a:lnTo>
                    <a:lnTo>
                      <a:pt x="1304" y="963"/>
                    </a:lnTo>
                    <a:lnTo>
                      <a:pt x="1304" y="963"/>
                    </a:lnTo>
                    <a:lnTo>
                      <a:pt x="1308" y="965"/>
                    </a:lnTo>
                    <a:lnTo>
                      <a:pt x="1311" y="970"/>
                    </a:lnTo>
                    <a:lnTo>
                      <a:pt x="1317" y="980"/>
                    </a:lnTo>
                    <a:lnTo>
                      <a:pt x="1321" y="985"/>
                    </a:lnTo>
                    <a:lnTo>
                      <a:pt x="1326" y="988"/>
                    </a:lnTo>
                    <a:lnTo>
                      <a:pt x="1332" y="991"/>
                    </a:lnTo>
                    <a:lnTo>
                      <a:pt x="1340" y="992"/>
                    </a:lnTo>
                    <a:lnTo>
                      <a:pt x="1340" y="992"/>
                    </a:lnTo>
                    <a:lnTo>
                      <a:pt x="1346" y="992"/>
                    </a:lnTo>
                    <a:lnTo>
                      <a:pt x="1351" y="991"/>
                    </a:lnTo>
                    <a:lnTo>
                      <a:pt x="1359" y="986"/>
                    </a:lnTo>
                    <a:lnTo>
                      <a:pt x="1368" y="983"/>
                    </a:lnTo>
                    <a:lnTo>
                      <a:pt x="1373" y="981"/>
                    </a:lnTo>
                    <a:lnTo>
                      <a:pt x="1377" y="980"/>
                    </a:lnTo>
                    <a:lnTo>
                      <a:pt x="1377" y="980"/>
                    </a:lnTo>
                    <a:lnTo>
                      <a:pt x="1382" y="983"/>
                    </a:lnTo>
                    <a:lnTo>
                      <a:pt x="1389" y="986"/>
                    </a:lnTo>
                    <a:lnTo>
                      <a:pt x="1398" y="991"/>
                    </a:lnTo>
                    <a:lnTo>
                      <a:pt x="1403" y="992"/>
                    </a:lnTo>
                    <a:lnTo>
                      <a:pt x="1407" y="992"/>
                    </a:lnTo>
                    <a:lnTo>
                      <a:pt x="1407" y="992"/>
                    </a:lnTo>
                    <a:lnTo>
                      <a:pt x="1412" y="992"/>
                    </a:lnTo>
                    <a:lnTo>
                      <a:pt x="1415" y="991"/>
                    </a:lnTo>
                    <a:lnTo>
                      <a:pt x="1419" y="988"/>
                    </a:lnTo>
                    <a:lnTo>
                      <a:pt x="1421" y="987"/>
                    </a:lnTo>
                    <a:lnTo>
                      <a:pt x="1426" y="981"/>
                    </a:lnTo>
                    <a:lnTo>
                      <a:pt x="1428" y="974"/>
                    </a:lnTo>
                    <a:lnTo>
                      <a:pt x="1433" y="962"/>
                    </a:lnTo>
                    <a:lnTo>
                      <a:pt x="1434" y="957"/>
                    </a:lnTo>
                    <a:lnTo>
                      <a:pt x="1436" y="955"/>
                    </a:lnTo>
                    <a:lnTo>
                      <a:pt x="1436" y="955"/>
                    </a:lnTo>
                    <a:lnTo>
                      <a:pt x="1446" y="949"/>
                    </a:lnTo>
                    <a:lnTo>
                      <a:pt x="1456" y="942"/>
                    </a:lnTo>
                    <a:lnTo>
                      <a:pt x="1464" y="934"/>
                    </a:lnTo>
                    <a:lnTo>
                      <a:pt x="1469" y="925"/>
                    </a:lnTo>
                    <a:lnTo>
                      <a:pt x="1476" y="913"/>
                    </a:lnTo>
                    <a:lnTo>
                      <a:pt x="1481" y="903"/>
                    </a:lnTo>
                    <a:lnTo>
                      <a:pt x="1492" y="880"/>
                    </a:lnTo>
                    <a:lnTo>
                      <a:pt x="1497" y="869"/>
                    </a:lnTo>
                    <a:lnTo>
                      <a:pt x="1503" y="858"/>
                    </a:lnTo>
                    <a:lnTo>
                      <a:pt x="1510" y="849"/>
                    </a:lnTo>
                    <a:lnTo>
                      <a:pt x="1518" y="841"/>
                    </a:lnTo>
                    <a:lnTo>
                      <a:pt x="1526" y="834"/>
                    </a:lnTo>
                    <a:lnTo>
                      <a:pt x="1536" y="829"/>
                    </a:lnTo>
                    <a:lnTo>
                      <a:pt x="1548" y="827"/>
                    </a:lnTo>
                    <a:lnTo>
                      <a:pt x="1561" y="827"/>
                    </a:lnTo>
                    <a:lnTo>
                      <a:pt x="1561" y="844"/>
                    </a:lnTo>
                    <a:lnTo>
                      <a:pt x="1550" y="871"/>
                    </a:lnTo>
                    <a:lnTo>
                      <a:pt x="1550" y="871"/>
                    </a:lnTo>
                    <a:lnTo>
                      <a:pt x="1556" y="871"/>
                    </a:lnTo>
                    <a:lnTo>
                      <a:pt x="1561" y="873"/>
                    </a:lnTo>
                    <a:lnTo>
                      <a:pt x="1571" y="878"/>
                    </a:lnTo>
                    <a:lnTo>
                      <a:pt x="1575" y="881"/>
                    </a:lnTo>
                    <a:lnTo>
                      <a:pt x="1581" y="884"/>
                    </a:lnTo>
                    <a:lnTo>
                      <a:pt x="1587" y="885"/>
                    </a:lnTo>
                    <a:lnTo>
                      <a:pt x="1594" y="886"/>
                    </a:lnTo>
                    <a:lnTo>
                      <a:pt x="1594" y="886"/>
                    </a:lnTo>
                    <a:lnTo>
                      <a:pt x="1602" y="885"/>
                    </a:lnTo>
                    <a:lnTo>
                      <a:pt x="1607" y="884"/>
                    </a:lnTo>
                    <a:lnTo>
                      <a:pt x="1614" y="880"/>
                    </a:lnTo>
                    <a:lnTo>
                      <a:pt x="1619" y="878"/>
                    </a:lnTo>
                    <a:lnTo>
                      <a:pt x="1629" y="869"/>
                    </a:lnTo>
                    <a:lnTo>
                      <a:pt x="1639" y="858"/>
                    </a:lnTo>
                    <a:lnTo>
                      <a:pt x="1647" y="848"/>
                    </a:lnTo>
                    <a:lnTo>
                      <a:pt x="1655" y="839"/>
                    </a:lnTo>
                    <a:lnTo>
                      <a:pt x="1663" y="832"/>
                    </a:lnTo>
                    <a:lnTo>
                      <a:pt x="1667" y="828"/>
                    </a:lnTo>
                    <a:lnTo>
                      <a:pt x="1672" y="827"/>
                    </a:lnTo>
                    <a:lnTo>
                      <a:pt x="1672" y="827"/>
                    </a:lnTo>
                    <a:lnTo>
                      <a:pt x="1665" y="806"/>
                    </a:lnTo>
                    <a:lnTo>
                      <a:pt x="1662" y="797"/>
                    </a:lnTo>
                    <a:lnTo>
                      <a:pt x="1660" y="789"/>
                    </a:lnTo>
                    <a:lnTo>
                      <a:pt x="1660" y="789"/>
                    </a:lnTo>
                    <a:lnTo>
                      <a:pt x="1660" y="785"/>
                    </a:lnTo>
                    <a:lnTo>
                      <a:pt x="1662" y="781"/>
                    </a:lnTo>
                    <a:lnTo>
                      <a:pt x="1665" y="775"/>
                    </a:lnTo>
                    <a:lnTo>
                      <a:pt x="1668" y="771"/>
                    </a:lnTo>
                    <a:lnTo>
                      <a:pt x="1672" y="764"/>
                    </a:lnTo>
                    <a:lnTo>
                      <a:pt x="1672" y="764"/>
                    </a:lnTo>
                    <a:lnTo>
                      <a:pt x="1645" y="758"/>
                    </a:lnTo>
                    <a:lnTo>
                      <a:pt x="1634" y="756"/>
                    </a:lnTo>
                    <a:lnTo>
                      <a:pt x="1622" y="752"/>
                    </a:lnTo>
                    <a:lnTo>
                      <a:pt x="1612" y="748"/>
                    </a:lnTo>
                    <a:lnTo>
                      <a:pt x="1609" y="744"/>
                    </a:lnTo>
                    <a:lnTo>
                      <a:pt x="1605" y="741"/>
                    </a:lnTo>
                    <a:lnTo>
                      <a:pt x="1602" y="737"/>
                    </a:lnTo>
                    <a:lnTo>
                      <a:pt x="1599" y="734"/>
                    </a:lnTo>
                    <a:lnTo>
                      <a:pt x="1598" y="729"/>
                    </a:lnTo>
                    <a:lnTo>
                      <a:pt x="1598" y="724"/>
                    </a:lnTo>
                    <a:lnTo>
                      <a:pt x="1598" y="724"/>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51" name="Freeform 139"/>
              <p:cNvSpPr>
                <a:spLocks noChangeAspect="1"/>
              </p:cNvSpPr>
              <p:nvPr/>
            </p:nvSpPr>
            <p:spPr bwMode="auto">
              <a:xfrm>
                <a:off x="1121528" y="2941070"/>
                <a:ext cx="494554" cy="393817"/>
              </a:xfrm>
              <a:custGeom>
                <a:avLst/>
                <a:gdLst/>
                <a:ahLst/>
                <a:cxnLst>
                  <a:cxn ang="0">
                    <a:pos x="573" y="324"/>
                  </a:cxn>
                  <a:cxn ang="0">
                    <a:pos x="519" y="268"/>
                  </a:cxn>
                  <a:cxn ang="0">
                    <a:pos x="510" y="307"/>
                  </a:cxn>
                  <a:cxn ang="0">
                    <a:pos x="475" y="305"/>
                  </a:cxn>
                  <a:cxn ang="0">
                    <a:pos x="418" y="282"/>
                  </a:cxn>
                  <a:cxn ang="0">
                    <a:pos x="401" y="293"/>
                  </a:cxn>
                  <a:cxn ang="0">
                    <a:pos x="366" y="307"/>
                  </a:cxn>
                  <a:cxn ang="0">
                    <a:pos x="328" y="308"/>
                  </a:cxn>
                  <a:cxn ang="0">
                    <a:pos x="258" y="268"/>
                  </a:cxn>
                  <a:cxn ang="0">
                    <a:pos x="266" y="229"/>
                  </a:cxn>
                  <a:cxn ang="0">
                    <a:pos x="320" y="141"/>
                  </a:cxn>
                  <a:cxn ang="0">
                    <a:pos x="327" y="101"/>
                  </a:cxn>
                  <a:cxn ang="0">
                    <a:pos x="332" y="68"/>
                  </a:cxn>
                  <a:cxn ang="0">
                    <a:pos x="320" y="15"/>
                  </a:cxn>
                  <a:cxn ang="0">
                    <a:pos x="219" y="4"/>
                  </a:cxn>
                  <a:cxn ang="0">
                    <a:pos x="185" y="62"/>
                  </a:cxn>
                  <a:cxn ang="0">
                    <a:pos x="180" y="104"/>
                  </a:cxn>
                  <a:cxn ang="0">
                    <a:pos x="194" y="139"/>
                  </a:cxn>
                  <a:cxn ang="0">
                    <a:pos x="218" y="185"/>
                  </a:cxn>
                  <a:cxn ang="0">
                    <a:pos x="205" y="221"/>
                  </a:cxn>
                  <a:cxn ang="0">
                    <a:pos x="190" y="218"/>
                  </a:cxn>
                  <a:cxn ang="0">
                    <a:pos x="170" y="144"/>
                  </a:cxn>
                  <a:cxn ang="0">
                    <a:pos x="112" y="124"/>
                  </a:cxn>
                  <a:cxn ang="0">
                    <a:pos x="88" y="109"/>
                  </a:cxn>
                  <a:cxn ang="0">
                    <a:pos x="67" y="110"/>
                  </a:cxn>
                  <a:cxn ang="0">
                    <a:pos x="49" y="122"/>
                  </a:cxn>
                  <a:cxn ang="0">
                    <a:pos x="11" y="157"/>
                  </a:cxn>
                  <a:cxn ang="0">
                    <a:pos x="0" y="187"/>
                  </a:cxn>
                  <a:cxn ang="0">
                    <a:pos x="19" y="232"/>
                  </a:cxn>
                  <a:cxn ang="0">
                    <a:pos x="26" y="269"/>
                  </a:cxn>
                  <a:cxn ang="0">
                    <a:pos x="15" y="316"/>
                  </a:cxn>
                  <a:cxn ang="0">
                    <a:pos x="22" y="353"/>
                  </a:cxn>
                  <a:cxn ang="0">
                    <a:pos x="40" y="353"/>
                  </a:cxn>
                  <a:cxn ang="0">
                    <a:pos x="63" y="335"/>
                  </a:cxn>
                  <a:cxn ang="0">
                    <a:pos x="78" y="343"/>
                  </a:cxn>
                  <a:cxn ang="0">
                    <a:pos x="93" y="355"/>
                  </a:cxn>
                  <a:cxn ang="0">
                    <a:pos x="151" y="356"/>
                  </a:cxn>
                  <a:cxn ang="0">
                    <a:pos x="172" y="370"/>
                  </a:cxn>
                  <a:cxn ang="0">
                    <a:pos x="192" y="375"/>
                  </a:cxn>
                  <a:cxn ang="0">
                    <a:pos x="214" y="364"/>
                  </a:cxn>
                  <a:cxn ang="0">
                    <a:pos x="240" y="375"/>
                  </a:cxn>
                  <a:cxn ang="0">
                    <a:pos x="252" y="417"/>
                  </a:cxn>
                  <a:cxn ang="0">
                    <a:pos x="273" y="434"/>
                  </a:cxn>
                  <a:cxn ang="0">
                    <a:pos x="284" y="430"/>
                  </a:cxn>
                  <a:cxn ang="0">
                    <a:pos x="298" y="436"/>
                  </a:cxn>
                  <a:cxn ang="0">
                    <a:pos x="315" y="480"/>
                  </a:cxn>
                  <a:cxn ang="0">
                    <a:pos x="329" y="529"/>
                  </a:cxn>
                  <a:cxn ang="0">
                    <a:pos x="352" y="555"/>
                  </a:cxn>
                  <a:cxn ang="0">
                    <a:pos x="412" y="566"/>
                  </a:cxn>
                  <a:cxn ang="0">
                    <a:pos x="462" y="542"/>
                  </a:cxn>
                  <a:cxn ang="0">
                    <a:pos x="472" y="515"/>
                  </a:cxn>
                  <a:cxn ang="0">
                    <a:pos x="474" y="474"/>
                  </a:cxn>
                  <a:cxn ang="0">
                    <a:pos x="546" y="422"/>
                  </a:cxn>
                  <a:cxn ang="0">
                    <a:pos x="625" y="382"/>
                  </a:cxn>
                </a:cxnLst>
                <a:rect l="0" t="0" r="r" b="b"/>
                <a:pathLst>
                  <a:path w="625" h="566">
                    <a:moveTo>
                      <a:pt x="625" y="382"/>
                    </a:moveTo>
                    <a:lnTo>
                      <a:pt x="625" y="382"/>
                    </a:lnTo>
                    <a:lnTo>
                      <a:pt x="611" y="370"/>
                    </a:lnTo>
                    <a:lnTo>
                      <a:pt x="599" y="355"/>
                    </a:lnTo>
                    <a:lnTo>
                      <a:pt x="573" y="324"/>
                    </a:lnTo>
                    <a:lnTo>
                      <a:pt x="561" y="308"/>
                    </a:lnTo>
                    <a:lnTo>
                      <a:pt x="547" y="293"/>
                    </a:lnTo>
                    <a:lnTo>
                      <a:pt x="533" y="279"/>
                    </a:lnTo>
                    <a:lnTo>
                      <a:pt x="526" y="274"/>
                    </a:lnTo>
                    <a:lnTo>
                      <a:pt x="519" y="268"/>
                    </a:lnTo>
                    <a:lnTo>
                      <a:pt x="519" y="268"/>
                    </a:lnTo>
                    <a:lnTo>
                      <a:pt x="517" y="280"/>
                    </a:lnTo>
                    <a:lnTo>
                      <a:pt x="515" y="294"/>
                    </a:lnTo>
                    <a:lnTo>
                      <a:pt x="512" y="305"/>
                    </a:lnTo>
                    <a:lnTo>
                      <a:pt x="510" y="307"/>
                    </a:lnTo>
                    <a:lnTo>
                      <a:pt x="508" y="308"/>
                    </a:lnTo>
                    <a:lnTo>
                      <a:pt x="508" y="308"/>
                    </a:lnTo>
                    <a:lnTo>
                      <a:pt x="498" y="308"/>
                    </a:lnTo>
                    <a:lnTo>
                      <a:pt x="487" y="307"/>
                    </a:lnTo>
                    <a:lnTo>
                      <a:pt x="475" y="305"/>
                    </a:lnTo>
                    <a:lnTo>
                      <a:pt x="464" y="302"/>
                    </a:lnTo>
                    <a:lnTo>
                      <a:pt x="451" y="298"/>
                    </a:lnTo>
                    <a:lnTo>
                      <a:pt x="440" y="293"/>
                    </a:lnTo>
                    <a:lnTo>
                      <a:pt x="428" y="289"/>
                    </a:lnTo>
                    <a:lnTo>
                      <a:pt x="418" y="282"/>
                    </a:lnTo>
                    <a:lnTo>
                      <a:pt x="418" y="282"/>
                    </a:lnTo>
                    <a:lnTo>
                      <a:pt x="413" y="286"/>
                    </a:lnTo>
                    <a:lnTo>
                      <a:pt x="409" y="291"/>
                    </a:lnTo>
                    <a:lnTo>
                      <a:pt x="409" y="291"/>
                    </a:lnTo>
                    <a:lnTo>
                      <a:pt x="401" y="293"/>
                    </a:lnTo>
                    <a:lnTo>
                      <a:pt x="393" y="295"/>
                    </a:lnTo>
                    <a:lnTo>
                      <a:pt x="380" y="297"/>
                    </a:lnTo>
                    <a:lnTo>
                      <a:pt x="374" y="298"/>
                    </a:lnTo>
                    <a:lnTo>
                      <a:pt x="370" y="301"/>
                    </a:lnTo>
                    <a:lnTo>
                      <a:pt x="366" y="307"/>
                    </a:lnTo>
                    <a:lnTo>
                      <a:pt x="365" y="316"/>
                    </a:lnTo>
                    <a:lnTo>
                      <a:pt x="342" y="316"/>
                    </a:lnTo>
                    <a:lnTo>
                      <a:pt x="342" y="316"/>
                    </a:lnTo>
                    <a:lnTo>
                      <a:pt x="337" y="314"/>
                    </a:lnTo>
                    <a:lnTo>
                      <a:pt x="328" y="308"/>
                    </a:lnTo>
                    <a:lnTo>
                      <a:pt x="299" y="293"/>
                    </a:lnTo>
                    <a:lnTo>
                      <a:pt x="271" y="278"/>
                    </a:lnTo>
                    <a:lnTo>
                      <a:pt x="261" y="272"/>
                    </a:lnTo>
                    <a:lnTo>
                      <a:pt x="259" y="270"/>
                    </a:lnTo>
                    <a:lnTo>
                      <a:pt x="258" y="268"/>
                    </a:lnTo>
                    <a:lnTo>
                      <a:pt x="258" y="268"/>
                    </a:lnTo>
                    <a:lnTo>
                      <a:pt x="259" y="257"/>
                    </a:lnTo>
                    <a:lnTo>
                      <a:pt x="260" y="247"/>
                    </a:lnTo>
                    <a:lnTo>
                      <a:pt x="263" y="238"/>
                    </a:lnTo>
                    <a:lnTo>
                      <a:pt x="266" y="229"/>
                    </a:lnTo>
                    <a:lnTo>
                      <a:pt x="274" y="213"/>
                    </a:lnTo>
                    <a:lnTo>
                      <a:pt x="284" y="196"/>
                    </a:lnTo>
                    <a:lnTo>
                      <a:pt x="306" y="165"/>
                    </a:lnTo>
                    <a:lnTo>
                      <a:pt x="315" y="149"/>
                    </a:lnTo>
                    <a:lnTo>
                      <a:pt x="320" y="141"/>
                    </a:lnTo>
                    <a:lnTo>
                      <a:pt x="324" y="132"/>
                    </a:lnTo>
                    <a:lnTo>
                      <a:pt x="324" y="132"/>
                    </a:lnTo>
                    <a:lnTo>
                      <a:pt x="326" y="125"/>
                    </a:lnTo>
                    <a:lnTo>
                      <a:pt x="327" y="117"/>
                    </a:lnTo>
                    <a:lnTo>
                      <a:pt x="327" y="101"/>
                    </a:lnTo>
                    <a:lnTo>
                      <a:pt x="327" y="93"/>
                    </a:lnTo>
                    <a:lnTo>
                      <a:pt x="327" y="84"/>
                    </a:lnTo>
                    <a:lnTo>
                      <a:pt x="328" y="76"/>
                    </a:lnTo>
                    <a:lnTo>
                      <a:pt x="332" y="68"/>
                    </a:lnTo>
                    <a:lnTo>
                      <a:pt x="332" y="68"/>
                    </a:lnTo>
                    <a:lnTo>
                      <a:pt x="328" y="55"/>
                    </a:lnTo>
                    <a:lnTo>
                      <a:pt x="326" y="41"/>
                    </a:lnTo>
                    <a:lnTo>
                      <a:pt x="325" y="28"/>
                    </a:lnTo>
                    <a:lnTo>
                      <a:pt x="324" y="15"/>
                    </a:lnTo>
                    <a:lnTo>
                      <a:pt x="320" y="15"/>
                    </a:lnTo>
                    <a:lnTo>
                      <a:pt x="320" y="15"/>
                    </a:lnTo>
                    <a:lnTo>
                      <a:pt x="289" y="13"/>
                    </a:lnTo>
                    <a:lnTo>
                      <a:pt x="259" y="11"/>
                    </a:lnTo>
                    <a:lnTo>
                      <a:pt x="231" y="7"/>
                    </a:lnTo>
                    <a:lnTo>
                      <a:pt x="219" y="4"/>
                    </a:lnTo>
                    <a:lnTo>
                      <a:pt x="206" y="0"/>
                    </a:lnTo>
                    <a:lnTo>
                      <a:pt x="206" y="0"/>
                    </a:lnTo>
                    <a:lnTo>
                      <a:pt x="198" y="25"/>
                    </a:lnTo>
                    <a:lnTo>
                      <a:pt x="189" y="49"/>
                    </a:lnTo>
                    <a:lnTo>
                      <a:pt x="185" y="62"/>
                    </a:lnTo>
                    <a:lnTo>
                      <a:pt x="183" y="73"/>
                    </a:lnTo>
                    <a:lnTo>
                      <a:pt x="181" y="85"/>
                    </a:lnTo>
                    <a:lnTo>
                      <a:pt x="181" y="96"/>
                    </a:lnTo>
                    <a:lnTo>
                      <a:pt x="181" y="96"/>
                    </a:lnTo>
                    <a:lnTo>
                      <a:pt x="180" y="104"/>
                    </a:lnTo>
                    <a:lnTo>
                      <a:pt x="180" y="112"/>
                    </a:lnTo>
                    <a:lnTo>
                      <a:pt x="182" y="119"/>
                    </a:lnTo>
                    <a:lnTo>
                      <a:pt x="184" y="126"/>
                    </a:lnTo>
                    <a:lnTo>
                      <a:pt x="189" y="132"/>
                    </a:lnTo>
                    <a:lnTo>
                      <a:pt x="194" y="139"/>
                    </a:lnTo>
                    <a:lnTo>
                      <a:pt x="203" y="150"/>
                    </a:lnTo>
                    <a:lnTo>
                      <a:pt x="211" y="163"/>
                    </a:lnTo>
                    <a:lnTo>
                      <a:pt x="214" y="170"/>
                    </a:lnTo>
                    <a:lnTo>
                      <a:pt x="217" y="177"/>
                    </a:lnTo>
                    <a:lnTo>
                      <a:pt x="218" y="185"/>
                    </a:lnTo>
                    <a:lnTo>
                      <a:pt x="217" y="193"/>
                    </a:lnTo>
                    <a:lnTo>
                      <a:pt x="214" y="203"/>
                    </a:lnTo>
                    <a:lnTo>
                      <a:pt x="210" y="214"/>
                    </a:lnTo>
                    <a:lnTo>
                      <a:pt x="210" y="214"/>
                    </a:lnTo>
                    <a:lnTo>
                      <a:pt x="205" y="221"/>
                    </a:lnTo>
                    <a:lnTo>
                      <a:pt x="202" y="225"/>
                    </a:lnTo>
                    <a:lnTo>
                      <a:pt x="198" y="226"/>
                    </a:lnTo>
                    <a:lnTo>
                      <a:pt x="195" y="225"/>
                    </a:lnTo>
                    <a:lnTo>
                      <a:pt x="192" y="223"/>
                    </a:lnTo>
                    <a:lnTo>
                      <a:pt x="190" y="218"/>
                    </a:lnTo>
                    <a:lnTo>
                      <a:pt x="187" y="205"/>
                    </a:lnTo>
                    <a:lnTo>
                      <a:pt x="179" y="170"/>
                    </a:lnTo>
                    <a:lnTo>
                      <a:pt x="175" y="155"/>
                    </a:lnTo>
                    <a:lnTo>
                      <a:pt x="173" y="148"/>
                    </a:lnTo>
                    <a:lnTo>
                      <a:pt x="170" y="144"/>
                    </a:lnTo>
                    <a:lnTo>
                      <a:pt x="170" y="144"/>
                    </a:lnTo>
                    <a:lnTo>
                      <a:pt x="147" y="134"/>
                    </a:lnTo>
                    <a:lnTo>
                      <a:pt x="130" y="130"/>
                    </a:lnTo>
                    <a:lnTo>
                      <a:pt x="116" y="126"/>
                    </a:lnTo>
                    <a:lnTo>
                      <a:pt x="112" y="124"/>
                    </a:lnTo>
                    <a:lnTo>
                      <a:pt x="107" y="122"/>
                    </a:lnTo>
                    <a:lnTo>
                      <a:pt x="107" y="122"/>
                    </a:lnTo>
                    <a:lnTo>
                      <a:pt x="100" y="116"/>
                    </a:lnTo>
                    <a:lnTo>
                      <a:pt x="93" y="111"/>
                    </a:lnTo>
                    <a:lnTo>
                      <a:pt x="88" y="109"/>
                    </a:lnTo>
                    <a:lnTo>
                      <a:pt x="83" y="107"/>
                    </a:lnTo>
                    <a:lnTo>
                      <a:pt x="78" y="107"/>
                    </a:lnTo>
                    <a:lnTo>
                      <a:pt x="74" y="107"/>
                    </a:lnTo>
                    <a:lnTo>
                      <a:pt x="70" y="109"/>
                    </a:lnTo>
                    <a:lnTo>
                      <a:pt x="67" y="110"/>
                    </a:lnTo>
                    <a:lnTo>
                      <a:pt x="61" y="115"/>
                    </a:lnTo>
                    <a:lnTo>
                      <a:pt x="57" y="119"/>
                    </a:lnTo>
                    <a:lnTo>
                      <a:pt x="52" y="122"/>
                    </a:lnTo>
                    <a:lnTo>
                      <a:pt x="51" y="123"/>
                    </a:lnTo>
                    <a:lnTo>
                      <a:pt x="49" y="122"/>
                    </a:lnTo>
                    <a:lnTo>
                      <a:pt x="49" y="155"/>
                    </a:lnTo>
                    <a:lnTo>
                      <a:pt x="49" y="155"/>
                    </a:lnTo>
                    <a:lnTo>
                      <a:pt x="26" y="155"/>
                    </a:lnTo>
                    <a:lnTo>
                      <a:pt x="17" y="155"/>
                    </a:lnTo>
                    <a:lnTo>
                      <a:pt x="11" y="157"/>
                    </a:lnTo>
                    <a:lnTo>
                      <a:pt x="6" y="161"/>
                    </a:lnTo>
                    <a:lnTo>
                      <a:pt x="2" y="167"/>
                    </a:lnTo>
                    <a:lnTo>
                      <a:pt x="1" y="176"/>
                    </a:lnTo>
                    <a:lnTo>
                      <a:pt x="0" y="187"/>
                    </a:lnTo>
                    <a:lnTo>
                      <a:pt x="0" y="187"/>
                    </a:lnTo>
                    <a:lnTo>
                      <a:pt x="1" y="201"/>
                    </a:lnTo>
                    <a:lnTo>
                      <a:pt x="5" y="211"/>
                    </a:lnTo>
                    <a:lnTo>
                      <a:pt x="9" y="218"/>
                    </a:lnTo>
                    <a:lnTo>
                      <a:pt x="14" y="225"/>
                    </a:lnTo>
                    <a:lnTo>
                      <a:pt x="19" y="232"/>
                    </a:lnTo>
                    <a:lnTo>
                      <a:pt x="22" y="239"/>
                    </a:lnTo>
                    <a:lnTo>
                      <a:pt x="26" y="249"/>
                    </a:lnTo>
                    <a:lnTo>
                      <a:pt x="27" y="261"/>
                    </a:lnTo>
                    <a:lnTo>
                      <a:pt x="27" y="261"/>
                    </a:lnTo>
                    <a:lnTo>
                      <a:pt x="26" y="269"/>
                    </a:lnTo>
                    <a:lnTo>
                      <a:pt x="24" y="276"/>
                    </a:lnTo>
                    <a:lnTo>
                      <a:pt x="21" y="289"/>
                    </a:lnTo>
                    <a:lnTo>
                      <a:pt x="17" y="301"/>
                    </a:lnTo>
                    <a:lnTo>
                      <a:pt x="16" y="308"/>
                    </a:lnTo>
                    <a:lnTo>
                      <a:pt x="15" y="316"/>
                    </a:lnTo>
                    <a:lnTo>
                      <a:pt x="15" y="316"/>
                    </a:lnTo>
                    <a:lnTo>
                      <a:pt x="15" y="330"/>
                    </a:lnTo>
                    <a:lnTo>
                      <a:pt x="17" y="343"/>
                    </a:lnTo>
                    <a:lnTo>
                      <a:pt x="19" y="348"/>
                    </a:lnTo>
                    <a:lnTo>
                      <a:pt x="22" y="353"/>
                    </a:lnTo>
                    <a:lnTo>
                      <a:pt x="26" y="355"/>
                    </a:lnTo>
                    <a:lnTo>
                      <a:pt x="30" y="356"/>
                    </a:lnTo>
                    <a:lnTo>
                      <a:pt x="30" y="356"/>
                    </a:lnTo>
                    <a:lnTo>
                      <a:pt x="35" y="355"/>
                    </a:lnTo>
                    <a:lnTo>
                      <a:pt x="40" y="353"/>
                    </a:lnTo>
                    <a:lnTo>
                      <a:pt x="44" y="350"/>
                    </a:lnTo>
                    <a:lnTo>
                      <a:pt x="49" y="345"/>
                    </a:lnTo>
                    <a:lnTo>
                      <a:pt x="55" y="338"/>
                    </a:lnTo>
                    <a:lnTo>
                      <a:pt x="59" y="336"/>
                    </a:lnTo>
                    <a:lnTo>
                      <a:pt x="63" y="335"/>
                    </a:lnTo>
                    <a:lnTo>
                      <a:pt x="63" y="335"/>
                    </a:lnTo>
                    <a:lnTo>
                      <a:pt x="69" y="336"/>
                    </a:lnTo>
                    <a:lnTo>
                      <a:pt x="74" y="337"/>
                    </a:lnTo>
                    <a:lnTo>
                      <a:pt x="76" y="339"/>
                    </a:lnTo>
                    <a:lnTo>
                      <a:pt x="78" y="343"/>
                    </a:lnTo>
                    <a:lnTo>
                      <a:pt x="81" y="348"/>
                    </a:lnTo>
                    <a:lnTo>
                      <a:pt x="83" y="351"/>
                    </a:lnTo>
                    <a:lnTo>
                      <a:pt x="85" y="353"/>
                    </a:lnTo>
                    <a:lnTo>
                      <a:pt x="85" y="353"/>
                    </a:lnTo>
                    <a:lnTo>
                      <a:pt x="93" y="355"/>
                    </a:lnTo>
                    <a:lnTo>
                      <a:pt x="101" y="355"/>
                    </a:lnTo>
                    <a:lnTo>
                      <a:pt x="119" y="355"/>
                    </a:lnTo>
                    <a:lnTo>
                      <a:pt x="135" y="354"/>
                    </a:lnTo>
                    <a:lnTo>
                      <a:pt x="143" y="354"/>
                    </a:lnTo>
                    <a:lnTo>
                      <a:pt x="151" y="356"/>
                    </a:lnTo>
                    <a:lnTo>
                      <a:pt x="151" y="356"/>
                    </a:lnTo>
                    <a:lnTo>
                      <a:pt x="156" y="359"/>
                    </a:lnTo>
                    <a:lnTo>
                      <a:pt x="159" y="361"/>
                    </a:lnTo>
                    <a:lnTo>
                      <a:pt x="167" y="367"/>
                    </a:lnTo>
                    <a:lnTo>
                      <a:pt x="172" y="370"/>
                    </a:lnTo>
                    <a:lnTo>
                      <a:pt x="176" y="373"/>
                    </a:lnTo>
                    <a:lnTo>
                      <a:pt x="182" y="375"/>
                    </a:lnTo>
                    <a:lnTo>
                      <a:pt x="188" y="375"/>
                    </a:lnTo>
                    <a:lnTo>
                      <a:pt x="188" y="375"/>
                    </a:lnTo>
                    <a:lnTo>
                      <a:pt x="192" y="375"/>
                    </a:lnTo>
                    <a:lnTo>
                      <a:pt x="196" y="374"/>
                    </a:lnTo>
                    <a:lnTo>
                      <a:pt x="203" y="369"/>
                    </a:lnTo>
                    <a:lnTo>
                      <a:pt x="208" y="366"/>
                    </a:lnTo>
                    <a:lnTo>
                      <a:pt x="211" y="364"/>
                    </a:lnTo>
                    <a:lnTo>
                      <a:pt x="214" y="364"/>
                    </a:lnTo>
                    <a:lnTo>
                      <a:pt x="214" y="364"/>
                    </a:lnTo>
                    <a:lnTo>
                      <a:pt x="222" y="364"/>
                    </a:lnTo>
                    <a:lnTo>
                      <a:pt x="229" y="367"/>
                    </a:lnTo>
                    <a:lnTo>
                      <a:pt x="235" y="370"/>
                    </a:lnTo>
                    <a:lnTo>
                      <a:pt x="240" y="375"/>
                    </a:lnTo>
                    <a:lnTo>
                      <a:pt x="242" y="381"/>
                    </a:lnTo>
                    <a:lnTo>
                      <a:pt x="244" y="386"/>
                    </a:lnTo>
                    <a:lnTo>
                      <a:pt x="248" y="399"/>
                    </a:lnTo>
                    <a:lnTo>
                      <a:pt x="250" y="412"/>
                    </a:lnTo>
                    <a:lnTo>
                      <a:pt x="252" y="417"/>
                    </a:lnTo>
                    <a:lnTo>
                      <a:pt x="253" y="423"/>
                    </a:lnTo>
                    <a:lnTo>
                      <a:pt x="257" y="428"/>
                    </a:lnTo>
                    <a:lnTo>
                      <a:pt x="261" y="431"/>
                    </a:lnTo>
                    <a:lnTo>
                      <a:pt x="266" y="434"/>
                    </a:lnTo>
                    <a:lnTo>
                      <a:pt x="273" y="434"/>
                    </a:lnTo>
                    <a:lnTo>
                      <a:pt x="273" y="434"/>
                    </a:lnTo>
                    <a:lnTo>
                      <a:pt x="278" y="434"/>
                    </a:lnTo>
                    <a:lnTo>
                      <a:pt x="281" y="432"/>
                    </a:lnTo>
                    <a:lnTo>
                      <a:pt x="283" y="431"/>
                    </a:lnTo>
                    <a:lnTo>
                      <a:pt x="284" y="430"/>
                    </a:lnTo>
                    <a:lnTo>
                      <a:pt x="286" y="431"/>
                    </a:lnTo>
                    <a:lnTo>
                      <a:pt x="291" y="434"/>
                    </a:lnTo>
                    <a:lnTo>
                      <a:pt x="291" y="434"/>
                    </a:lnTo>
                    <a:lnTo>
                      <a:pt x="295" y="435"/>
                    </a:lnTo>
                    <a:lnTo>
                      <a:pt x="298" y="436"/>
                    </a:lnTo>
                    <a:lnTo>
                      <a:pt x="302" y="438"/>
                    </a:lnTo>
                    <a:lnTo>
                      <a:pt x="304" y="440"/>
                    </a:lnTo>
                    <a:lnTo>
                      <a:pt x="307" y="448"/>
                    </a:lnTo>
                    <a:lnTo>
                      <a:pt x="311" y="458"/>
                    </a:lnTo>
                    <a:lnTo>
                      <a:pt x="315" y="480"/>
                    </a:lnTo>
                    <a:lnTo>
                      <a:pt x="320" y="504"/>
                    </a:lnTo>
                    <a:lnTo>
                      <a:pt x="320" y="504"/>
                    </a:lnTo>
                    <a:lnTo>
                      <a:pt x="322" y="513"/>
                    </a:lnTo>
                    <a:lnTo>
                      <a:pt x="326" y="522"/>
                    </a:lnTo>
                    <a:lnTo>
                      <a:pt x="329" y="529"/>
                    </a:lnTo>
                    <a:lnTo>
                      <a:pt x="333" y="536"/>
                    </a:lnTo>
                    <a:lnTo>
                      <a:pt x="337" y="543"/>
                    </a:lnTo>
                    <a:lnTo>
                      <a:pt x="342" y="547"/>
                    </a:lnTo>
                    <a:lnTo>
                      <a:pt x="348" y="552"/>
                    </a:lnTo>
                    <a:lnTo>
                      <a:pt x="352" y="555"/>
                    </a:lnTo>
                    <a:lnTo>
                      <a:pt x="359" y="559"/>
                    </a:lnTo>
                    <a:lnTo>
                      <a:pt x="365" y="561"/>
                    </a:lnTo>
                    <a:lnTo>
                      <a:pt x="380" y="565"/>
                    </a:lnTo>
                    <a:lnTo>
                      <a:pt x="395" y="566"/>
                    </a:lnTo>
                    <a:lnTo>
                      <a:pt x="412" y="566"/>
                    </a:lnTo>
                    <a:lnTo>
                      <a:pt x="412" y="566"/>
                    </a:lnTo>
                    <a:lnTo>
                      <a:pt x="417" y="565"/>
                    </a:lnTo>
                    <a:lnTo>
                      <a:pt x="424" y="562"/>
                    </a:lnTo>
                    <a:lnTo>
                      <a:pt x="443" y="552"/>
                    </a:lnTo>
                    <a:lnTo>
                      <a:pt x="462" y="542"/>
                    </a:lnTo>
                    <a:lnTo>
                      <a:pt x="467" y="536"/>
                    </a:lnTo>
                    <a:lnTo>
                      <a:pt x="471" y="532"/>
                    </a:lnTo>
                    <a:lnTo>
                      <a:pt x="471" y="532"/>
                    </a:lnTo>
                    <a:lnTo>
                      <a:pt x="472" y="523"/>
                    </a:lnTo>
                    <a:lnTo>
                      <a:pt x="472" y="515"/>
                    </a:lnTo>
                    <a:lnTo>
                      <a:pt x="469" y="501"/>
                    </a:lnTo>
                    <a:lnTo>
                      <a:pt x="467" y="494"/>
                    </a:lnTo>
                    <a:lnTo>
                      <a:pt x="467" y="488"/>
                    </a:lnTo>
                    <a:lnTo>
                      <a:pt x="470" y="481"/>
                    </a:lnTo>
                    <a:lnTo>
                      <a:pt x="474" y="474"/>
                    </a:lnTo>
                    <a:lnTo>
                      <a:pt x="474" y="474"/>
                    </a:lnTo>
                    <a:lnTo>
                      <a:pt x="489" y="461"/>
                    </a:lnTo>
                    <a:lnTo>
                      <a:pt x="505" y="448"/>
                    </a:lnTo>
                    <a:lnTo>
                      <a:pt x="525" y="435"/>
                    </a:lnTo>
                    <a:lnTo>
                      <a:pt x="546" y="422"/>
                    </a:lnTo>
                    <a:lnTo>
                      <a:pt x="566" y="410"/>
                    </a:lnTo>
                    <a:lnTo>
                      <a:pt x="587" y="399"/>
                    </a:lnTo>
                    <a:lnTo>
                      <a:pt x="608" y="390"/>
                    </a:lnTo>
                    <a:lnTo>
                      <a:pt x="625" y="382"/>
                    </a:lnTo>
                    <a:lnTo>
                      <a:pt x="625" y="382"/>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sp>
            <p:nvSpPr>
              <p:cNvPr id="352" name="Freeform 140"/>
              <p:cNvSpPr>
                <a:spLocks noChangeAspect="1"/>
              </p:cNvSpPr>
              <p:nvPr/>
            </p:nvSpPr>
            <p:spPr bwMode="auto">
              <a:xfrm>
                <a:off x="1376730" y="2589000"/>
                <a:ext cx="603927" cy="669351"/>
              </a:xfrm>
              <a:custGeom>
                <a:avLst/>
                <a:gdLst/>
                <a:ahLst/>
                <a:cxnLst>
                  <a:cxn ang="0">
                    <a:pos x="697" y="156"/>
                  </a:cxn>
                  <a:cxn ang="0">
                    <a:pos x="691" y="106"/>
                  </a:cxn>
                  <a:cxn ang="0">
                    <a:pos x="643" y="35"/>
                  </a:cxn>
                  <a:cxn ang="0">
                    <a:pos x="561" y="64"/>
                  </a:cxn>
                  <a:cxn ang="0">
                    <a:pos x="507" y="110"/>
                  </a:cxn>
                  <a:cxn ang="0">
                    <a:pos x="468" y="114"/>
                  </a:cxn>
                  <a:cxn ang="0">
                    <a:pos x="434" y="159"/>
                  </a:cxn>
                  <a:cxn ang="0">
                    <a:pos x="414" y="217"/>
                  </a:cxn>
                  <a:cxn ang="0">
                    <a:pos x="375" y="239"/>
                  </a:cxn>
                  <a:cxn ang="0">
                    <a:pos x="360" y="310"/>
                  </a:cxn>
                  <a:cxn ang="0">
                    <a:pos x="294" y="324"/>
                  </a:cxn>
                  <a:cxn ang="0">
                    <a:pos x="294" y="438"/>
                  </a:cxn>
                  <a:cxn ang="0">
                    <a:pos x="271" y="492"/>
                  </a:cxn>
                  <a:cxn ang="0">
                    <a:pos x="136" y="514"/>
                  </a:cxn>
                  <a:cxn ang="0">
                    <a:pos x="4" y="562"/>
                  </a:cxn>
                  <a:cxn ang="0">
                    <a:pos x="50" y="565"/>
                  </a:cxn>
                  <a:cxn ang="0">
                    <a:pos x="70" y="580"/>
                  </a:cxn>
                  <a:cxn ang="0">
                    <a:pos x="89" y="570"/>
                  </a:cxn>
                  <a:cxn ang="0">
                    <a:pos x="122" y="588"/>
                  </a:cxn>
                  <a:cxn ang="0">
                    <a:pos x="110" y="636"/>
                  </a:cxn>
                  <a:cxn ang="0">
                    <a:pos x="122" y="709"/>
                  </a:cxn>
                  <a:cxn ang="0">
                    <a:pos x="104" y="773"/>
                  </a:cxn>
                  <a:cxn ang="0">
                    <a:pos x="140" y="809"/>
                  </a:cxn>
                  <a:cxn ang="0">
                    <a:pos x="188" y="812"/>
                  </a:cxn>
                  <a:cxn ang="0">
                    <a:pos x="231" y="808"/>
                  </a:cxn>
                  <a:cxn ang="0">
                    <a:pos x="292" y="865"/>
                  </a:cxn>
                  <a:cxn ang="0">
                    <a:pos x="286" y="768"/>
                  </a:cxn>
                  <a:cxn ang="0">
                    <a:pos x="298" y="751"/>
                  </a:cxn>
                  <a:cxn ang="0">
                    <a:pos x="324" y="692"/>
                  </a:cxn>
                  <a:cxn ang="0">
                    <a:pos x="340" y="686"/>
                  </a:cxn>
                  <a:cxn ang="0">
                    <a:pos x="337" y="721"/>
                  </a:cxn>
                  <a:cxn ang="0">
                    <a:pos x="368" y="687"/>
                  </a:cxn>
                  <a:cxn ang="0">
                    <a:pos x="355" y="749"/>
                  </a:cxn>
                  <a:cxn ang="0">
                    <a:pos x="377" y="759"/>
                  </a:cxn>
                  <a:cxn ang="0">
                    <a:pos x="403" y="751"/>
                  </a:cxn>
                  <a:cxn ang="0">
                    <a:pos x="403" y="705"/>
                  </a:cxn>
                  <a:cxn ang="0">
                    <a:pos x="400" y="665"/>
                  </a:cxn>
                  <a:cxn ang="0">
                    <a:pos x="424" y="661"/>
                  </a:cxn>
                  <a:cxn ang="0">
                    <a:pos x="445" y="717"/>
                  </a:cxn>
                  <a:cxn ang="0">
                    <a:pos x="417" y="763"/>
                  </a:cxn>
                  <a:cxn ang="0">
                    <a:pos x="378" y="821"/>
                  </a:cxn>
                  <a:cxn ang="0">
                    <a:pos x="361" y="843"/>
                  </a:cxn>
                  <a:cxn ang="0">
                    <a:pos x="344" y="901"/>
                  </a:cxn>
                  <a:cxn ang="0">
                    <a:pos x="413" y="917"/>
                  </a:cxn>
                  <a:cxn ang="0">
                    <a:pos x="462" y="939"/>
                  </a:cxn>
                  <a:cxn ang="0">
                    <a:pos x="506" y="850"/>
                  </a:cxn>
                  <a:cxn ang="0">
                    <a:pos x="532" y="815"/>
                  </a:cxn>
                  <a:cxn ang="0">
                    <a:pos x="514" y="794"/>
                  </a:cxn>
                  <a:cxn ang="0">
                    <a:pos x="517" y="741"/>
                  </a:cxn>
                  <a:cxn ang="0">
                    <a:pos x="554" y="648"/>
                  </a:cxn>
                  <a:cxn ang="0">
                    <a:pos x="592" y="654"/>
                  </a:cxn>
                  <a:cxn ang="0">
                    <a:pos x="626" y="621"/>
                  </a:cxn>
                  <a:cxn ang="0">
                    <a:pos x="628" y="488"/>
                  </a:cxn>
                  <a:cxn ang="0">
                    <a:pos x="698" y="367"/>
                  </a:cxn>
                  <a:cxn ang="0">
                    <a:pos x="758" y="300"/>
                  </a:cxn>
                </a:cxnLst>
                <a:rect l="0" t="0" r="r" b="b"/>
                <a:pathLst>
                  <a:path w="761" h="962">
                    <a:moveTo>
                      <a:pt x="757" y="165"/>
                    </a:moveTo>
                    <a:lnTo>
                      <a:pt x="757" y="165"/>
                    </a:lnTo>
                    <a:lnTo>
                      <a:pt x="733" y="165"/>
                    </a:lnTo>
                    <a:lnTo>
                      <a:pt x="721" y="164"/>
                    </a:lnTo>
                    <a:lnTo>
                      <a:pt x="712" y="163"/>
                    </a:lnTo>
                    <a:lnTo>
                      <a:pt x="703" y="160"/>
                    </a:lnTo>
                    <a:lnTo>
                      <a:pt x="697" y="156"/>
                    </a:lnTo>
                    <a:lnTo>
                      <a:pt x="695" y="153"/>
                    </a:lnTo>
                    <a:lnTo>
                      <a:pt x="692" y="151"/>
                    </a:lnTo>
                    <a:lnTo>
                      <a:pt x="691" y="148"/>
                    </a:lnTo>
                    <a:lnTo>
                      <a:pt x="691" y="143"/>
                    </a:lnTo>
                    <a:lnTo>
                      <a:pt x="691" y="143"/>
                    </a:lnTo>
                    <a:lnTo>
                      <a:pt x="691" y="106"/>
                    </a:lnTo>
                    <a:lnTo>
                      <a:pt x="691" y="106"/>
                    </a:lnTo>
                    <a:lnTo>
                      <a:pt x="690" y="97"/>
                    </a:lnTo>
                    <a:lnTo>
                      <a:pt x="686" y="88"/>
                    </a:lnTo>
                    <a:lnTo>
                      <a:pt x="682" y="79"/>
                    </a:lnTo>
                    <a:lnTo>
                      <a:pt x="676" y="69"/>
                    </a:lnTo>
                    <a:lnTo>
                      <a:pt x="669" y="60"/>
                    </a:lnTo>
                    <a:lnTo>
                      <a:pt x="661" y="52"/>
                    </a:lnTo>
                    <a:lnTo>
                      <a:pt x="643" y="35"/>
                    </a:lnTo>
                    <a:lnTo>
                      <a:pt x="626" y="21"/>
                    </a:lnTo>
                    <a:lnTo>
                      <a:pt x="611" y="10"/>
                    </a:lnTo>
                    <a:lnTo>
                      <a:pt x="596" y="0"/>
                    </a:lnTo>
                    <a:lnTo>
                      <a:pt x="596" y="0"/>
                    </a:lnTo>
                    <a:lnTo>
                      <a:pt x="584" y="22"/>
                    </a:lnTo>
                    <a:lnTo>
                      <a:pt x="573" y="44"/>
                    </a:lnTo>
                    <a:lnTo>
                      <a:pt x="561" y="64"/>
                    </a:lnTo>
                    <a:lnTo>
                      <a:pt x="555" y="73"/>
                    </a:lnTo>
                    <a:lnTo>
                      <a:pt x="548" y="81"/>
                    </a:lnTo>
                    <a:lnTo>
                      <a:pt x="542" y="89"/>
                    </a:lnTo>
                    <a:lnTo>
                      <a:pt x="533" y="96"/>
                    </a:lnTo>
                    <a:lnTo>
                      <a:pt x="525" y="102"/>
                    </a:lnTo>
                    <a:lnTo>
                      <a:pt x="516" y="106"/>
                    </a:lnTo>
                    <a:lnTo>
                      <a:pt x="507" y="110"/>
                    </a:lnTo>
                    <a:lnTo>
                      <a:pt x="497" y="111"/>
                    </a:lnTo>
                    <a:lnTo>
                      <a:pt x="486" y="112"/>
                    </a:lnTo>
                    <a:lnTo>
                      <a:pt x="474" y="111"/>
                    </a:lnTo>
                    <a:lnTo>
                      <a:pt x="474" y="111"/>
                    </a:lnTo>
                    <a:lnTo>
                      <a:pt x="471" y="111"/>
                    </a:lnTo>
                    <a:lnTo>
                      <a:pt x="469" y="112"/>
                    </a:lnTo>
                    <a:lnTo>
                      <a:pt x="468" y="114"/>
                    </a:lnTo>
                    <a:lnTo>
                      <a:pt x="466" y="117"/>
                    </a:lnTo>
                    <a:lnTo>
                      <a:pt x="459" y="135"/>
                    </a:lnTo>
                    <a:lnTo>
                      <a:pt x="454" y="144"/>
                    </a:lnTo>
                    <a:lnTo>
                      <a:pt x="449" y="149"/>
                    </a:lnTo>
                    <a:lnTo>
                      <a:pt x="446" y="153"/>
                    </a:lnTo>
                    <a:lnTo>
                      <a:pt x="440" y="157"/>
                    </a:lnTo>
                    <a:lnTo>
                      <a:pt x="434" y="159"/>
                    </a:lnTo>
                    <a:lnTo>
                      <a:pt x="428" y="161"/>
                    </a:lnTo>
                    <a:lnTo>
                      <a:pt x="418" y="161"/>
                    </a:lnTo>
                    <a:lnTo>
                      <a:pt x="418" y="161"/>
                    </a:lnTo>
                    <a:lnTo>
                      <a:pt x="420" y="186"/>
                    </a:lnTo>
                    <a:lnTo>
                      <a:pt x="417" y="203"/>
                    </a:lnTo>
                    <a:lnTo>
                      <a:pt x="416" y="211"/>
                    </a:lnTo>
                    <a:lnTo>
                      <a:pt x="414" y="217"/>
                    </a:lnTo>
                    <a:lnTo>
                      <a:pt x="411" y="222"/>
                    </a:lnTo>
                    <a:lnTo>
                      <a:pt x="409" y="227"/>
                    </a:lnTo>
                    <a:lnTo>
                      <a:pt x="406" y="231"/>
                    </a:lnTo>
                    <a:lnTo>
                      <a:pt x="402" y="233"/>
                    </a:lnTo>
                    <a:lnTo>
                      <a:pt x="394" y="236"/>
                    </a:lnTo>
                    <a:lnTo>
                      <a:pt x="385" y="239"/>
                    </a:lnTo>
                    <a:lnTo>
                      <a:pt x="375" y="239"/>
                    </a:lnTo>
                    <a:lnTo>
                      <a:pt x="375" y="239"/>
                    </a:lnTo>
                    <a:lnTo>
                      <a:pt x="374" y="267"/>
                    </a:lnTo>
                    <a:lnTo>
                      <a:pt x="372" y="279"/>
                    </a:lnTo>
                    <a:lnTo>
                      <a:pt x="370" y="289"/>
                    </a:lnTo>
                    <a:lnTo>
                      <a:pt x="367" y="297"/>
                    </a:lnTo>
                    <a:lnTo>
                      <a:pt x="363" y="304"/>
                    </a:lnTo>
                    <a:lnTo>
                      <a:pt x="360" y="310"/>
                    </a:lnTo>
                    <a:lnTo>
                      <a:pt x="355" y="315"/>
                    </a:lnTo>
                    <a:lnTo>
                      <a:pt x="349" y="318"/>
                    </a:lnTo>
                    <a:lnTo>
                      <a:pt x="344" y="320"/>
                    </a:lnTo>
                    <a:lnTo>
                      <a:pt x="337" y="321"/>
                    </a:lnTo>
                    <a:lnTo>
                      <a:pt x="330" y="323"/>
                    </a:lnTo>
                    <a:lnTo>
                      <a:pt x="314" y="324"/>
                    </a:lnTo>
                    <a:lnTo>
                      <a:pt x="294" y="324"/>
                    </a:lnTo>
                    <a:lnTo>
                      <a:pt x="294" y="324"/>
                    </a:lnTo>
                    <a:lnTo>
                      <a:pt x="296" y="348"/>
                    </a:lnTo>
                    <a:lnTo>
                      <a:pt x="298" y="370"/>
                    </a:lnTo>
                    <a:lnTo>
                      <a:pt x="298" y="390"/>
                    </a:lnTo>
                    <a:lnTo>
                      <a:pt x="298" y="408"/>
                    </a:lnTo>
                    <a:lnTo>
                      <a:pt x="296" y="424"/>
                    </a:lnTo>
                    <a:lnTo>
                      <a:pt x="294" y="438"/>
                    </a:lnTo>
                    <a:lnTo>
                      <a:pt x="292" y="450"/>
                    </a:lnTo>
                    <a:lnTo>
                      <a:pt x="288" y="461"/>
                    </a:lnTo>
                    <a:lnTo>
                      <a:pt x="285" y="470"/>
                    </a:lnTo>
                    <a:lnTo>
                      <a:pt x="281" y="478"/>
                    </a:lnTo>
                    <a:lnTo>
                      <a:pt x="278" y="484"/>
                    </a:lnTo>
                    <a:lnTo>
                      <a:pt x="275" y="488"/>
                    </a:lnTo>
                    <a:lnTo>
                      <a:pt x="271" y="492"/>
                    </a:lnTo>
                    <a:lnTo>
                      <a:pt x="268" y="494"/>
                    </a:lnTo>
                    <a:lnTo>
                      <a:pt x="264" y="496"/>
                    </a:lnTo>
                    <a:lnTo>
                      <a:pt x="261" y="496"/>
                    </a:lnTo>
                    <a:lnTo>
                      <a:pt x="261" y="496"/>
                    </a:lnTo>
                    <a:lnTo>
                      <a:pt x="238" y="500"/>
                    </a:lnTo>
                    <a:lnTo>
                      <a:pt x="176" y="509"/>
                    </a:lnTo>
                    <a:lnTo>
                      <a:pt x="136" y="514"/>
                    </a:lnTo>
                    <a:lnTo>
                      <a:pt x="92" y="518"/>
                    </a:lnTo>
                    <a:lnTo>
                      <a:pt x="46" y="520"/>
                    </a:lnTo>
                    <a:lnTo>
                      <a:pt x="0" y="522"/>
                    </a:lnTo>
                    <a:lnTo>
                      <a:pt x="0" y="522"/>
                    </a:lnTo>
                    <a:lnTo>
                      <a:pt x="1" y="535"/>
                    </a:lnTo>
                    <a:lnTo>
                      <a:pt x="2" y="548"/>
                    </a:lnTo>
                    <a:lnTo>
                      <a:pt x="4" y="562"/>
                    </a:lnTo>
                    <a:lnTo>
                      <a:pt x="8" y="575"/>
                    </a:lnTo>
                    <a:lnTo>
                      <a:pt x="8" y="575"/>
                    </a:lnTo>
                    <a:lnTo>
                      <a:pt x="8" y="573"/>
                    </a:lnTo>
                    <a:lnTo>
                      <a:pt x="8" y="573"/>
                    </a:lnTo>
                    <a:lnTo>
                      <a:pt x="27" y="571"/>
                    </a:lnTo>
                    <a:lnTo>
                      <a:pt x="43" y="568"/>
                    </a:lnTo>
                    <a:lnTo>
                      <a:pt x="50" y="565"/>
                    </a:lnTo>
                    <a:lnTo>
                      <a:pt x="56" y="562"/>
                    </a:lnTo>
                    <a:lnTo>
                      <a:pt x="56" y="562"/>
                    </a:lnTo>
                    <a:lnTo>
                      <a:pt x="58" y="569"/>
                    </a:lnTo>
                    <a:lnTo>
                      <a:pt x="62" y="575"/>
                    </a:lnTo>
                    <a:lnTo>
                      <a:pt x="64" y="577"/>
                    </a:lnTo>
                    <a:lnTo>
                      <a:pt x="66" y="579"/>
                    </a:lnTo>
                    <a:lnTo>
                      <a:pt x="70" y="580"/>
                    </a:lnTo>
                    <a:lnTo>
                      <a:pt x="73" y="580"/>
                    </a:lnTo>
                    <a:lnTo>
                      <a:pt x="73" y="580"/>
                    </a:lnTo>
                    <a:lnTo>
                      <a:pt x="77" y="580"/>
                    </a:lnTo>
                    <a:lnTo>
                      <a:pt x="79" y="579"/>
                    </a:lnTo>
                    <a:lnTo>
                      <a:pt x="82" y="576"/>
                    </a:lnTo>
                    <a:lnTo>
                      <a:pt x="87" y="571"/>
                    </a:lnTo>
                    <a:lnTo>
                      <a:pt x="89" y="570"/>
                    </a:lnTo>
                    <a:lnTo>
                      <a:pt x="92" y="570"/>
                    </a:lnTo>
                    <a:lnTo>
                      <a:pt x="92" y="570"/>
                    </a:lnTo>
                    <a:lnTo>
                      <a:pt x="122" y="570"/>
                    </a:lnTo>
                    <a:lnTo>
                      <a:pt x="122" y="570"/>
                    </a:lnTo>
                    <a:lnTo>
                      <a:pt x="119" y="576"/>
                    </a:lnTo>
                    <a:lnTo>
                      <a:pt x="120" y="580"/>
                    </a:lnTo>
                    <a:lnTo>
                      <a:pt x="122" y="588"/>
                    </a:lnTo>
                    <a:lnTo>
                      <a:pt x="122" y="588"/>
                    </a:lnTo>
                    <a:lnTo>
                      <a:pt x="120" y="594"/>
                    </a:lnTo>
                    <a:lnTo>
                      <a:pt x="119" y="601"/>
                    </a:lnTo>
                    <a:lnTo>
                      <a:pt x="116" y="611"/>
                    </a:lnTo>
                    <a:lnTo>
                      <a:pt x="111" y="623"/>
                    </a:lnTo>
                    <a:lnTo>
                      <a:pt x="110" y="629"/>
                    </a:lnTo>
                    <a:lnTo>
                      <a:pt x="110" y="636"/>
                    </a:lnTo>
                    <a:lnTo>
                      <a:pt x="110" y="636"/>
                    </a:lnTo>
                    <a:lnTo>
                      <a:pt x="110" y="645"/>
                    </a:lnTo>
                    <a:lnTo>
                      <a:pt x="111" y="654"/>
                    </a:lnTo>
                    <a:lnTo>
                      <a:pt x="116" y="672"/>
                    </a:lnTo>
                    <a:lnTo>
                      <a:pt x="119" y="691"/>
                    </a:lnTo>
                    <a:lnTo>
                      <a:pt x="120" y="700"/>
                    </a:lnTo>
                    <a:lnTo>
                      <a:pt x="122" y="709"/>
                    </a:lnTo>
                    <a:lnTo>
                      <a:pt x="122" y="709"/>
                    </a:lnTo>
                    <a:lnTo>
                      <a:pt x="120" y="720"/>
                    </a:lnTo>
                    <a:lnTo>
                      <a:pt x="119" y="731"/>
                    </a:lnTo>
                    <a:lnTo>
                      <a:pt x="117" y="741"/>
                    </a:lnTo>
                    <a:lnTo>
                      <a:pt x="113" y="753"/>
                    </a:lnTo>
                    <a:lnTo>
                      <a:pt x="109" y="763"/>
                    </a:lnTo>
                    <a:lnTo>
                      <a:pt x="104" y="773"/>
                    </a:lnTo>
                    <a:lnTo>
                      <a:pt x="100" y="782"/>
                    </a:lnTo>
                    <a:lnTo>
                      <a:pt x="94" y="789"/>
                    </a:lnTo>
                    <a:lnTo>
                      <a:pt x="94" y="789"/>
                    </a:lnTo>
                    <a:lnTo>
                      <a:pt x="104" y="796"/>
                    </a:lnTo>
                    <a:lnTo>
                      <a:pt x="116" y="800"/>
                    </a:lnTo>
                    <a:lnTo>
                      <a:pt x="127" y="805"/>
                    </a:lnTo>
                    <a:lnTo>
                      <a:pt x="140" y="809"/>
                    </a:lnTo>
                    <a:lnTo>
                      <a:pt x="151" y="812"/>
                    </a:lnTo>
                    <a:lnTo>
                      <a:pt x="163" y="814"/>
                    </a:lnTo>
                    <a:lnTo>
                      <a:pt x="174" y="815"/>
                    </a:lnTo>
                    <a:lnTo>
                      <a:pt x="184" y="815"/>
                    </a:lnTo>
                    <a:lnTo>
                      <a:pt x="184" y="815"/>
                    </a:lnTo>
                    <a:lnTo>
                      <a:pt x="186" y="814"/>
                    </a:lnTo>
                    <a:lnTo>
                      <a:pt x="188" y="812"/>
                    </a:lnTo>
                    <a:lnTo>
                      <a:pt x="191" y="801"/>
                    </a:lnTo>
                    <a:lnTo>
                      <a:pt x="193" y="787"/>
                    </a:lnTo>
                    <a:lnTo>
                      <a:pt x="195" y="775"/>
                    </a:lnTo>
                    <a:lnTo>
                      <a:pt x="195" y="775"/>
                    </a:lnTo>
                    <a:lnTo>
                      <a:pt x="208" y="784"/>
                    </a:lnTo>
                    <a:lnTo>
                      <a:pt x="219" y="796"/>
                    </a:lnTo>
                    <a:lnTo>
                      <a:pt x="231" y="808"/>
                    </a:lnTo>
                    <a:lnTo>
                      <a:pt x="242" y="822"/>
                    </a:lnTo>
                    <a:lnTo>
                      <a:pt x="264" y="850"/>
                    </a:lnTo>
                    <a:lnTo>
                      <a:pt x="276" y="863"/>
                    </a:lnTo>
                    <a:lnTo>
                      <a:pt x="286" y="876"/>
                    </a:lnTo>
                    <a:lnTo>
                      <a:pt x="286" y="876"/>
                    </a:lnTo>
                    <a:lnTo>
                      <a:pt x="290" y="870"/>
                    </a:lnTo>
                    <a:lnTo>
                      <a:pt x="292" y="865"/>
                    </a:lnTo>
                    <a:lnTo>
                      <a:pt x="293" y="857"/>
                    </a:lnTo>
                    <a:lnTo>
                      <a:pt x="294" y="848"/>
                    </a:lnTo>
                    <a:lnTo>
                      <a:pt x="294" y="848"/>
                    </a:lnTo>
                    <a:lnTo>
                      <a:pt x="293" y="827"/>
                    </a:lnTo>
                    <a:lnTo>
                      <a:pt x="291" y="808"/>
                    </a:lnTo>
                    <a:lnTo>
                      <a:pt x="287" y="790"/>
                    </a:lnTo>
                    <a:lnTo>
                      <a:pt x="286" y="768"/>
                    </a:lnTo>
                    <a:lnTo>
                      <a:pt x="286" y="768"/>
                    </a:lnTo>
                    <a:lnTo>
                      <a:pt x="287" y="762"/>
                    </a:lnTo>
                    <a:lnTo>
                      <a:pt x="288" y="756"/>
                    </a:lnTo>
                    <a:lnTo>
                      <a:pt x="294" y="746"/>
                    </a:lnTo>
                    <a:lnTo>
                      <a:pt x="294" y="746"/>
                    </a:lnTo>
                    <a:lnTo>
                      <a:pt x="295" y="748"/>
                    </a:lnTo>
                    <a:lnTo>
                      <a:pt x="298" y="751"/>
                    </a:lnTo>
                    <a:lnTo>
                      <a:pt x="302" y="753"/>
                    </a:lnTo>
                    <a:lnTo>
                      <a:pt x="308" y="753"/>
                    </a:lnTo>
                    <a:lnTo>
                      <a:pt x="316" y="753"/>
                    </a:lnTo>
                    <a:lnTo>
                      <a:pt x="316" y="753"/>
                    </a:lnTo>
                    <a:lnTo>
                      <a:pt x="317" y="731"/>
                    </a:lnTo>
                    <a:lnTo>
                      <a:pt x="321" y="705"/>
                    </a:lnTo>
                    <a:lnTo>
                      <a:pt x="324" y="692"/>
                    </a:lnTo>
                    <a:lnTo>
                      <a:pt x="327" y="680"/>
                    </a:lnTo>
                    <a:lnTo>
                      <a:pt x="331" y="670"/>
                    </a:lnTo>
                    <a:lnTo>
                      <a:pt x="334" y="662"/>
                    </a:lnTo>
                    <a:lnTo>
                      <a:pt x="334" y="662"/>
                    </a:lnTo>
                    <a:lnTo>
                      <a:pt x="339" y="676"/>
                    </a:lnTo>
                    <a:lnTo>
                      <a:pt x="340" y="682"/>
                    </a:lnTo>
                    <a:lnTo>
                      <a:pt x="340" y="686"/>
                    </a:lnTo>
                    <a:lnTo>
                      <a:pt x="340" y="690"/>
                    </a:lnTo>
                    <a:lnTo>
                      <a:pt x="338" y="694"/>
                    </a:lnTo>
                    <a:lnTo>
                      <a:pt x="336" y="698"/>
                    </a:lnTo>
                    <a:lnTo>
                      <a:pt x="331" y="702"/>
                    </a:lnTo>
                    <a:lnTo>
                      <a:pt x="331" y="724"/>
                    </a:lnTo>
                    <a:lnTo>
                      <a:pt x="331" y="724"/>
                    </a:lnTo>
                    <a:lnTo>
                      <a:pt x="337" y="721"/>
                    </a:lnTo>
                    <a:lnTo>
                      <a:pt x="341" y="716"/>
                    </a:lnTo>
                    <a:lnTo>
                      <a:pt x="345" y="712"/>
                    </a:lnTo>
                    <a:lnTo>
                      <a:pt x="348" y="706"/>
                    </a:lnTo>
                    <a:lnTo>
                      <a:pt x="350" y="700"/>
                    </a:lnTo>
                    <a:lnTo>
                      <a:pt x="355" y="695"/>
                    </a:lnTo>
                    <a:lnTo>
                      <a:pt x="361" y="691"/>
                    </a:lnTo>
                    <a:lnTo>
                      <a:pt x="368" y="687"/>
                    </a:lnTo>
                    <a:lnTo>
                      <a:pt x="368" y="702"/>
                    </a:lnTo>
                    <a:lnTo>
                      <a:pt x="368" y="702"/>
                    </a:lnTo>
                    <a:lnTo>
                      <a:pt x="359" y="720"/>
                    </a:lnTo>
                    <a:lnTo>
                      <a:pt x="353" y="732"/>
                    </a:lnTo>
                    <a:lnTo>
                      <a:pt x="349" y="746"/>
                    </a:lnTo>
                    <a:lnTo>
                      <a:pt x="349" y="746"/>
                    </a:lnTo>
                    <a:lnTo>
                      <a:pt x="355" y="749"/>
                    </a:lnTo>
                    <a:lnTo>
                      <a:pt x="357" y="751"/>
                    </a:lnTo>
                    <a:lnTo>
                      <a:pt x="363" y="748"/>
                    </a:lnTo>
                    <a:lnTo>
                      <a:pt x="375" y="746"/>
                    </a:lnTo>
                    <a:lnTo>
                      <a:pt x="375" y="746"/>
                    </a:lnTo>
                    <a:lnTo>
                      <a:pt x="375" y="753"/>
                    </a:lnTo>
                    <a:lnTo>
                      <a:pt x="376" y="758"/>
                    </a:lnTo>
                    <a:lnTo>
                      <a:pt x="377" y="759"/>
                    </a:lnTo>
                    <a:lnTo>
                      <a:pt x="379" y="760"/>
                    </a:lnTo>
                    <a:lnTo>
                      <a:pt x="386" y="760"/>
                    </a:lnTo>
                    <a:lnTo>
                      <a:pt x="386" y="760"/>
                    </a:lnTo>
                    <a:lnTo>
                      <a:pt x="392" y="760"/>
                    </a:lnTo>
                    <a:lnTo>
                      <a:pt x="397" y="758"/>
                    </a:lnTo>
                    <a:lnTo>
                      <a:pt x="401" y="754"/>
                    </a:lnTo>
                    <a:lnTo>
                      <a:pt x="403" y="751"/>
                    </a:lnTo>
                    <a:lnTo>
                      <a:pt x="406" y="745"/>
                    </a:lnTo>
                    <a:lnTo>
                      <a:pt x="407" y="739"/>
                    </a:lnTo>
                    <a:lnTo>
                      <a:pt x="408" y="724"/>
                    </a:lnTo>
                    <a:lnTo>
                      <a:pt x="408" y="724"/>
                    </a:lnTo>
                    <a:lnTo>
                      <a:pt x="408" y="716"/>
                    </a:lnTo>
                    <a:lnTo>
                      <a:pt x="406" y="710"/>
                    </a:lnTo>
                    <a:lnTo>
                      <a:pt x="403" y="705"/>
                    </a:lnTo>
                    <a:lnTo>
                      <a:pt x="401" y="700"/>
                    </a:lnTo>
                    <a:lnTo>
                      <a:pt x="395" y="691"/>
                    </a:lnTo>
                    <a:lnTo>
                      <a:pt x="394" y="687"/>
                    </a:lnTo>
                    <a:lnTo>
                      <a:pt x="393" y="684"/>
                    </a:lnTo>
                    <a:lnTo>
                      <a:pt x="393" y="684"/>
                    </a:lnTo>
                    <a:lnTo>
                      <a:pt x="395" y="676"/>
                    </a:lnTo>
                    <a:lnTo>
                      <a:pt x="400" y="665"/>
                    </a:lnTo>
                    <a:lnTo>
                      <a:pt x="406" y="657"/>
                    </a:lnTo>
                    <a:lnTo>
                      <a:pt x="409" y="655"/>
                    </a:lnTo>
                    <a:lnTo>
                      <a:pt x="411" y="654"/>
                    </a:lnTo>
                    <a:lnTo>
                      <a:pt x="411" y="654"/>
                    </a:lnTo>
                    <a:lnTo>
                      <a:pt x="415" y="654"/>
                    </a:lnTo>
                    <a:lnTo>
                      <a:pt x="418" y="656"/>
                    </a:lnTo>
                    <a:lnTo>
                      <a:pt x="424" y="661"/>
                    </a:lnTo>
                    <a:lnTo>
                      <a:pt x="430" y="669"/>
                    </a:lnTo>
                    <a:lnTo>
                      <a:pt x="434" y="678"/>
                    </a:lnTo>
                    <a:lnTo>
                      <a:pt x="439" y="689"/>
                    </a:lnTo>
                    <a:lnTo>
                      <a:pt x="443" y="699"/>
                    </a:lnTo>
                    <a:lnTo>
                      <a:pt x="444" y="709"/>
                    </a:lnTo>
                    <a:lnTo>
                      <a:pt x="445" y="717"/>
                    </a:lnTo>
                    <a:lnTo>
                      <a:pt x="445" y="717"/>
                    </a:lnTo>
                    <a:lnTo>
                      <a:pt x="444" y="724"/>
                    </a:lnTo>
                    <a:lnTo>
                      <a:pt x="443" y="731"/>
                    </a:lnTo>
                    <a:lnTo>
                      <a:pt x="440" y="738"/>
                    </a:lnTo>
                    <a:lnTo>
                      <a:pt x="437" y="744"/>
                    </a:lnTo>
                    <a:lnTo>
                      <a:pt x="432" y="749"/>
                    </a:lnTo>
                    <a:lnTo>
                      <a:pt x="428" y="754"/>
                    </a:lnTo>
                    <a:lnTo>
                      <a:pt x="417" y="763"/>
                    </a:lnTo>
                    <a:lnTo>
                      <a:pt x="407" y="771"/>
                    </a:lnTo>
                    <a:lnTo>
                      <a:pt x="397" y="781"/>
                    </a:lnTo>
                    <a:lnTo>
                      <a:pt x="388" y="790"/>
                    </a:lnTo>
                    <a:lnTo>
                      <a:pt x="385" y="796"/>
                    </a:lnTo>
                    <a:lnTo>
                      <a:pt x="383" y="801"/>
                    </a:lnTo>
                    <a:lnTo>
                      <a:pt x="383" y="801"/>
                    </a:lnTo>
                    <a:lnTo>
                      <a:pt x="378" y="821"/>
                    </a:lnTo>
                    <a:lnTo>
                      <a:pt x="372" y="835"/>
                    </a:lnTo>
                    <a:lnTo>
                      <a:pt x="370" y="839"/>
                    </a:lnTo>
                    <a:lnTo>
                      <a:pt x="369" y="842"/>
                    </a:lnTo>
                    <a:lnTo>
                      <a:pt x="368" y="842"/>
                    </a:lnTo>
                    <a:lnTo>
                      <a:pt x="368" y="842"/>
                    </a:lnTo>
                    <a:lnTo>
                      <a:pt x="364" y="842"/>
                    </a:lnTo>
                    <a:lnTo>
                      <a:pt x="361" y="843"/>
                    </a:lnTo>
                    <a:lnTo>
                      <a:pt x="359" y="845"/>
                    </a:lnTo>
                    <a:lnTo>
                      <a:pt x="356" y="847"/>
                    </a:lnTo>
                    <a:lnTo>
                      <a:pt x="353" y="853"/>
                    </a:lnTo>
                    <a:lnTo>
                      <a:pt x="350" y="861"/>
                    </a:lnTo>
                    <a:lnTo>
                      <a:pt x="347" y="881"/>
                    </a:lnTo>
                    <a:lnTo>
                      <a:pt x="344" y="901"/>
                    </a:lnTo>
                    <a:lnTo>
                      <a:pt x="344" y="901"/>
                    </a:lnTo>
                    <a:lnTo>
                      <a:pt x="374" y="901"/>
                    </a:lnTo>
                    <a:lnTo>
                      <a:pt x="388" y="903"/>
                    </a:lnTo>
                    <a:lnTo>
                      <a:pt x="397" y="905"/>
                    </a:lnTo>
                    <a:lnTo>
                      <a:pt x="403" y="907"/>
                    </a:lnTo>
                    <a:lnTo>
                      <a:pt x="403" y="907"/>
                    </a:lnTo>
                    <a:lnTo>
                      <a:pt x="408" y="912"/>
                    </a:lnTo>
                    <a:lnTo>
                      <a:pt x="413" y="917"/>
                    </a:lnTo>
                    <a:lnTo>
                      <a:pt x="421" y="934"/>
                    </a:lnTo>
                    <a:lnTo>
                      <a:pt x="431" y="949"/>
                    </a:lnTo>
                    <a:lnTo>
                      <a:pt x="436" y="955"/>
                    </a:lnTo>
                    <a:lnTo>
                      <a:pt x="441" y="959"/>
                    </a:lnTo>
                    <a:lnTo>
                      <a:pt x="445" y="962"/>
                    </a:lnTo>
                    <a:lnTo>
                      <a:pt x="445" y="962"/>
                    </a:lnTo>
                    <a:lnTo>
                      <a:pt x="462" y="939"/>
                    </a:lnTo>
                    <a:lnTo>
                      <a:pt x="479" y="915"/>
                    </a:lnTo>
                    <a:lnTo>
                      <a:pt x="487" y="903"/>
                    </a:lnTo>
                    <a:lnTo>
                      <a:pt x="494" y="889"/>
                    </a:lnTo>
                    <a:lnTo>
                      <a:pt x="500" y="873"/>
                    </a:lnTo>
                    <a:lnTo>
                      <a:pt x="504" y="857"/>
                    </a:lnTo>
                    <a:lnTo>
                      <a:pt x="504" y="857"/>
                    </a:lnTo>
                    <a:lnTo>
                      <a:pt x="506" y="850"/>
                    </a:lnTo>
                    <a:lnTo>
                      <a:pt x="509" y="844"/>
                    </a:lnTo>
                    <a:lnTo>
                      <a:pt x="514" y="840"/>
                    </a:lnTo>
                    <a:lnTo>
                      <a:pt x="520" y="837"/>
                    </a:lnTo>
                    <a:lnTo>
                      <a:pt x="524" y="833"/>
                    </a:lnTo>
                    <a:lnTo>
                      <a:pt x="529" y="830"/>
                    </a:lnTo>
                    <a:lnTo>
                      <a:pt x="531" y="824"/>
                    </a:lnTo>
                    <a:lnTo>
                      <a:pt x="532" y="815"/>
                    </a:lnTo>
                    <a:lnTo>
                      <a:pt x="532" y="815"/>
                    </a:lnTo>
                    <a:lnTo>
                      <a:pt x="532" y="809"/>
                    </a:lnTo>
                    <a:lnTo>
                      <a:pt x="529" y="806"/>
                    </a:lnTo>
                    <a:lnTo>
                      <a:pt x="525" y="802"/>
                    </a:lnTo>
                    <a:lnTo>
                      <a:pt x="522" y="800"/>
                    </a:lnTo>
                    <a:lnTo>
                      <a:pt x="517" y="798"/>
                    </a:lnTo>
                    <a:lnTo>
                      <a:pt x="514" y="794"/>
                    </a:lnTo>
                    <a:lnTo>
                      <a:pt x="512" y="790"/>
                    </a:lnTo>
                    <a:lnTo>
                      <a:pt x="510" y="783"/>
                    </a:lnTo>
                    <a:lnTo>
                      <a:pt x="510" y="783"/>
                    </a:lnTo>
                    <a:lnTo>
                      <a:pt x="510" y="771"/>
                    </a:lnTo>
                    <a:lnTo>
                      <a:pt x="513" y="760"/>
                    </a:lnTo>
                    <a:lnTo>
                      <a:pt x="514" y="751"/>
                    </a:lnTo>
                    <a:lnTo>
                      <a:pt x="517" y="741"/>
                    </a:lnTo>
                    <a:lnTo>
                      <a:pt x="524" y="725"/>
                    </a:lnTo>
                    <a:lnTo>
                      <a:pt x="532" y="710"/>
                    </a:lnTo>
                    <a:lnTo>
                      <a:pt x="540" y="695"/>
                    </a:lnTo>
                    <a:lnTo>
                      <a:pt x="547" y="679"/>
                    </a:lnTo>
                    <a:lnTo>
                      <a:pt x="551" y="670"/>
                    </a:lnTo>
                    <a:lnTo>
                      <a:pt x="553" y="660"/>
                    </a:lnTo>
                    <a:lnTo>
                      <a:pt x="554" y="648"/>
                    </a:lnTo>
                    <a:lnTo>
                      <a:pt x="554" y="636"/>
                    </a:lnTo>
                    <a:lnTo>
                      <a:pt x="574" y="636"/>
                    </a:lnTo>
                    <a:lnTo>
                      <a:pt x="574" y="636"/>
                    </a:lnTo>
                    <a:lnTo>
                      <a:pt x="583" y="646"/>
                    </a:lnTo>
                    <a:lnTo>
                      <a:pt x="588" y="652"/>
                    </a:lnTo>
                    <a:lnTo>
                      <a:pt x="592" y="654"/>
                    </a:lnTo>
                    <a:lnTo>
                      <a:pt x="592" y="654"/>
                    </a:lnTo>
                    <a:lnTo>
                      <a:pt x="597" y="654"/>
                    </a:lnTo>
                    <a:lnTo>
                      <a:pt x="602" y="652"/>
                    </a:lnTo>
                    <a:lnTo>
                      <a:pt x="612" y="648"/>
                    </a:lnTo>
                    <a:lnTo>
                      <a:pt x="620" y="641"/>
                    </a:lnTo>
                    <a:lnTo>
                      <a:pt x="628" y="636"/>
                    </a:lnTo>
                    <a:lnTo>
                      <a:pt x="628" y="636"/>
                    </a:lnTo>
                    <a:lnTo>
                      <a:pt x="626" y="621"/>
                    </a:lnTo>
                    <a:lnTo>
                      <a:pt x="626" y="603"/>
                    </a:lnTo>
                    <a:lnTo>
                      <a:pt x="626" y="571"/>
                    </a:lnTo>
                    <a:lnTo>
                      <a:pt x="627" y="541"/>
                    </a:lnTo>
                    <a:lnTo>
                      <a:pt x="628" y="518"/>
                    </a:lnTo>
                    <a:lnTo>
                      <a:pt x="628" y="518"/>
                    </a:lnTo>
                    <a:lnTo>
                      <a:pt x="627" y="502"/>
                    </a:lnTo>
                    <a:lnTo>
                      <a:pt x="628" y="488"/>
                    </a:lnTo>
                    <a:lnTo>
                      <a:pt x="630" y="474"/>
                    </a:lnTo>
                    <a:lnTo>
                      <a:pt x="636" y="461"/>
                    </a:lnTo>
                    <a:lnTo>
                      <a:pt x="644" y="445"/>
                    </a:lnTo>
                    <a:lnTo>
                      <a:pt x="653" y="425"/>
                    </a:lnTo>
                    <a:lnTo>
                      <a:pt x="680" y="374"/>
                    </a:lnTo>
                    <a:lnTo>
                      <a:pt x="680" y="374"/>
                    </a:lnTo>
                    <a:lnTo>
                      <a:pt x="698" y="367"/>
                    </a:lnTo>
                    <a:lnTo>
                      <a:pt x="713" y="359"/>
                    </a:lnTo>
                    <a:lnTo>
                      <a:pt x="726" y="350"/>
                    </a:lnTo>
                    <a:lnTo>
                      <a:pt x="736" y="342"/>
                    </a:lnTo>
                    <a:lnTo>
                      <a:pt x="744" y="332"/>
                    </a:lnTo>
                    <a:lnTo>
                      <a:pt x="750" y="321"/>
                    </a:lnTo>
                    <a:lnTo>
                      <a:pt x="754" y="311"/>
                    </a:lnTo>
                    <a:lnTo>
                      <a:pt x="758" y="300"/>
                    </a:lnTo>
                    <a:lnTo>
                      <a:pt x="760" y="287"/>
                    </a:lnTo>
                    <a:lnTo>
                      <a:pt x="761" y="273"/>
                    </a:lnTo>
                    <a:lnTo>
                      <a:pt x="760" y="242"/>
                    </a:lnTo>
                    <a:lnTo>
                      <a:pt x="759" y="206"/>
                    </a:lnTo>
                    <a:lnTo>
                      <a:pt x="757" y="165"/>
                    </a:lnTo>
                    <a:lnTo>
                      <a:pt x="757" y="165"/>
                    </a:ln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grpSp>
        <p:sp>
          <p:nvSpPr>
            <p:cNvPr id="218" name="Полилиния 217"/>
            <p:cNvSpPr/>
            <p:nvPr/>
          </p:nvSpPr>
          <p:spPr>
            <a:xfrm>
              <a:off x="3027995" y="3727666"/>
              <a:ext cx="118800" cy="126000"/>
            </a:xfrm>
            <a:custGeom>
              <a:avLst/>
              <a:gdLst>
                <a:gd name="connsiteX0" fmla="*/ 96924 w 127880"/>
                <a:gd name="connsiteY0" fmla="*/ 40481 h 135786"/>
                <a:gd name="connsiteX1" fmla="*/ 94542 w 127880"/>
                <a:gd name="connsiteY1" fmla="*/ 76200 h 135786"/>
                <a:gd name="connsiteX2" fmla="*/ 101686 w 127880"/>
                <a:gd name="connsiteY2" fmla="*/ 95250 h 135786"/>
                <a:gd name="connsiteX3" fmla="*/ 108830 w 127880"/>
                <a:gd name="connsiteY3" fmla="*/ 97631 h 135786"/>
                <a:gd name="connsiteX4" fmla="*/ 123117 w 127880"/>
                <a:gd name="connsiteY4" fmla="*/ 119062 h 135786"/>
                <a:gd name="connsiteX5" fmla="*/ 127880 w 127880"/>
                <a:gd name="connsiteY5" fmla="*/ 126206 h 135786"/>
                <a:gd name="connsiteX6" fmla="*/ 125499 w 127880"/>
                <a:gd name="connsiteY6" fmla="*/ 133350 h 135786"/>
                <a:gd name="connsiteX7" fmla="*/ 99305 w 127880"/>
                <a:gd name="connsiteY7" fmla="*/ 133350 h 135786"/>
                <a:gd name="connsiteX8" fmla="*/ 85017 w 127880"/>
                <a:gd name="connsiteY8" fmla="*/ 123825 h 135786"/>
                <a:gd name="connsiteX9" fmla="*/ 63586 w 127880"/>
                <a:gd name="connsiteY9" fmla="*/ 116681 h 135786"/>
                <a:gd name="connsiteX10" fmla="*/ 46917 w 127880"/>
                <a:gd name="connsiteY10" fmla="*/ 111918 h 135786"/>
                <a:gd name="connsiteX11" fmla="*/ 39774 w 127880"/>
                <a:gd name="connsiteY11" fmla="*/ 107156 h 135786"/>
                <a:gd name="connsiteX12" fmla="*/ 18342 w 127880"/>
                <a:gd name="connsiteY12" fmla="*/ 100012 h 135786"/>
                <a:gd name="connsiteX13" fmla="*/ 11199 w 127880"/>
                <a:gd name="connsiteY13" fmla="*/ 97631 h 135786"/>
                <a:gd name="connsiteX14" fmla="*/ 6436 w 127880"/>
                <a:gd name="connsiteY14" fmla="*/ 66675 h 135786"/>
                <a:gd name="connsiteX15" fmla="*/ 20724 w 127880"/>
                <a:gd name="connsiteY15" fmla="*/ 57150 h 135786"/>
                <a:gd name="connsiteX16" fmla="*/ 27867 w 127880"/>
                <a:gd name="connsiteY16" fmla="*/ 52387 h 135786"/>
                <a:gd name="connsiteX17" fmla="*/ 30249 w 127880"/>
                <a:gd name="connsiteY17" fmla="*/ 45243 h 135786"/>
                <a:gd name="connsiteX18" fmla="*/ 35011 w 127880"/>
                <a:gd name="connsiteY18" fmla="*/ 16668 h 135786"/>
                <a:gd name="connsiteX19" fmla="*/ 20724 w 127880"/>
                <a:gd name="connsiteY19" fmla="*/ 11906 h 135786"/>
                <a:gd name="connsiteX20" fmla="*/ 27867 w 127880"/>
                <a:gd name="connsiteY20" fmla="*/ 4762 h 135786"/>
                <a:gd name="connsiteX21" fmla="*/ 42155 w 127880"/>
                <a:gd name="connsiteY21" fmla="*/ 0 h 135786"/>
                <a:gd name="connsiteX22" fmla="*/ 54061 w 127880"/>
                <a:gd name="connsiteY22" fmla="*/ 4762 h 135786"/>
                <a:gd name="connsiteX23" fmla="*/ 68349 w 127880"/>
                <a:gd name="connsiteY23" fmla="*/ 14287 h 135786"/>
                <a:gd name="connsiteX24" fmla="*/ 73111 w 127880"/>
                <a:gd name="connsiteY24" fmla="*/ 21431 h 135786"/>
                <a:gd name="connsiteX25" fmla="*/ 80255 w 127880"/>
                <a:gd name="connsiteY25" fmla="*/ 26193 h 135786"/>
                <a:gd name="connsiteX26" fmla="*/ 92161 w 127880"/>
                <a:gd name="connsiteY26" fmla="*/ 38100 h 135786"/>
                <a:gd name="connsiteX27" fmla="*/ 96924 w 127880"/>
                <a:gd name="connsiteY27" fmla="*/ 40481 h 135786"/>
                <a:gd name="connsiteX0" fmla="*/ 97631 w 128587"/>
                <a:gd name="connsiteY0" fmla="*/ 46012 h 141317"/>
                <a:gd name="connsiteX1" fmla="*/ 95249 w 128587"/>
                <a:gd name="connsiteY1" fmla="*/ 81731 h 141317"/>
                <a:gd name="connsiteX2" fmla="*/ 102393 w 128587"/>
                <a:gd name="connsiteY2" fmla="*/ 100781 h 141317"/>
                <a:gd name="connsiteX3" fmla="*/ 109537 w 128587"/>
                <a:gd name="connsiteY3" fmla="*/ 103162 h 141317"/>
                <a:gd name="connsiteX4" fmla="*/ 123824 w 128587"/>
                <a:gd name="connsiteY4" fmla="*/ 124593 h 141317"/>
                <a:gd name="connsiteX5" fmla="*/ 128587 w 128587"/>
                <a:gd name="connsiteY5" fmla="*/ 131737 h 141317"/>
                <a:gd name="connsiteX6" fmla="*/ 126206 w 128587"/>
                <a:gd name="connsiteY6" fmla="*/ 138881 h 141317"/>
                <a:gd name="connsiteX7" fmla="*/ 100012 w 128587"/>
                <a:gd name="connsiteY7" fmla="*/ 138881 h 141317"/>
                <a:gd name="connsiteX8" fmla="*/ 85724 w 128587"/>
                <a:gd name="connsiteY8" fmla="*/ 129356 h 141317"/>
                <a:gd name="connsiteX9" fmla="*/ 64293 w 128587"/>
                <a:gd name="connsiteY9" fmla="*/ 122212 h 141317"/>
                <a:gd name="connsiteX10" fmla="*/ 47624 w 128587"/>
                <a:gd name="connsiteY10" fmla="*/ 117449 h 141317"/>
                <a:gd name="connsiteX11" fmla="*/ 40481 w 128587"/>
                <a:gd name="connsiteY11" fmla="*/ 112687 h 141317"/>
                <a:gd name="connsiteX12" fmla="*/ 19049 w 128587"/>
                <a:gd name="connsiteY12" fmla="*/ 105543 h 141317"/>
                <a:gd name="connsiteX13" fmla="*/ 11906 w 128587"/>
                <a:gd name="connsiteY13" fmla="*/ 103162 h 141317"/>
                <a:gd name="connsiteX14" fmla="*/ 7143 w 128587"/>
                <a:gd name="connsiteY14" fmla="*/ 72206 h 141317"/>
                <a:gd name="connsiteX15" fmla="*/ 21431 w 128587"/>
                <a:gd name="connsiteY15" fmla="*/ 62681 h 141317"/>
                <a:gd name="connsiteX16" fmla="*/ 28574 w 128587"/>
                <a:gd name="connsiteY16" fmla="*/ 57918 h 141317"/>
                <a:gd name="connsiteX17" fmla="*/ 30956 w 128587"/>
                <a:gd name="connsiteY17" fmla="*/ 50774 h 141317"/>
                <a:gd name="connsiteX18" fmla="*/ 35718 w 128587"/>
                <a:gd name="connsiteY18" fmla="*/ 22199 h 141317"/>
                <a:gd name="connsiteX19" fmla="*/ 0 w 128587"/>
                <a:gd name="connsiteY19" fmla="*/ 324 h 141317"/>
                <a:gd name="connsiteX20" fmla="*/ 28574 w 128587"/>
                <a:gd name="connsiteY20" fmla="*/ 10293 h 141317"/>
                <a:gd name="connsiteX21" fmla="*/ 42862 w 128587"/>
                <a:gd name="connsiteY21" fmla="*/ 5531 h 141317"/>
                <a:gd name="connsiteX22" fmla="*/ 54768 w 128587"/>
                <a:gd name="connsiteY22" fmla="*/ 10293 h 141317"/>
                <a:gd name="connsiteX23" fmla="*/ 69056 w 128587"/>
                <a:gd name="connsiteY23" fmla="*/ 19818 h 141317"/>
                <a:gd name="connsiteX24" fmla="*/ 73818 w 128587"/>
                <a:gd name="connsiteY24" fmla="*/ 26962 h 141317"/>
                <a:gd name="connsiteX25" fmla="*/ 80962 w 128587"/>
                <a:gd name="connsiteY25" fmla="*/ 31724 h 141317"/>
                <a:gd name="connsiteX26" fmla="*/ 92868 w 128587"/>
                <a:gd name="connsiteY26" fmla="*/ 43631 h 141317"/>
                <a:gd name="connsiteX27" fmla="*/ 97631 w 128587"/>
                <a:gd name="connsiteY27" fmla="*/ 46012 h 141317"/>
                <a:gd name="connsiteX0" fmla="*/ 98386 w 129342"/>
                <a:gd name="connsiteY0" fmla="*/ 46113 h 141418"/>
                <a:gd name="connsiteX1" fmla="*/ 96004 w 129342"/>
                <a:gd name="connsiteY1" fmla="*/ 81832 h 141418"/>
                <a:gd name="connsiteX2" fmla="*/ 103148 w 129342"/>
                <a:gd name="connsiteY2" fmla="*/ 100882 h 141418"/>
                <a:gd name="connsiteX3" fmla="*/ 110292 w 129342"/>
                <a:gd name="connsiteY3" fmla="*/ 103263 h 141418"/>
                <a:gd name="connsiteX4" fmla="*/ 124579 w 129342"/>
                <a:gd name="connsiteY4" fmla="*/ 124694 h 141418"/>
                <a:gd name="connsiteX5" fmla="*/ 129342 w 129342"/>
                <a:gd name="connsiteY5" fmla="*/ 131838 h 141418"/>
                <a:gd name="connsiteX6" fmla="*/ 126961 w 129342"/>
                <a:gd name="connsiteY6" fmla="*/ 138982 h 141418"/>
                <a:gd name="connsiteX7" fmla="*/ 100767 w 129342"/>
                <a:gd name="connsiteY7" fmla="*/ 138982 h 141418"/>
                <a:gd name="connsiteX8" fmla="*/ 86479 w 129342"/>
                <a:gd name="connsiteY8" fmla="*/ 129457 h 141418"/>
                <a:gd name="connsiteX9" fmla="*/ 65048 w 129342"/>
                <a:gd name="connsiteY9" fmla="*/ 122313 h 141418"/>
                <a:gd name="connsiteX10" fmla="*/ 48379 w 129342"/>
                <a:gd name="connsiteY10" fmla="*/ 117550 h 141418"/>
                <a:gd name="connsiteX11" fmla="*/ 41236 w 129342"/>
                <a:gd name="connsiteY11" fmla="*/ 112788 h 141418"/>
                <a:gd name="connsiteX12" fmla="*/ 19804 w 129342"/>
                <a:gd name="connsiteY12" fmla="*/ 105644 h 141418"/>
                <a:gd name="connsiteX13" fmla="*/ 12661 w 129342"/>
                <a:gd name="connsiteY13" fmla="*/ 103263 h 141418"/>
                <a:gd name="connsiteX14" fmla="*/ 7898 w 129342"/>
                <a:gd name="connsiteY14" fmla="*/ 72307 h 141418"/>
                <a:gd name="connsiteX15" fmla="*/ 22186 w 129342"/>
                <a:gd name="connsiteY15" fmla="*/ 62782 h 141418"/>
                <a:gd name="connsiteX16" fmla="*/ 29329 w 129342"/>
                <a:gd name="connsiteY16" fmla="*/ 58019 h 141418"/>
                <a:gd name="connsiteX17" fmla="*/ 31711 w 129342"/>
                <a:gd name="connsiteY17" fmla="*/ 50875 h 141418"/>
                <a:gd name="connsiteX18" fmla="*/ 10279 w 129342"/>
                <a:gd name="connsiteY18" fmla="*/ 27190 h 141418"/>
                <a:gd name="connsiteX19" fmla="*/ 755 w 129342"/>
                <a:gd name="connsiteY19" fmla="*/ 425 h 141418"/>
                <a:gd name="connsiteX20" fmla="*/ 29329 w 129342"/>
                <a:gd name="connsiteY20" fmla="*/ 10394 h 141418"/>
                <a:gd name="connsiteX21" fmla="*/ 43617 w 129342"/>
                <a:gd name="connsiteY21" fmla="*/ 5632 h 141418"/>
                <a:gd name="connsiteX22" fmla="*/ 55523 w 129342"/>
                <a:gd name="connsiteY22" fmla="*/ 10394 h 141418"/>
                <a:gd name="connsiteX23" fmla="*/ 69811 w 129342"/>
                <a:gd name="connsiteY23" fmla="*/ 19919 h 141418"/>
                <a:gd name="connsiteX24" fmla="*/ 74573 w 129342"/>
                <a:gd name="connsiteY24" fmla="*/ 27063 h 141418"/>
                <a:gd name="connsiteX25" fmla="*/ 81717 w 129342"/>
                <a:gd name="connsiteY25" fmla="*/ 31825 h 141418"/>
                <a:gd name="connsiteX26" fmla="*/ 93623 w 129342"/>
                <a:gd name="connsiteY26" fmla="*/ 43732 h 141418"/>
                <a:gd name="connsiteX27" fmla="*/ 98386 w 129342"/>
                <a:gd name="connsiteY27" fmla="*/ 46113 h 14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342" h="141418">
                  <a:moveTo>
                    <a:pt x="98386" y="46113"/>
                  </a:moveTo>
                  <a:cubicBezTo>
                    <a:pt x="98783" y="52463"/>
                    <a:pt x="92496" y="55521"/>
                    <a:pt x="96004" y="81832"/>
                  </a:cubicBezTo>
                  <a:cubicBezTo>
                    <a:pt x="96813" y="87898"/>
                    <a:pt x="97651" y="96484"/>
                    <a:pt x="103148" y="100882"/>
                  </a:cubicBezTo>
                  <a:cubicBezTo>
                    <a:pt x="105108" y="102450"/>
                    <a:pt x="107911" y="102469"/>
                    <a:pt x="110292" y="103263"/>
                  </a:cubicBezTo>
                  <a:lnTo>
                    <a:pt x="124579" y="124694"/>
                  </a:lnTo>
                  <a:lnTo>
                    <a:pt x="129342" y="131838"/>
                  </a:lnTo>
                  <a:cubicBezTo>
                    <a:pt x="128548" y="134219"/>
                    <a:pt x="128736" y="137207"/>
                    <a:pt x="126961" y="138982"/>
                  </a:cubicBezTo>
                  <a:cubicBezTo>
                    <a:pt x="121578" y="144365"/>
                    <a:pt x="102341" y="139179"/>
                    <a:pt x="100767" y="138982"/>
                  </a:cubicBezTo>
                  <a:cubicBezTo>
                    <a:pt x="96004" y="135807"/>
                    <a:pt x="91909" y="131267"/>
                    <a:pt x="86479" y="129457"/>
                  </a:cubicBezTo>
                  <a:lnTo>
                    <a:pt x="65048" y="122313"/>
                  </a:lnTo>
                  <a:cubicBezTo>
                    <a:pt x="60462" y="120785"/>
                    <a:pt x="52971" y="119846"/>
                    <a:pt x="48379" y="117550"/>
                  </a:cubicBezTo>
                  <a:cubicBezTo>
                    <a:pt x="45820" y="116270"/>
                    <a:pt x="43851" y="113950"/>
                    <a:pt x="41236" y="112788"/>
                  </a:cubicBezTo>
                  <a:cubicBezTo>
                    <a:pt x="41224" y="112783"/>
                    <a:pt x="23382" y="106837"/>
                    <a:pt x="19804" y="105644"/>
                  </a:cubicBezTo>
                  <a:lnTo>
                    <a:pt x="12661" y="103263"/>
                  </a:lnTo>
                  <a:cubicBezTo>
                    <a:pt x="940" y="95448"/>
                    <a:pt x="-3066" y="95801"/>
                    <a:pt x="7898" y="72307"/>
                  </a:cubicBezTo>
                  <a:cubicBezTo>
                    <a:pt x="10319" y="67120"/>
                    <a:pt x="17423" y="65957"/>
                    <a:pt x="22186" y="62782"/>
                  </a:cubicBezTo>
                  <a:lnTo>
                    <a:pt x="29329" y="58019"/>
                  </a:lnTo>
                  <a:cubicBezTo>
                    <a:pt x="30123" y="55638"/>
                    <a:pt x="34886" y="56013"/>
                    <a:pt x="31711" y="50875"/>
                  </a:cubicBezTo>
                  <a:cubicBezTo>
                    <a:pt x="28536" y="45737"/>
                    <a:pt x="15438" y="35598"/>
                    <a:pt x="10279" y="27190"/>
                  </a:cubicBezTo>
                  <a:cubicBezTo>
                    <a:pt x="5120" y="18782"/>
                    <a:pt x="-2420" y="3224"/>
                    <a:pt x="755" y="425"/>
                  </a:cubicBezTo>
                  <a:cubicBezTo>
                    <a:pt x="3930" y="-2374"/>
                    <a:pt x="22185" y="9526"/>
                    <a:pt x="29329" y="10394"/>
                  </a:cubicBezTo>
                  <a:cubicBezTo>
                    <a:pt x="36473" y="11262"/>
                    <a:pt x="43617" y="5632"/>
                    <a:pt x="43617" y="5632"/>
                  </a:cubicBezTo>
                  <a:cubicBezTo>
                    <a:pt x="47586" y="7219"/>
                    <a:pt x="51898" y="8129"/>
                    <a:pt x="55523" y="10394"/>
                  </a:cubicBezTo>
                  <a:cubicBezTo>
                    <a:pt x="75908" y="23134"/>
                    <a:pt x="50926" y="13625"/>
                    <a:pt x="69811" y="19919"/>
                  </a:cubicBezTo>
                  <a:cubicBezTo>
                    <a:pt x="71398" y="22300"/>
                    <a:pt x="72549" y="25039"/>
                    <a:pt x="74573" y="27063"/>
                  </a:cubicBezTo>
                  <a:cubicBezTo>
                    <a:pt x="76597" y="29087"/>
                    <a:pt x="79885" y="29626"/>
                    <a:pt x="81717" y="31825"/>
                  </a:cubicBezTo>
                  <a:cubicBezTo>
                    <a:pt x="91255" y="43270"/>
                    <a:pt x="80528" y="40457"/>
                    <a:pt x="93623" y="43732"/>
                  </a:cubicBezTo>
                  <a:cubicBezTo>
                    <a:pt x="94393" y="43925"/>
                    <a:pt x="97989" y="39763"/>
                    <a:pt x="98386" y="46113"/>
                  </a:cubicBezTo>
                  <a:close/>
                </a:path>
              </a:pathLst>
            </a:custGeom>
            <a:grpFill/>
            <a:ln w="9525" cap="flat" cmpd="sng" algn="ctr">
              <a:solidFill>
                <a:srgbClr val="ABC6D5"/>
              </a:solidFill>
              <a:prstDash val="solid"/>
              <a:headEnd/>
              <a:tailEnd/>
            </a:ln>
            <a:effectLst/>
          </p:spPr>
          <p:txBody>
            <a:bodyPr lIns="0" tIns="33231" rIns="0" bIns="0" anchor="ctr" anchorCtr="1"/>
            <a:lstStyle/>
            <a:p>
              <a:pPr indent="-247657" defTabSz="844083">
                <a:lnSpc>
                  <a:spcPct val="90000"/>
                </a:lnSpc>
                <a:spcAft>
                  <a:spcPts val="831"/>
                </a:spcAft>
                <a:defRPr/>
              </a:pPr>
              <a:endParaRPr lang="ru-RU" sz="1846" b="1" kern="0" dirty="0">
                <a:solidFill>
                  <a:srgbClr val="808080">
                    <a:lumMod val="50000"/>
                  </a:srgbClr>
                </a:solidFill>
                <a:latin typeface="Arial" pitchFamily="34" charset="0"/>
                <a:cs typeface="Arial" pitchFamily="34" charset="0"/>
              </a:endParaRPr>
            </a:p>
          </p:txBody>
        </p:sp>
      </p:grpSp>
      <p:sp>
        <p:nvSpPr>
          <p:cNvPr id="215" name="Овал 214"/>
          <p:cNvSpPr/>
          <p:nvPr/>
        </p:nvSpPr>
        <p:spPr>
          <a:xfrm rot="799934">
            <a:off x="5928704" y="4174083"/>
            <a:ext cx="245663" cy="232791"/>
          </a:xfrm>
          <a:prstGeom prst="ellipse">
            <a:avLst/>
          </a:prstGeom>
          <a:solidFill>
            <a:srgbClr val="62BFEE"/>
          </a:solidFill>
          <a:ln w="19050" cap="flat" cmpd="sng" algn="ctr">
            <a:noFill/>
            <a:prstDash val="solid"/>
          </a:ln>
          <a:effectLst/>
        </p:spPr>
        <p:txBody>
          <a:bodyPr rtlCol="0" anchor="ctr"/>
          <a:lstStyle/>
          <a:p>
            <a:pPr algn="ctr" defTabSz="844083"/>
            <a:endParaRPr lang="ru-RU" sz="1662" kern="0" dirty="0">
              <a:solidFill>
                <a:srgbClr val="FFFFFF"/>
              </a:solidFill>
              <a:latin typeface="Arial" pitchFamily="34" charset="0"/>
              <a:cs typeface="Arial" pitchFamily="34" charset="0"/>
            </a:endParaRPr>
          </a:p>
        </p:txBody>
      </p:sp>
      <p:graphicFrame>
        <p:nvGraphicFramePr>
          <p:cNvPr id="7" name="Объект 6" hidden="1"/>
          <p:cNvGraphicFramePr>
            <a:graphicFrameLocks noChangeAspect="1"/>
          </p:cNvGraphicFramePr>
          <p:nvPr>
            <p:custDataLst>
              <p:tags r:id="rId1"/>
            </p:custDataLst>
          </p:nvPr>
        </p:nvGraphicFramePr>
        <p:xfrm>
          <a:off x="353162" y="265239"/>
          <a:ext cx="1465" cy="1465"/>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Объект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3162" y="265239"/>
                        <a:ext cx="1465"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5" name="TextBox 134"/>
          <p:cNvSpPr txBox="1"/>
          <p:nvPr/>
        </p:nvSpPr>
        <p:spPr>
          <a:xfrm>
            <a:off x="8624605" y="6373802"/>
            <a:ext cx="389027" cy="284059"/>
          </a:xfrm>
          <a:prstGeom prst="rect">
            <a:avLst/>
          </a:prstGeom>
          <a:noFill/>
        </p:spPr>
        <p:txBody>
          <a:bodyPr wrap="square" lIns="84397" tIns="42199" rIns="84397" bIns="42199" rtlCol="0">
            <a:spAutoFit/>
          </a:bodyPr>
          <a:lstStyle/>
          <a:p>
            <a:pPr algn="ctr" defTabSz="844083"/>
            <a:r>
              <a:rPr lang="ru-RU" sz="1292" dirty="0">
                <a:solidFill>
                  <a:prstClr val="black"/>
                </a:solidFill>
                <a:latin typeface="Arial" pitchFamily="34" charset="0"/>
                <a:cs typeface="Arial" pitchFamily="34" charset="0"/>
              </a:rPr>
              <a:t>4</a:t>
            </a:r>
          </a:p>
        </p:txBody>
      </p:sp>
      <p:sp>
        <p:nvSpPr>
          <p:cNvPr id="4" name="Прямоугольник 3"/>
          <p:cNvSpPr/>
          <p:nvPr/>
        </p:nvSpPr>
        <p:spPr>
          <a:xfrm>
            <a:off x="4868814" y="4150725"/>
            <a:ext cx="1257364" cy="560923"/>
          </a:xfrm>
          <a:prstGeom prst="rect">
            <a:avLst/>
          </a:prstGeom>
          <a:noFill/>
        </p:spPr>
        <p:txBody>
          <a:bodyPr wrap="square">
            <a:spAutoFit/>
          </a:bodyPr>
          <a:lstStyle/>
          <a:p>
            <a:pPr defTabSz="844083" fontAlgn="base">
              <a:spcBef>
                <a:spcPct val="0"/>
              </a:spcBef>
              <a:spcAft>
                <a:spcPct val="0"/>
              </a:spcAft>
              <a:defRPr/>
            </a:pPr>
            <a:r>
              <a:rPr lang="ru-RU" sz="1015" b="1" kern="0" spc="-28" dirty="0">
                <a:solidFill>
                  <a:srgbClr val="1286CE"/>
                </a:solidFill>
                <a:latin typeface="Arial" pitchFamily="34" charset="0"/>
                <a:cs typeface="Arial" pitchFamily="34" charset="0"/>
              </a:rPr>
              <a:t>АО «ХИАГДА»</a:t>
            </a:r>
          </a:p>
          <a:p>
            <a:pPr defTabSz="844083" fontAlgn="base">
              <a:spcBef>
                <a:spcPct val="0"/>
              </a:spcBef>
              <a:spcAft>
                <a:spcPct val="0"/>
              </a:spcAft>
              <a:defRPr/>
            </a:pPr>
            <a:r>
              <a:rPr lang="ru-RU" sz="1015" b="1" kern="0" dirty="0">
                <a:solidFill>
                  <a:srgbClr val="000000"/>
                </a:solidFill>
                <a:latin typeface="Arial" pitchFamily="34" charset="0"/>
                <a:cs typeface="Arial" pitchFamily="34" charset="0"/>
              </a:rPr>
              <a:t>Добыча урана методом СПВ</a:t>
            </a:r>
            <a:endParaRPr lang="en-US" sz="1015" b="1" kern="0" dirty="0">
              <a:solidFill>
                <a:srgbClr val="000000"/>
              </a:solidFill>
              <a:latin typeface="Arial" pitchFamily="34" charset="0"/>
              <a:cs typeface="Arial" pitchFamily="34" charset="0"/>
            </a:endParaRPr>
          </a:p>
        </p:txBody>
      </p:sp>
      <p:sp>
        <p:nvSpPr>
          <p:cNvPr id="517" name="Rectangle 247"/>
          <p:cNvSpPr/>
          <p:nvPr/>
        </p:nvSpPr>
        <p:spPr>
          <a:xfrm>
            <a:off x="6758856" y="4050652"/>
            <a:ext cx="2178198" cy="1029513"/>
          </a:xfrm>
          <a:prstGeom prst="rect">
            <a:avLst/>
          </a:prstGeom>
        </p:spPr>
        <p:txBody>
          <a:bodyPr wrap="square">
            <a:spAutoFit/>
          </a:bodyPr>
          <a:lstStyle/>
          <a:p>
            <a:pPr defTabSz="844083" fontAlgn="base">
              <a:spcBef>
                <a:spcPct val="0"/>
              </a:spcBef>
              <a:spcAft>
                <a:spcPct val="0"/>
              </a:spcAft>
              <a:defRPr/>
            </a:pPr>
            <a:r>
              <a:rPr lang="ru-RU" sz="1015" b="1" kern="0" spc="-37" dirty="0">
                <a:solidFill>
                  <a:srgbClr val="1286CE"/>
                </a:solidFill>
                <a:latin typeface="Arial" pitchFamily="34" charset="0"/>
                <a:cs typeface="Arial" pitchFamily="34" charset="0"/>
              </a:rPr>
              <a:t>ПАО «ППГХО»</a:t>
            </a:r>
          </a:p>
          <a:p>
            <a:pPr defTabSz="844083" fontAlgn="base">
              <a:spcBef>
                <a:spcPct val="0"/>
              </a:spcBef>
              <a:spcAft>
                <a:spcPct val="0"/>
              </a:spcAft>
              <a:defRPr/>
            </a:pPr>
            <a:r>
              <a:rPr lang="ru-RU" sz="1015" b="1" kern="0" dirty="0">
                <a:solidFill>
                  <a:srgbClr val="000000"/>
                </a:solidFill>
                <a:latin typeface="Arial" pitchFamily="34" charset="0"/>
                <a:cs typeface="Arial" pitchFamily="34" charset="0"/>
              </a:rPr>
              <a:t>Добыча урана подземным горным способом </a:t>
            </a:r>
          </a:p>
          <a:p>
            <a:pPr defTabSz="844083" fontAlgn="base">
              <a:spcBef>
                <a:spcPct val="0"/>
              </a:spcBef>
              <a:spcAft>
                <a:spcPct val="0"/>
              </a:spcAft>
              <a:defRPr/>
            </a:pPr>
            <a:r>
              <a:rPr lang="ru-RU" sz="1015" b="1" kern="0" dirty="0">
                <a:solidFill>
                  <a:srgbClr val="000000"/>
                </a:solidFill>
                <a:latin typeface="Arial" pitchFamily="34" charset="0"/>
                <a:cs typeface="Arial" pitchFamily="34" charset="0"/>
              </a:rPr>
              <a:t>Добыча угля</a:t>
            </a:r>
          </a:p>
          <a:p>
            <a:pPr defTabSz="844083" fontAlgn="base">
              <a:spcBef>
                <a:spcPct val="0"/>
              </a:spcBef>
              <a:spcAft>
                <a:spcPct val="0"/>
              </a:spcAft>
              <a:defRPr/>
            </a:pPr>
            <a:r>
              <a:rPr lang="ru-RU" sz="1015" kern="0" dirty="0">
                <a:solidFill>
                  <a:srgbClr val="000000"/>
                </a:solidFill>
                <a:latin typeface="Arial" pitchFamily="34" charset="0"/>
                <a:cs typeface="Arial" pitchFamily="34" charset="0"/>
              </a:rPr>
              <a:t>Производство электро- и </a:t>
            </a:r>
            <a:r>
              <a:rPr lang="ru-RU" sz="1015" kern="0" dirty="0" err="1">
                <a:solidFill>
                  <a:srgbClr val="000000"/>
                </a:solidFill>
                <a:latin typeface="Arial" pitchFamily="34" charset="0"/>
                <a:cs typeface="Arial" pitchFamily="34" charset="0"/>
              </a:rPr>
              <a:t>теплоэнергии</a:t>
            </a:r>
            <a:r>
              <a:rPr lang="ru-RU" sz="1015" kern="0" dirty="0">
                <a:solidFill>
                  <a:srgbClr val="000000"/>
                </a:solidFill>
                <a:latin typeface="Arial" pitchFamily="34" charset="0"/>
                <a:cs typeface="Arial" pitchFamily="34" charset="0"/>
              </a:rPr>
              <a:t> и др.</a:t>
            </a:r>
          </a:p>
        </p:txBody>
      </p:sp>
      <p:sp>
        <p:nvSpPr>
          <p:cNvPr id="165" name="Заголовок 1"/>
          <p:cNvSpPr txBox="1">
            <a:spLocks/>
          </p:cNvSpPr>
          <p:nvPr/>
        </p:nvSpPr>
        <p:spPr>
          <a:xfrm>
            <a:off x="298058" y="144465"/>
            <a:ext cx="7194828" cy="630510"/>
          </a:xfrm>
          <a:prstGeom prst="rect">
            <a:avLst/>
          </a:prstGeom>
        </p:spPr>
        <p:txBody>
          <a:bodyPr vert="horz" lIns="66462" tIns="33231" rIns="66462" bIns="33231" rtlCol="0" anchor="ctr">
            <a:noAutofit/>
          </a:bodyPr>
          <a:lstStyle>
            <a:lvl1pPr algn="l" defTabSz="990584" rtl="0" eaLnBrk="1" latinLnBrk="0" hangingPunct="1">
              <a:lnSpc>
                <a:spcPct val="100000"/>
              </a:lnSpc>
              <a:spcBef>
                <a:spcPct val="0"/>
              </a:spcBef>
              <a:buNone/>
              <a:defRPr lang="ru-RU" sz="2000" b="1" kern="1200" dirty="0">
                <a:solidFill>
                  <a:schemeClr val="tx1"/>
                </a:solidFill>
                <a:latin typeface="Arial" panose="020B0604020202020204" pitchFamily="34" charset="0"/>
                <a:ea typeface="+mn-ea"/>
                <a:cs typeface="Arial" panose="020B0604020202020204" pitchFamily="34" charset="0"/>
              </a:defRPr>
            </a:lvl1pPr>
          </a:lstStyle>
          <a:p>
            <a:pPr defTabSz="914408">
              <a:defRPr/>
            </a:pPr>
            <a:r>
              <a:rPr lang="ru-RU" sz="1846" dirty="0">
                <a:solidFill>
                  <a:sysClr val="windowText" lastClr="000000"/>
                </a:solidFill>
              </a:rPr>
              <a:t>География ключевых активов АО «</a:t>
            </a:r>
            <a:r>
              <a:rPr lang="ru-RU" sz="1846" dirty="0" err="1">
                <a:solidFill>
                  <a:sysClr val="windowText" lastClr="000000"/>
                </a:solidFill>
              </a:rPr>
              <a:t>Атомредметзолото</a:t>
            </a:r>
            <a:r>
              <a:rPr lang="ru-RU" sz="1846" dirty="0">
                <a:solidFill>
                  <a:sysClr val="windowText" lastClr="000000"/>
                </a:solidFill>
              </a:rPr>
              <a:t>»</a:t>
            </a:r>
          </a:p>
        </p:txBody>
      </p:sp>
      <p:sp>
        <p:nvSpPr>
          <p:cNvPr id="182" name="Овал 181"/>
          <p:cNvSpPr/>
          <p:nvPr/>
        </p:nvSpPr>
        <p:spPr>
          <a:xfrm rot="799934">
            <a:off x="3652679" y="2261982"/>
            <a:ext cx="245663" cy="232791"/>
          </a:xfrm>
          <a:prstGeom prst="ellipse">
            <a:avLst/>
          </a:prstGeom>
          <a:pattFill prst="dkUpDiag">
            <a:fgClr>
              <a:schemeClr val="bg1">
                <a:lumMod val="85000"/>
              </a:schemeClr>
            </a:fgClr>
            <a:bgClr>
              <a:schemeClr val="bg1"/>
            </a:bgClr>
          </a:pattFill>
          <a:ln w="3175" cap="flat" cmpd="sng" algn="ctr">
            <a:solidFill>
              <a:srgbClr val="ABABB5"/>
            </a:solidFill>
            <a:prstDash val="solid"/>
          </a:ln>
          <a:effectLst/>
        </p:spPr>
        <p:txBody>
          <a:bodyPr rtlCol="0" anchor="ctr"/>
          <a:lstStyle/>
          <a:p>
            <a:pPr algn="ctr" defTabSz="844083"/>
            <a:endParaRPr lang="ru-RU" sz="831" kern="0">
              <a:solidFill>
                <a:srgbClr val="FFFFFF"/>
              </a:solidFill>
              <a:latin typeface="Arial" pitchFamily="34" charset="0"/>
              <a:cs typeface="Arial" pitchFamily="34" charset="0"/>
            </a:endParaRPr>
          </a:p>
        </p:txBody>
      </p:sp>
      <p:sp>
        <p:nvSpPr>
          <p:cNvPr id="513" name="Прямоугольник 512"/>
          <p:cNvSpPr/>
          <p:nvPr/>
        </p:nvSpPr>
        <p:spPr>
          <a:xfrm>
            <a:off x="6853026" y="3038808"/>
            <a:ext cx="1908081" cy="873316"/>
          </a:xfrm>
          <a:prstGeom prst="rect">
            <a:avLst/>
          </a:prstGeom>
          <a:noFill/>
        </p:spPr>
        <p:txBody>
          <a:bodyPr wrap="square">
            <a:spAutoFit/>
          </a:bodyPr>
          <a:lstStyle/>
          <a:p>
            <a:pPr defTabSz="844083" fontAlgn="base">
              <a:spcBef>
                <a:spcPct val="0"/>
              </a:spcBef>
              <a:spcAft>
                <a:spcPct val="0"/>
              </a:spcAft>
              <a:defRPr/>
            </a:pPr>
            <a:r>
              <a:rPr lang="ru-RU" sz="1015" b="1" kern="0" spc="-18" dirty="0">
                <a:solidFill>
                  <a:srgbClr val="1286CE"/>
                </a:solidFill>
                <a:latin typeface="Arial" pitchFamily="34" charset="0"/>
                <a:cs typeface="Arial" pitchFamily="34" charset="0"/>
              </a:rPr>
              <a:t>АО «ЭЛЬКОНСКИЙ ГМК»</a:t>
            </a:r>
          </a:p>
          <a:p>
            <a:pPr defTabSz="844083" fontAlgn="base">
              <a:spcBef>
                <a:spcPct val="0"/>
              </a:spcBef>
              <a:spcAft>
                <a:spcPct val="0"/>
              </a:spcAft>
              <a:defRPr/>
            </a:pPr>
            <a:r>
              <a:rPr lang="ru-RU" sz="1015" b="1" kern="0" dirty="0">
                <a:solidFill>
                  <a:srgbClr val="000000"/>
                </a:solidFill>
                <a:latin typeface="Arial" pitchFamily="34" charset="0"/>
                <a:cs typeface="Arial" pitchFamily="34" charset="0"/>
              </a:rPr>
              <a:t>Проект «Северное»</a:t>
            </a:r>
          </a:p>
          <a:p>
            <a:pPr defTabSz="844083" fontAlgn="base">
              <a:spcBef>
                <a:spcPct val="0"/>
              </a:spcBef>
              <a:spcAft>
                <a:spcPct val="0"/>
              </a:spcAft>
              <a:defRPr/>
            </a:pPr>
            <a:r>
              <a:rPr lang="ru-RU" sz="1015" kern="0" dirty="0">
                <a:solidFill>
                  <a:srgbClr val="000000"/>
                </a:solidFill>
                <a:latin typeface="Arial" pitchFamily="34" charset="0"/>
                <a:cs typeface="Arial" pitchFamily="34" charset="0"/>
              </a:rPr>
              <a:t>Перспективный урановый проект «</a:t>
            </a:r>
            <a:r>
              <a:rPr lang="ru-RU" sz="1015" kern="0" dirty="0" err="1">
                <a:solidFill>
                  <a:srgbClr val="000000"/>
                </a:solidFill>
                <a:latin typeface="Arial" pitchFamily="34" charset="0"/>
                <a:cs typeface="Arial" pitchFamily="34" charset="0"/>
              </a:rPr>
              <a:t>Элькон</a:t>
            </a:r>
            <a:r>
              <a:rPr lang="ru-RU" sz="1015" kern="0" dirty="0">
                <a:solidFill>
                  <a:srgbClr val="000000"/>
                </a:solidFill>
                <a:latin typeface="Arial" pitchFamily="34" charset="0"/>
                <a:cs typeface="Arial" pitchFamily="34" charset="0"/>
              </a:rPr>
              <a:t>»</a:t>
            </a:r>
          </a:p>
          <a:p>
            <a:pPr defTabSz="844083" fontAlgn="base">
              <a:spcBef>
                <a:spcPct val="0"/>
              </a:spcBef>
              <a:spcAft>
                <a:spcPct val="0"/>
              </a:spcAft>
              <a:defRPr/>
            </a:pPr>
            <a:endParaRPr lang="ru-RU" sz="1015" b="1" kern="0" dirty="0">
              <a:solidFill>
                <a:srgbClr val="000000"/>
              </a:solidFill>
              <a:latin typeface="Arial" pitchFamily="34" charset="0"/>
              <a:cs typeface="Arial" pitchFamily="34" charset="0"/>
            </a:endParaRPr>
          </a:p>
        </p:txBody>
      </p:sp>
      <p:sp>
        <p:nvSpPr>
          <p:cNvPr id="360" name="Овал 359"/>
          <p:cNvSpPr/>
          <p:nvPr/>
        </p:nvSpPr>
        <p:spPr>
          <a:xfrm rot="799934">
            <a:off x="6591044" y="3499168"/>
            <a:ext cx="245663" cy="232791"/>
          </a:xfrm>
          <a:prstGeom prst="ellipse">
            <a:avLst/>
          </a:prstGeom>
          <a:pattFill prst="ltUpDiag">
            <a:fgClr>
              <a:srgbClr val="62BFEE"/>
            </a:fgClr>
            <a:bgClr>
              <a:schemeClr val="bg1"/>
            </a:bgClr>
          </a:pattFill>
          <a:ln w="3175" cap="flat" cmpd="sng" algn="ctr">
            <a:solidFill>
              <a:srgbClr val="7FCBF1"/>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187" name="Rectangle 247"/>
          <p:cNvSpPr/>
          <p:nvPr/>
        </p:nvSpPr>
        <p:spPr>
          <a:xfrm>
            <a:off x="2227695" y="3781124"/>
            <a:ext cx="1463997" cy="717119"/>
          </a:xfrm>
          <a:prstGeom prst="rect">
            <a:avLst/>
          </a:prstGeom>
        </p:spPr>
        <p:txBody>
          <a:bodyPr wrap="square">
            <a:spAutoFit/>
          </a:bodyPr>
          <a:lstStyle/>
          <a:p>
            <a:pPr defTabSz="844083" fontAlgn="base">
              <a:spcBef>
                <a:spcPct val="0"/>
              </a:spcBef>
              <a:spcAft>
                <a:spcPct val="0"/>
              </a:spcAft>
              <a:defRPr/>
            </a:pPr>
            <a:r>
              <a:rPr lang="ru-RU" sz="1015" b="1" kern="0" spc="-28" dirty="0">
                <a:solidFill>
                  <a:srgbClr val="1286CE"/>
                </a:solidFill>
                <a:latin typeface="Arial" pitchFamily="34" charset="0"/>
                <a:cs typeface="Arial" pitchFamily="34" charset="0"/>
              </a:rPr>
              <a:t>АО «ДАЛУР»</a:t>
            </a:r>
          </a:p>
          <a:p>
            <a:pPr defTabSz="844083" fontAlgn="base">
              <a:spcBef>
                <a:spcPct val="0"/>
              </a:spcBef>
              <a:spcAft>
                <a:spcPct val="0"/>
              </a:spcAft>
              <a:defRPr/>
            </a:pPr>
            <a:r>
              <a:rPr lang="ru-RU" sz="1015" b="1" kern="0" dirty="0">
                <a:solidFill>
                  <a:srgbClr val="000000"/>
                </a:solidFill>
                <a:latin typeface="Arial" pitchFamily="34" charset="0"/>
                <a:cs typeface="Arial" pitchFamily="34" charset="0"/>
              </a:rPr>
              <a:t>Добыча урана методом СПВ</a:t>
            </a:r>
            <a:endParaRPr lang="en-US" sz="1015" b="1" kern="0" dirty="0">
              <a:solidFill>
                <a:srgbClr val="000000"/>
              </a:solidFill>
              <a:latin typeface="Arial" pitchFamily="34" charset="0"/>
              <a:cs typeface="Arial" pitchFamily="34" charset="0"/>
            </a:endParaRPr>
          </a:p>
          <a:p>
            <a:pPr defTabSz="844083" fontAlgn="base">
              <a:spcBef>
                <a:spcPct val="0"/>
              </a:spcBef>
              <a:spcAft>
                <a:spcPct val="0"/>
              </a:spcAft>
              <a:defRPr/>
            </a:pPr>
            <a:r>
              <a:rPr lang="ru-RU" sz="1015" b="1" kern="0" dirty="0">
                <a:solidFill>
                  <a:srgbClr val="000000"/>
                </a:solidFill>
                <a:latin typeface="Arial" pitchFamily="34" charset="0"/>
                <a:cs typeface="Arial" pitchFamily="34" charset="0"/>
              </a:rPr>
              <a:t>Проект «Скандий»</a:t>
            </a:r>
          </a:p>
        </p:txBody>
      </p:sp>
      <p:sp>
        <p:nvSpPr>
          <p:cNvPr id="357" name="Овал 356"/>
          <p:cNvSpPr/>
          <p:nvPr/>
        </p:nvSpPr>
        <p:spPr>
          <a:xfrm rot="799934">
            <a:off x="4391363" y="3934588"/>
            <a:ext cx="245663" cy="232791"/>
          </a:xfrm>
          <a:prstGeom prst="ellipse">
            <a:avLst/>
          </a:prstGeom>
          <a:solidFill>
            <a:srgbClr val="758297"/>
          </a:solidFill>
          <a:ln w="3175" cap="flat" cmpd="sng" algn="ctr">
            <a:solidFill>
              <a:srgbClr val="758297"/>
            </a:solidFill>
            <a:prstDash val="solid"/>
          </a:ln>
          <a:effectLst/>
        </p:spPr>
        <p:txBody>
          <a:bodyPr rtlCol="0" anchor="ctr"/>
          <a:lstStyle/>
          <a:p>
            <a:pPr algn="ctr" defTabSz="844083"/>
            <a:endParaRPr lang="ru-RU" sz="831" kern="0">
              <a:solidFill>
                <a:srgbClr val="FFFFFF"/>
              </a:solidFill>
              <a:latin typeface="Arial" pitchFamily="34" charset="0"/>
              <a:cs typeface="Arial" pitchFamily="34" charset="0"/>
            </a:endParaRPr>
          </a:p>
        </p:txBody>
      </p:sp>
      <p:sp>
        <p:nvSpPr>
          <p:cNvPr id="186" name="Прямоугольник 185"/>
          <p:cNvSpPr/>
          <p:nvPr/>
        </p:nvSpPr>
        <p:spPr>
          <a:xfrm>
            <a:off x="3851402" y="1973708"/>
            <a:ext cx="2049643" cy="560923"/>
          </a:xfrm>
          <a:prstGeom prst="rect">
            <a:avLst/>
          </a:prstGeom>
          <a:noFill/>
        </p:spPr>
        <p:txBody>
          <a:bodyPr wrap="square">
            <a:spAutoFit/>
          </a:bodyPr>
          <a:lstStyle/>
          <a:p>
            <a:pPr defTabSz="844083" fontAlgn="base">
              <a:spcBef>
                <a:spcPct val="0"/>
              </a:spcBef>
              <a:spcAft>
                <a:spcPct val="0"/>
              </a:spcAft>
              <a:defRPr/>
            </a:pPr>
            <a:r>
              <a:rPr lang="ru-RU" sz="1015" b="1" kern="0" dirty="0">
                <a:solidFill>
                  <a:srgbClr val="1286CE"/>
                </a:solidFill>
                <a:latin typeface="Arial" pitchFamily="34" charset="0"/>
                <a:cs typeface="Arial" pitchFamily="34" charset="0"/>
              </a:rPr>
              <a:t>АО «ПЕРВАЯ ГОРНОРУДНАЯ КОМПАНИЯ»</a:t>
            </a:r>
          </a:p>
          <a:p>
            <a:pPr defTabSz="844083" fontAlgn="base">
              <a:spcBef>
                <a:spcPct val="0"/>
              </a:spcBef>
              <a:spcAft>
                <a:spcPct val="0"/>
              </a:spcAft>
              <a:defRPr/>
            </a:pPr>
            <a:r>
              <a:rPr lang="ru-RU" sz="1015" b="1" kern="0" dirty="0">
                <a:solidFill>
                  <a:prstClr val="black"/>
                </a:solidFill>
                <a:latin typeface="Arial" pitchFamily="34" charset="0"/>
                <a:cs typeface="Arial" pitchFamily="34" charset="0"/>
              </a:rPr>
              <a:t>Проект «Павловское»</a:t>
            </a:r>
          </a:p>
        </p:txBody>
      </p:sp>
      <p:sp>
        <p:nvSpPr>
          <p:cNvPr id="370" name="Овал 369"/>
          <p:cNvSpPr/>
          <p:nvPr/>
        </p:nvSpPr>
        <p:spPr>
          <a:xfrm rot="799934">
            <a:off x="1959341" y="2970709"/>
            <a:ext cx="245663" cy="232791"/>
          </a:xfrm>
          <a:prstGeom prst="ellipse">
            <a:avLst/>
          </a:prstGeom>
          <a:solidFill>
            <a:schemeClr val="bg1">
              <a:lumMod val="85000"/>
            </a:schemeClr>
          </a:solidFill>
          <a:ln w="3175" cap="flat" cmpd="sng" algn="ctr">
            <a:solidFill>
              <a:schemeClr val="bg1">
                <a:lumMod val="75000"/>
              </a:schemeClr>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200" name="Овал 199"/>
          <p:cNvSpPr/>
          <p:nvPr/>
        </p:nvSpPr>
        <p:spPr>
          <a:xfrm rot="799934">
            <a:off x="3429034" y="3893942"/>
            <a:ext cx="245663" cy="232791"/>
          </a:xfrm>
          <a:prstGeom prst="ellipse">
            <a:avLst/>
          </a:prstGeom>
          <a:solidFill>
            <a:srgbClr val="758297"/>
          </a:solidFill>
          <a:ln w="3175" cap="flat" cmpd="sng" algn="ctr">
            <a:solidFill>
              <a:srgbClr val="758297"/>
            </a:solidFill>
            <a:prstDash val="solid"/>
          </a:ln>
          <a:effectLst/>
        </p:spPr>
        <p:txBody>
          <a:bodyPr rtlCol="0" anchor="ctr"/>
          <a:lstStyle/>
          <a:p>
            <a:pPr algn="ctr" defTabSz="844083"/>
            <a:endParaRPr lang="ru-RU" sz="831" kern="0">
              <a:solidFill>
                <a:srgbClr val="FFFFFF"/>
              </a:solidFill>
              <a:latin typeface="Arial" pitchFamily="34" charset="0"/>
              <a:cs typeface="Arial" pitchFamily="34" charset="0"/>
            </a:endParaRPr>
          </a:p>
        </p:txBody>
      </p:sp>
      <p:sp>
        <p:nvSpPr>
          <p:cNvPr id="353" name="Овал 352"/>
          <p:cNvSpPr/>
          <p:nvPr/>
        </p:nvSpPr>
        <p:spPr>
          <a:xfrm rot="799934">
            <a:off x="3274297" y="3894559"/>
            <a:ext cx="245663" cy="232791"/>
          </a:xfrm>
          <a:prstGeom prst="ellipse">
            <a:avLst/>
          </a:prstGeom>
          <a:solidFill>
            <a:srgbClr val="62BFEE"/>
          </a:solidFill>
          <a:ln w="19050" cap="flat" cmpd="sng" algn="ctr">
            <a:noFill/>
            <a:prstDash val="solid"/>
          </a:ln>
          <a:effectLst/>
        </p:spPr>
        <p:txBody>
          <a:bodyPr rtlCol="0" anchor="ctr"/>
          <a:lstStyle/>
          <a:p>
            <a:pPr algn="ctr" defTabSz="844083"/>
            <a:endParaRPr lang="ru-RU" sz="1662" kern="0" dirty="0">
              <a:solidFill>
                <a:srgbClr val="FFFFFF"/>
              </a:solidFill>
              <a:latin typeface="Arial" pitchFamily="34" charset="0"/>
              <a:cs typeface="Arial" pitchFamily="34" charset="0"/>
            </a:endParaRPr>
          </a:p>
        </p:txBody>
      </p:sp>
      <p:sp>
        <p:nvSpPr>
          <p:cNvPr id="384" name="Овал 383"/>
          <p:cNvSpPr/>
          <p:nvPr/>
        </p:nvSpPr>
        <p:spPr>
          <a:xfrm rot="799934">
            <a:off x="7500635" y="1500262"/>
            <a:ext cx="245663" cy="232791"/>
          </a:xfrm>
          <a:prstGeom prst="ellipse">
            <a:avLst/>
          </a:prstGeom>
          <a:pattFill prst="dkUpDiag">
            <a:fgClr>
              <a:srgbClr val="EFE59B"/>
            </a:fgClr>
            <a:bgClr>
              <a:schemeClr val="bg1"/>
            </a:bgClr>
          </a:pattFill>
          <a:ln w="3175" cap="flat" cmpd="sng" algn="ctr">
            <a:solidFill>
              <a:srgbClr val="EADD7A"/>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5" name="Прямоугольник 4"/>
          <p:cNvSpPr/>
          <p:nvPr/>
        </p:nvSpPr>
        <p:spPr>
          <a:xfrm>
            <a:off x="3417735" y="7336166"/>
            <a:ext cx="2610090" cy="8888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44083"/>
            <a:endParaRPr lang="ru-RU" sz="1662">
              <a:solidFill>
                <a:prstClr val="white"/>
              </a:solidFill>
              <a:latin typeface="Calibri" panose="020F0502020204030204"/>
            </a:endParaRPr>
          </a:p>
        </p:txBody>
      </p:sp>
      <p:sp>
        <p:nvSpPr>
          <p:cNvPr id="205" name="Овал 204"/>
          <p:cNvSpPr/>
          <p:nvPr/>
        </p:nvSpPr>
        <p:spPr>
          <a:xfrm rot="799934">
            <a:off x="614506" y="5812313"/>
            <a:ext cx="245663" cy="232791"/>
          </a:xfrm>
          <a:prstGeom prst="ellipse">
            <a:avLst/>
          </a:prstGeom>
          <a:pattFill prst="dkUpDiag">
            <a:fgClr>
              <a:srgbClr val="758297"/>
            </a:fgClr>
            <a:bgClr>
              <a:schemeClr val="bg1"/>
            </a:bgClr>
          </a:pattFill>
          <a:ln w="3175" cap="flat" cmpd="sng" algn="ctr">
            <a:solidFill>
              <a:srgbClr val="ABABB5"/>
            </a:solidFill>
            <a:prstDash val="solid"/>
          </a:ln>
          <a:effectLst/>
        </p:spPr>
        <p:txBody>
          <a:bodyPr rtlCol="0" anchor="ctr"/>
          <a:lstStyle/>
          <a:p>
            <a:pPr algn="ctr" defTabSz="844083"/>
            <a:endParaRPr lang="ru-RU" sz="831" kern="0">
              <a:solidFill>
                <a:srgbClr val="FFFFFF"/>
              </a:solidFill>
              <a:latin typeface="Arial" pitchFamily="34" charset="0"/>
              <a:cs typeface="Arial" pitchFamily="34" charset="0"/>
            </a:endParaRPr>
          </a:p>
        </p:txBody>
      </p:sp>
      <p:sp>
        <p:nvSpPr>
          <p:cNvPr id="204" name="Овал 203"/>
          <p:cNvSpPr/>
          <p:nvPr/>
        </p:nvSpPr>
        <p:spPr>
          <a:xfrm rot="799934">
            <a:off x="629558" y="5518664"/>
            <a:ext cx="245663" cy="232791"/>
          </a:xfrm>
          <a:prstGeom prst="ellipse">
            <a:avLst/>
          </a:prstGeom>
          <a:pattFill prst="ltUpDiag">
            <a:fgClr>
              <a:srgbClr val="62BFEE"/>
            </a:fgClr>
            <a:bgClr>
              <a:schemeClr val="bg1"/>
            </a:bgClr>
          </a:pattFill>
          <a:ln w="3175" cap="flat" cmpd="sng" algn="ctr">
            <a:solidFill>
              <a:srgbClr val="7FCBF1"/>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171" name="Овал 170"/>
          <p:cNvSpPr/>
          <p:nvPr/>
        </p:nvSpPr>
        <p:spPr>
          <a:xfrm rot="799934">
            <a:off x="437147" y="5831190"/>
            <a:ext cx="245663" cy="232791"/>
          </a:xfrm>
          <a:prstGeom prst="ellipse">
            <a:avLst/>
          </a:prstGeom>
          <a:solidFill>
            <a:srgbClr val="758297"/>
          </a:solidFill>
          <a:ln w="3175" cap="flat" cmpd="sng" algn="ctr">
            <a:solidFill>
              <a:srgbClr val="758297"/>
            </a:solidFill>
            <a:prstDash val="solid"/>
          </a:ln>
          <a:effectLst/>
        </p:spPr>
        <p:txBody>
          <a:bodyPr rtlCol="0" anchor="ctr"/>
          <a:lstStyle/>
          <a:p>
            <a:pPr algn="ctr" defTabSz="844083"/>
            <a:endParaRPr lang="ru-RU" sz="831" kern="0">
              <a:solidFill>
                <a:srgbClr val="FFFFFF"/>
              </a:solidFill>
              <a:latin typeface="Arial" pitchFamily="34" charset="0"/>
              <a:cs typeface="Arial" pitchFamily="34" charset="0"/>
            </a:endParaRPr>
          </a:p>
        </p:txBody>
      </p:sp>
      <p:sp>
        <p:nvSpPr>
          <p:cNvPr id="172" name="TextBox 171"/>
          <p:cNvSpPr txBox="1"/>
          <p:nvPr/>
        </p:nvSpPr>
        <p:spPr>
          <a:xfrm>
            <a:off x="881476" y="5517472"/>
            <a:ext cx="1410254" cy="223722"/>
          </a:xfrm>
          <a:prstGeom prst="rect">
            <a:avLst/>
          </a:prstGeom>
          <a:noFill/>
        </p:spPr>
        <p:txBody>
          <a:bodyPr wrap="square" lIns="84397" tIns="42199" rIns="84397" bIns="42199" rtlCol="0">
            <a:spAutoFit/>
          </a:bodyPr>
          <a:lstStyle/>
          <a:p>
            <a:pPr defTabSz="844083" fontAlgn="base">
              <a:spcBef>
                <a:spcPct val="0"/>
              </a:spcBef>
              <a:spcAft>
                <a:spcPts val="1108"/>
              </a:spcAft>
              <a:defRPr/>
            </a:pPr>
            <a:r>
              <a:rPr lang="ru-RU" sz="900" kern="0" dirty="0">
                <a:solidFill>
                  <a:srgbClr val="000000"/>
                </a:solidFill>
                <a:latin typeface="Arial" pitchFamily="34" charset="0"/>
                <a:cs typeface="Arial" pitchFamily="34" charset="0"/>
              </a:rPr>
              <a:t>Добыча урана </a:t>
            </a:r>
          </a:p>
        </p:txBody>
      </p:sp>
      <p:sp>
        <p:nvSpPr>
          <p:cNvPr id="173" name="Прямоугольник 172"/>
          <p:cNvSpPr/>
          <p:nvPr/>
        </p:nvSpPr>
        <p:spPr>
          <a:xfrm>
            <a:off x="321435" y="5179108"/>
            <a:ext cx="2859964" cy="253916"/>
          </a:xfrm>
          <a:prstGeom prst="rect">
            <a:avLst/>
          </a:prstGeom>
        </p:spPr>
        <p:txBody>
          <a:bodyPr wrap="square">
            <a:spAutoFit/>
          </a:bodyPr>
          <a:lstStyle/>
          <a:p>
            <a:pPr defTabSz="844083" fontAlgn="base">
              <a:spcBef>
                <a:spcPct val="0"/>
              </a:spcBef>
              <a:spcAft>
                <a:spcPct val="0"/>
              </a:spcAft>
              <a:defRPr/>
            </a:pPr>
            <a:r>
              <a:rPr lang="ru-RU" sz="1050" b="1" dirty="0">
                <a:solidFill>
                  <a:srgbClr val="1E1C1C"/>
                </a:solidFill>
                <a:latin typeface="Arial" pitchFamily="34" charset="0"/>
                <a:cs typeface="Arial" pitchFamily="34" charset="0"/>
              </a:rPr>
              <a:t>Действующие и планируемые проекты</a:t>
            </a:r>
            <a:r>
              <a:rPr lang="ru-RU" sz="1050" b="1" baseline="30000" dirty="0">
                <a:solidFill>
                  <a:srgbClr val="1E1C1C"/>
                </a:solidFill>
                <a:latin typeface="Arial" pitchFamily="34" charset="0"/>
                <a:cs typeface="Arial" pitchFamily="34" charset="0"/>
              </a:rPr>
              <a:t>1</a:t>
            </a:r>
            <a:endParaRPr lang="ru-RU" sz="1050" b="1" dirty="0">
              <a:solidFill>
                <a:srgbClr val="1E1C1C"/>
              </a:solidFill>
              <a:latin typeface="Arial" pitchFamily="34" charset="0"/>
              <a:cs typeface="Arial" pitchFamily="34" charset="0"/>
            </a:endParaRPr>
          </a:p>
        </p:txBody>
      </p:sp>
      <p:sp>
        <p:nvSpPr>
          <p:cNvPr id="201" name="Овал 200"/>
          <p:cNvSpPr/>
          <p:nvPr/>
        </p:nvSpPr>
        <p:spPr>
          <a:xfrm rot="799934">
            <a:off x="437148" y="5511719"/>
            <a:ext cx="245663" cy="232791"/>
          </a:xfrm>
          <a:prstGeom prst="ellipse">
            <a:avLst/>
          </a:prstGeom>
          <a:solidFill>
            <a:srgbClr val="62BFEE"/>
          </a:solidFill>
          <a:ln w="19050" cap="flat" cmpd="sng" algn="ctr">
            <a:noFill/>
            <a:prstDash val="solid"/>
          </a:ln>
          <a:effectLst/>
        </p:spPr>
        <p:txBody>
          <a:bodyPr rtlCol="0" anchor="ctr"/>
          <a:lstStyle/>
          <a:p>
            <a:pPr algn="ctr" defTabSz="844083"/>
            <a:endParaRPr lang="ru-RU" sz="1662" kern="0" dirty="0">
              <a:solidFill>
                <a:srgbClr val="FFFFFF"/>
              </a:solidFill>
              <a:latin typeface="Arial" pitchFamily="34" charset="0"/>
              <a:cs typeface="Arial" pitchFamily="34" charset="0"/>
            </a:endParaRPr>
          </a:p>
        </p:txBody>
      </p:sp>
      <p:sp>
        <p:nvSpPr>
          <p:cNvPr id="202" name="TextBox 201"/>
          <p:cNvSpPr txBox="1"/>
          <p:nvPr/>
        </p:nvSpPr>
        <p:spPr>
          <a:xfrm>
            <a:off x="853014" y="5773907"/>
            <a:ext cx="1410254" cy="362221"/>
          </a:xfrm>
          <a:prstGeom prst="rect">
            <a:avLst/>
          </a:prstGeom>
          <a:noFill/>
        </p:spPr>
        <p:txBody>
          <a:bodyPr wrap="square" lIns="84397" tIns="42199" rIns="84397" bIns="42199" rtlCol="0">
            <a:spAutoFit/>
          </a:bodyPr>
          <a:lstStyle/>
          <a:p>
            <a:pPr defTabSz="844083" fontAlgn="base">
              <a:spcBef>
                <a:spcPct val="0"/>
              </a:spcBef>
              <a:spcAft>
                <a:spcPts val="1108"/>
              </a:spcAft>
              <a:defRPr/>
            </a:pPr>
            <a:r>
              <a:rPr lang="ru-RU" sz="900" kern="0" dirty="0">
                <a:solidFill>
                  <a:srgbClr val="000000"/>
                </a:solidFill>
                <a:latin typeface="Arial" pitchFamily="34" charset="0"/>
                <a:cs typeface="Arial" pitchFamily="34" charset="0"/>
              </a:rPr>
              <a:t>Добыча и переработка РМ и РЗМ</a:t>
            </a:r>
          </a:p>
        </p:txBody>
      </p:sp>
      <p:sp>
        <p:nvSpPr>
          <p:cNvPr id="206" name="Овал 205"/>
          <p:cNvSpPr/>
          <p:nvPr/>
        </p:nvSpPr>
        <p:spPr>
          <a:xfrm rot="799934">
            <a:off x="2728698" y="5532495"/>
            <a:ext cx="245663" cy="232791"/>
          </a:xfrm>
          <a:prstGeom prst="ellipse">
            <a:avLst/>
          </a:prstGeom>
          <a:pattFill prst="dkUpDiag">
            <a:fgClr>
              <a:srgbClr val="EFE59B"/>
            </a:fgClr>
            <a:bgClr>
              <a:schemeClr val="bg1"/>
            </a:bgClr>
          </a:pattFill>
          <a:ln w="3175" cap="flat" cmpd="sng" algn="ctr">
            <a:solidFill>
              <a:srgbClr val="EADD7A"/>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209" name="Овал 208"/>
          <p:cNvSpPr/>
          <p:nvPr/>
        </p:nvSpPr>
        <p:spPr>
          <a:xfrm rot="799934">
            <a:off x="2718523" y="5854989"/>
            <a:ext cx="245663" cy="232791"/>
          </a:xfrm>
          <a:prstGeom prst="ellipse">
            <a:avLst/>
          </a:prstGeom>
          <a:pattFill prst="dkUpDiag">
            <a:fgClr>
              <a:schemeClr val="bg1">
                <a:lumMod val="85000"/>
              </a:schemeClr>
            </a:fgClr>
            <a:bgClr>
              <a:schemeClr val="bg1"/>
            </a:bgClr>
          </a:pattFill>
          <a:ln w="3175" cap="flat" cmpd="sng" algn="ctr">
            <a:solidFill>
              <a:srgbClr val="ABABB5"/>
            </a:solidFill>
            <a:prstDash val="solid"/>
          </a:ln>
          <a:effectLst/>
        </p:spPr>
        <p:txBody>
          <a:bodyPr rtlCol="0" anchor="ctr"/>
          <a:lstStyle/>
          <a:p>
            <a:pPr algn="ctr" defTabSz="844083"/>
            <a:endParaRPr lang="ru-RU" sz="831" kern="0">
              <a:solidFill>
                <a:srgbClr val="FFFFFF"/>
              </a:solidFill>
              <a:latin typeface="Arial" pitchFamily="34" charset="0"/>
              <a:cs typeface="Arial" pitchFamily="34" charset="0"/>
            </a:endParaRPr>
          </a:p>
        </p:txBody>
      </p:sp>
      <p:sp>
        <p:nvSpPr>
          <p:cNvPr id="203" name="Овал 202"/>
          <p:cNvSpPr/>
          <p:nvPr/>
        </p:nvSpPr>
        <p:spPr>
          <a:xfrm rot="799934">
            <a:off x="2534303" y="5532494"/>
            <a:ext cx="245663" cy="232791"/>
          </a:xfrm>
          <a:prstGeom prst="ellipse">
            <a:avLst/>
          </a:prstGeom>
          <a:solidFill>
            <a:srgbClr val="EFE59B"/>
          </a:solidFill>
          <a:ln w="9525" cap="flat" cmpd="sng" algn="ctr">
            <a:solidFill>
              <a:srgbClr val="EADD7A"/>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208" name="Овал 207"/>
          <p:cNvSpPr/>
          <p:nvPr/>
        </p:nvSpPr>
        <p:spPr>
          <a:xfrm rot="799934">
            <a:off x="2516070" y="5854990"/>
            <a:ext cx="245663" cy="232791"/>
          </a:xfrm>
          <a:prstGeom prst="ellipse">
            <a:avLst/>
          </a:prstGeom>
          <a:solidFill>
            <a:schemeClr val="bg1">
              <a:lumMod val="85000"/>
            </a:schemeClr>
          </a:solidFill>
          <a:ln w="3175" cap="flat" cmpd="sng" algn="ctr">
            <a:solidFill>
              <a:schemeClr val="bg1">
                <a:lumMod val="75000"/>
              </a:schemeClr>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207" name="TextBox 206"/>
          <p:cNvSpPr txBox="1"/>
          <p:nvPr/>
        </p:nvSpPr>
        <p:spPr>
          <a:xfrm>
            <a:off x="3043986" y="5522509"/>
            <a:ext cx="1410254" cy="223722"/>
          </a:xfrm>
          <a:prstGeom prst="rect">
            <a:avLst/>
          </a:prstGeom>
          <a:noFill/>
        </p:spPr>
        <p:txBody>
          <a:bodyPr wrap="square" lIns="84397" tIns="42199" rIns="84397" bIns="42199" rtlCol="0">
            <a:spAutoFit/>
          </a:bodyPr>
          <a:lstStyle/>
          <a:p>
            <a:pPr defTabSz="844083" fontAlgn="base">
              <a:spcBef>
                <a:spcPct val="0"/>
              </a:spcBef>
              <a:spcAft>
                <a:spcPts val="1108"/>
              </a:spcAft>
              <a:defRPr/>
            </a:pPr>
            <a:r>
              <a:rPr lang="ru-RU" sz="900" kern="0" dirty="0">
                <a:solidFill>
                  <a:srgbClr val="000000"/>
                </a:solidFill>
                <a:latin typeface="Arial" pitchFamily="34" charset="0"/>
                <a:cs typeface="Arial" pitchFamily="34" charset="0"/>
              </a:rPr>
              <a:t>Добыча золота</a:t>
            </a:r>
          </a:p>
        </p:txBody>
      </p:sp>
      <p:sp>
        <p:nvSpPr>
          <p:cNvPr id="210" name="TextBox 209"/>
          <p:cNvSpPr txBox="1"/>
          <p:nvPr/>
        </p:nvSpPr>
        <p:spPr>
          <a:xfrm>
            <a:off x="2993746" y="5805605"/>
            <a:ext cx="2434472" cy="362221"/>
          </a:xfrm>
          <a:prstGeom prst="rect">
            <a:avLst/>
          </a:prstGeom>
          <a:noFill/>
        </p:spPr>
        <p:txBody>
          <a:bodyPr wrap="square" lIns="84397" tIns="42199" rIns="84397" bIns="42199" rtlCol="0">
            <a:spAutoFit/>
          </a:bodyPr>
          <a:lstStyle/>
          <a:p>
            <a:pPr defTabSz="844083" fontAlgn="base">
              <a:spcBef>
                <a:spcPct val="0"/>
              </a:spcBef>
              <a:spcAft>
                <a:spcPts val="1108"/>
              </a:spcAft>
              <a:defRPr/>
            </a:pPr>
            <a:r>
              <a:rPr lang="ru-RU" sz="900" kern="0" dirty="0">
                <a:solidFill>
                  <a:srgbClr val="000000"/>
                </a:solidFill>
                <a:latin typeface="Arial" pitchFamily="34" charset="0"/>
                <a:cs typeface="Arial" pitchFamily="34" charset="0"/>
              </a:rPr>
              <a:t>Добыча и переработка прочих полезных ископаемых и сервисные активы</a:t>
            </a:r>
          </a:p>
        </p:txBody>
      </p:sp>
      <p:sp>
        <p:nvSpPr>
          <p:cNvPr id="393" name="Овал 392"/>
          <p:cNvSpPr/>
          <p:nvPr/>
        </p:nvSpPr>
        <p:spPr>
          <a:xfrm rot="799934">
            <a:off x="6516618" y="4371210"/>
            <a:ext cx="245663" cy="232791"/>
          </a:xfrm>
          <a:prstGeom prst="ellipse">
            <a:avLst/>
          </a:prstGeom>
          <a:pattFill prst="ltUpDiag">
            <a:fgClr>
              <a:srgbClr val="62BFEE"/>
            </a:fgClr>
            <a:bgClr>
              <a:schemeClr val="bg1"/>
            </a:bgClr>
          </a:pattFill>
          <a:ln w="3175" cap="flat" cmpd="sng" algn="ctr">
            <a:solidFill>
              <a:srgbClr val="7FCBF1"/>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354" name="Овал 353"/>
          <p:cNvSpPr/>
          <p:nvPr/>
        </p:nvSpPr>
        <p:spPr>
          <a:xfrm rot="799934">
            <a:off x="6324006" y="4373279"/>
            <a:ext cx="245663" cy="232791"/>
          </a:xfrm>
          <a:prstGeom prst="ellipse">
            <a:avLst/>
          </a:prstGeom>
          <a:solidFill>
            <a:srgbClr val="62BFEE"/>
          </a:solidFill>
          <a:ln w="19050" cap="flat" cmpd="sng" algn="ctr">
            <a:noFill/>
            <a:prstDash val="solid"/>
          </a:ln>
          <a:effectLst/>
        </p:spPr>
        <p:txBody>
          <a:bodyPr rtlCol="0" anchor="ctr"/>
          <a:lstStyle/>
          <a:p>
            <a:pPr algn="ctr" defTabSz="844083"/>
            <a:endParaRPr lang="ru-RU" sz="1662" kern="0" dirty="0">
              <a:solidFill>
                <a:srgbClr val="FFFFFF"/>
              </a:solidFill>
              <a:latin typeface="Arial" pitchFamily="34" charset="0"/>
              <a:cs typeface="Arial" pitchFamily="34" charset="0"/>
            </a:endParaRPr>
          </a:p>
        </p:txBody>
      </p:sp>
      <p:sp>
        <p:nvSpPr>
          <p:cNvPr id="211" name="Овал 210"/>
          <p:cNvSpPr/>
          <p:nvPr/>
        </p:nvSpPr>
        <p:spPr>
          <a:xfrm rot="799934">
            <a:off x="6351868" y="4616251"/>
            <a:ext cx="245663" cy="232791"/>
          </a:xfrm>
          <a:prstGeom prst="ellipse">
            <a:avLst/>
          </a:prstGeom>
          <a:solidFill>
            <a:schemeClr val="bg1">
              <a:lumMod val="85000"/>
            </a:schemeClr>
          </a:solidFill>
          <a:ln w="3175" cap="flat" cmpd="sng" algn="ctr">
            <a:solidFill>
              <a:schemeClr val="bg1">
                <a:lumMod val="75000"/>
              </a:schemeClr>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366" name="Rectangle 247"/>
          <p:cNvSpPr/>
          <p:nvPr/>
        </p:nvSpPr>
        <p:spPr>
          <a:xfrm>
            <a:off x="478806" y="3017718"/>
            <a:ext cx="2448913" cy="415498"/>
          </a:xfrm>
          <a:prstGeom prst="rect">
            <a:avLst/>
          </a:prstGeom>
        </p:spPr>
        <p:txBody>
          <a:bodyPr wrap="square">
            <a:spAutoFit/>
          </a:bodyPr>
          <a:lstStyle/>
          <a:p>
            <a:pPr defTabSz="844083" fontAlgn="base">
              <a:spcBef>
                <a:spcPct val="0"/>
              </a:spcBef>
              <a:spcAft>
                <a:spcPct val="0"/>
              </a:spcAft>
              <a:defRPr/>
            </a:pPr>
            <a:r>
              <a:rPr lang="ru-RU" sz="1015" b="1" kern="0" spc="-28" dirty="0">
                <a:solidFill>
                  <a:srgbClr val="1286CE"/>
                </a:solidFill>
                <a:latin typeface="Arial" pitchFamily="34" charset="0"/>
                <a:cs typeface="Arial" pitchFamily="34" charset="0"/>
              </a:rPr>
              <a:t>АО «РУСБУРМАШ»</a:t>
            </a:r>
          </a:p>
          <a:p>
            <a:pPr fontAlgn="base">
              <a:spcBef>
                <a:spcPct val="0"/>
              </a:spcBef>
              <a:spcAft>
                <a:spcPct val="0"/>
              </a:spcAft>
              <a:defRPr/>
            </a:pPr>
            <a:r>
              <a:rPr lang="ru-RU" sz="1000" kern="0" dirty="0">
                <a:solidFill>
                  <a:srgbClr val="000000"/>
                </a:solidFill>
                <a:latin typeface="Arial" panose="020B0604020202020204" pitchFamily="34" charset="0"/>
                <a:cs typeface="Arial" panose="020B0604020202020204" pitchFamily="34" charset="0"/>
              </a:rPr>
              <a:t>Услуги геологоразведки и бурения </a:t>
            </a:r>
            <a:endParaRPr lang="ru-RU" sz="1000" b="1" kern="0" spc="-28" dirty="0">
              <a:solidFill>
                <a:srgbClr val="003274"/>
              </a:solidFill>
              <a:latin typeface="Arial" pitchFamily="34" charset="0"/>
              <a:cs typeface="Arial" pitchFamily="34" charset="0"/>
            </a:endParaRPr>
          </a:p>
        </p:txBody>
      </p:sp>
      <p:sp>
        <p:nvSpPr>
          <p:cNvPr id="367" name="Rectangle 247"/>
          <p:cNvSpPr/>
          <p:nvPr/>
        </p:nvSpPr>
        <p:spPr>
          <a:xfrm>
            <a:off x="467544" y="3375268"/>
            <a:ext cx="2248926" cy="556306"/>
          </a:xfrm>
          <a:prstGeom prst="rect">
            <a:avLst/>
          </a:prstGeom>
        </p:spPr>
        <p:txBody>
          <a:bodyPr wrap="square">
            <a:spAutoFit/>
          </a:bodyPr>
          <a:lstStyle/>
          <a:p>
            <a:pPr fontAlgn="base">
              <a:spcBef>
                <a:spcPct val="0"/>
              </a:spcBef>
              <a:spcAft>
                <a:spcPct val="0"/>
              </a:spcAft>
              <a:defRPr/>
            </a:pPr>
            <a:r>
              <a:rPr lang="ru-RU" sz="1015" b="1" kern="0" spc="-28" dirty="0">
                <a:solidFill>
                  <a:srgbClr val="1286CE"/>
                </a:solidFill>
                <a:latin typeface="Arial" pitchFamily="34" charset="0"/>
                <a:cs typeface="Arial" pitchFamily="34" charset="0"/>
              </a:rPr>
              <a:t>АО «ВНИПИПРОМТЕХНОЛОГИИ»</a:t>
            </a:r>
          </a:p>
          <a:p>
            <a:pPr fontAlgn="base">
              <a:spcBef>
                <a:spcPct val="0"/>
              </a:spcBef>
              <a:spcAft>
                <a:spcPct val="0"/>
              </a:spcAft>
              <a:defRPr/>
            </a:pPr>
            <a:r>
              <a:rPr lang="ru-RU" sz="1000" kern="0" dirty="0">
                <a:solidFill>
                  <a:srgbClr val="000000"/>
                </a:solidFill>
                <a:latin typeface="Arial" panose="020B0604020202020204" pitchFamily="34" charset="0"/>
                <a:cs typeface="Arial" panose="020B0604020202020204" pitchFamily="34" charset="0"/>
              </a:rPr>
              <a:t>Услуги инжиниринга и проектирования</a:t>
            </a:r>
            <a:endParaRPr lang="en-US" sz="1000" kern="0" dirty="0">
              <a:solidFill>
                <a:srgbClr val="000000"/>
              </a:solidFill>
              <a:latin typeface="Arial" panose="020B0604020202020204" pitchFamily="34" charset="0"/>
              <a:cs typeface="Arial" panose="020B0604020202020204" pitchFamily="34" charset="0"/>
            </a:endParaRPr>
          </a:p>
        </p:txBody>
      </p:sp>
      <p:sp>
        <p:nvSpPr>
          <p:cNvPr id="2" name="Rectangle 11"/>
          <p:cNvSpPr>
            <a:spLocks noChangeArrowheads="1"/>
          </p:cNvSpPr>
          <p:nvPr/>
        </p:nvSpPr>
        <p:spPr bwMode="auto">
          <a:xfrm>
            <a:off x="-3351805" y="-308350"/>
            <a:ext cx="806289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ru-RU"/>
          </a:p>
        </p:txBody>
      </p:sp>
      <p:sp>
        <p:nvSpPr>
          <p:cNvPr id="383" name="Прямоугольник 382"/>
          <p:cNvSpPr/>
          <p:nvPr/>
        </p:nvSpPr>
        <p:spPr>
          <a:xfrm>
            <a:off x="4112969" y="3660391"/>
            <a:ext cx="1633546" cy="248530"/>
          </a:xfrm>
          <a:prstGeom prst="rect">
            <a:avLst/>
          </a:prstGeom>
          <a:noFill/>
        </p:spPr>
        <p:txBody>
          <a:bodyPr wrap="square">
            <a:spAutoFit/>
          </a:bodyPr>
          <a:lstStyle/>
          <a:p>
            <a:pPr defTabSz="844083" fontAlgn="base">
              <a:spcBef>
                <a:spcPct val="0"/>
              </a:spcBef>
              <a:spcAft>
                <a:spcPct val="0"/>
              </a:spcAft>
              <a:defRPr/>
            </a:pPr>
            <a:r>
              <a:rPr lang="ru-RU" sz="1015" b="1" kern="0" spc="-28" dirty="0">
                <a:solidFill>
                  <a:srgbClr val="1286CE"/>
                </a:solidFill>
                <a:latin typeface="Arial" pitchFamily="34" charset="0"/>
                <a:cs typeface="Arial" pitchFamily="34" charset="0"/>
              </a:rPr>
              <a:t>АО «ТУГАНСКИЙ ГОК»</a:t>
            </a:r>
            <a:endParaRPr lang="en-US" sz="1015" b="1" kern="0" dirty="0">
              <a:solidFill>
                <a:srgbClr val="000000"/>
              </a:solidFill>
              <a:latin typeface="Arial" pitchFamily="34" charset="0"/>
              <a:cs typeface="Arial" pitchFamily="34" charset="0"/>
            </a:endParaRPr>
          </a:p>
        </p:txBody>
      </p:sp>
      <p:sp>
        <p:nvSpPr>
          <p:cNvPr id="386" name="Прямоугольник 385"/>
          <p:cNvSpPr/>
          <p:nvPr/>
        </p:nvSpPr>
        <p:spPr>
          <a:xfrm>
            <a:off x="7293984" y="1198414"/>
            <a:ext cx="1908081" cy="248530"/>
          </a:xfrm>
          <a:prstGeom prst="rect">
            <a:avLst/>
          </a:prstGeom>
          <a:noFill/>
        </p:spPr>
        <p:txBody>
          <a:bodyPr wrap="square">
            <a:spAutoFit/>
          </a:bodyPr>
          <a:lstStyle/>
          <a:p>
            <a:pPr defTabSz="844083" fontAlgn="base">
              <a:spcBef>
                <a:spcPct val="0"/>
              </a:spcBef>
              <a:spcAft>
                <a:spcPct val="0"/>
              </a:spcAft>
              <a:defRPr/>
            </a:pPr>
            <a:r>
              <a:rPr lang="ru-RU" sz="1015" b="1" kern="0" dirty="0">
                <a:solidFill>
                  <a:srgbClr val="000000"/>
                </a:solidFill>
                <a:latin typeface="Arial" pitchFamily="34" charset="0"/>
                <a:cs typeface="Arial" pitchFamily="34" charset="0"/>
              </a:rPr>
              <a:t>Проект «Совиное»</a:t>
            </a:r>
          </a:p>
        </p:txBody>
      </p:sp>
      <p:sp>
        <p:nvSpPr>
          <p:cNvPr id="188" name="Овал 187"/>
          <p:cNvSpPr/>
          <p:nvPr/>
        </p:nvSpPr>
        <p:spPr>
          <a:xfrm rot="799934">
            <a:off x="6583832" y="3359161"/>
            <a:ext cx="245663" cy="232791"/>
          </a:xfrm>
          <a:prstGeom prst="ellipse">
            <a:avLst/>
          </a:prstGeom>
          <a:solidFill>
            <a:srgbClr val="EFE59B"/>
          </a:solidFill>
          <a:ln w="9525" cap="flat" cmpd="sng" algn="ctr">
            <a:solidFill>
              <a:srgbClr val="EADD7A"/>
            </a:solidFill>
            <a:prstDash val="solid"/>
          </a:ln>
          <a:effectLst/>
        </p:spPr>
        <p:txBody>
          <a:bodyPr rtlCol="0" anchor="ctr"/>
          <a:lstStyle/>
          <a:p>
            <a:pPr algn="ctr" defTabSz="844083"/>
            <a:endParaRPr lang="ru-RU" sz="1662" kern="0">
              <a:solidFill>
                <a:srgbClr val="FFFFFF"/>
              </a:solidFill>
              <a:latin typeface="Arial" pitchFamily="34" charset="0"/>
              <a:cs typeface="Arial" pitchFamily="34" charset="0"/>
            </a:endParaRPr>
          </a:p>
        </p:txBody>
      </p:sp>
      <p:sp>
        <p:nvSpPr>
          <p:cNvPr id="191" name="Прямоугольник 190"/>
          <p:cNvSpPr/>
          <p:nvPr/>
        </p:nvSpPr>
        <p:spPr>
          <a:xfrm>
            <a:off x="214833" y="1093758"/>
            <a:ext cx="6000979" cy="615313"/>
          </a:xfrm>
          <a:prstGeom prst="rect">
            <a:avLst/>
          </a:prstGeom>
          <a:solidFill>
            <a:srgbClr val="E4EEF8"/>
          </a:solidFill>
          <a:ln w="9525" cap="flat" cmpd="sng" algn="ctr">
            <a:noFill/>
            <a:prstDash val="solid"/>
          </a:ln>
          <a:effectLst/>
        </p:spPr>
        <p:txBody>
          <a:bodyPr lIns="84397" tIns="42198" rIns="84397" bIns="42198" rtlCol="0" anchor="ctr"/>
          <a:lstStyle/>
          <a:p>
            <a:pPr algn="ctr" fontAlgn="base">
              <a:spcBef>
                <a:spcPct val="0"/>
              </a:spcBef>
              <a:spcAft>
                <a:spcPct val="0"/>
              </a:spcAft>
            </a:pPr>
            <a:endParaRPr lang="ru-RU" sz="1477" kern="0">
              <a:solidFill>
                <a:srgbClr val="000000"/>
              </a:solidFill>
              <a:latin typeface="Arial"/>
            </a:endParaRPr>
          </a:p>
        </p:txBody>
      </p:sp>
      <p:sp>
        <p:nvSpPr>
          <p:cNvPr id="192" name="Прямоугольник 191"/>
          <p:cNvSpPr/>
          <p:nvPr/>
        </p:nvSpPr>
        <p:spPr>
          <a:xfrm>
            <a:off x="180237" y="1158833"/>
            <a:ext cx="5965960" cy="5941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2962" fontAlgn="base">
              <a:spcBef>
                <a:spcPct val="0"/>
              </a:spcBef>
              <a:spcAft>
                <a:spcPct val="0"/>
              </a:spcAft>
              <a:defRPr/>
            </a:pPr>
            <a:r>
              <a:rPr lang="ru-RU" sz="1400" dirty="0">
                <a:solidFill>
                  <a:prstClr val="black"/>
                </a:solidFill>
                <a:latin typeface="Arial" panose="020B0604020202020204" pitchFamily="34" charset="0"/>
                <a:cs typeface="Arial" panose="020B0604020202020204" pitchFamily="34" charset="0"/>
              </a:rPr>
              <a:t>РЕАЛИЗУЕМЫЕ И ПЛАНИРУЕМЫЕ ПРОЕКТЫ В</a:t>
            </a:r>
            <a:r>
              <a:rPr lang="en-US" sz="1400" dirty="0">
                <a:solidFill>
                  <a:prstClr val="black"/>
                </a:solidFill>
                <a:latin typeface="Arial" panose="020B0604020202020204" pitchFamily="34" charset="0"/>
                <a:cs typeface="Arial" panose="020B0604020202020204" pitchFamily="34" charset="0"/>
              </a:rPr>
              <a:t> </a:t>
            </a:r>
            <a:r>
              <a:rPr lang="ru-RU" sz="1400" b="1" dirty="0">
                <a:solidFill>
                  <a:prstClr val="black"/>
                </a:solidFill>
                <a:latin typeface="Arial" panose="020B0604020202020204" pitchFamily="34" charset="0"/>
                <a:cs typeface="Arial" panose="020B0604020202020204" pitchFamily="34" charset="0"/>
              </a:rPr>
              <a:t>8 РЕГИОНАХ РОССИИ </a:t>
            </a:r>
            <a:r>
              <a:rPr lang="en-US" sz="1400" b="1" dirty="0">
                <a:solidFill>
                  <a:prstClr val="black"/>
                </a:solidFill>
                <a:latin typeface="Arial" panose="020B0604020202020204" pitchFamily="34" charset="0"/>
                <a:cs typeface="Arial" panose="020B0604020202020204" pitchFamily="34" charset="0"/>
              </a:rPr>
              <a:t> – </a:t>
            </a:r>
            <a:r>
              <a:rPr lang="ru-RU" sz="1400" dirty="0">
                <a:solidFill>
                  <a:prstClr val="black"/>
                </a:solidFill>
                <a:latin typeface="Arial" panose="020B0604020202020204" pitchFamily="34" charset="0"/>
                <a:cs typeface="Arial" panose="020B0604020202020204" pitchFamily="34" charset="0"/>
              </a:rPr>
              <a:t>ОТ ЗАБАЙКАЛЬСКОГО КРАЯ ДО НОВОЙ ЗЕМЛИ</a:t>
            </a:r>
          </a:p>
        </p:txBody>
      </p:sp>
    </p:spTree>
    <p:extLst>
      <p:ext uri="{BB962C8B-B14F-4D97-AF65-F5344CB8AC3E}">
        <p14:creationId xmlns:p14="http://schemas.microsoft.com/office/powerpoint/2010/main" val="142595106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Объект 11" hidden="1"/>
          <p:cNvGraphicFramePr>
            <a:graphicFrameLocks noChangeAspect="1"/>
          </p:cNvGraphicFramePr>
          <p:nvPr>
            <p:custDataLst>
              <p:tags r:id="rId1"/>
            </p:custDataLst>
          </p:nvPr>
        </p:nvGraphicFramePr>
        <p:xfrm>
          <a:off x="1894" y="1624"/>
          <a:ext cx="1619" cy="1619"/>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2" name="Объект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94"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Прямоугольник 4" hidden="1"/>
          <p:cNvSpPr/>
          <p:nvPr>
            <p:custDataLst>
              <p:tags r:id="rId2"/>
            </p:custDataLst>
          </p:nvPr>
        </p:nvSpPr>
        <p:spPr bwMode="auto">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u-RU" sz="1224" dirty="0">
              <a:solidFill>
                <a:schemeClr val="tx1"/>
              </a:solidFill>
              <a:latin typeface="Arial" panose="020B0604020202020204" pitchFamily="34" charset="0"/>
              <a:sym typeface="Arial" panose="020B0604020202020204" pitchFamily="34" charset="0"/>
            </a:endParaRPr>
          </a:p>
        </p:txBody>
      </p:sp>
      <p:sp>
        <p:nvSpPr>
          <p:cNvPr id="2" name="Заголовок 1"/>
          <p:cNvSpPr>
            <a:spLocks noGrp="1"/>
          </p:cNvSpPr>
          <p:nvPr>
            <p:ph type="title"/>
          </p:nvPr>
        </p:nvSpPr>
        <p:spPr>
          <a:xfrm>
            <a:off x="179512" y="244668"/>
            <a:ext cx="7941176" cy="469225"/>
          </a:xfrm>
        </p:spPr>
        <p:txBody>
          <a:bodyPr/>
          <a:lstStyle/>
          <a:p>
            <a:pPr defTabSz="990584">
              <a:lnSpc>
                <a:spcPct val="100000"/>
              </a:lnSpc>
              <a:defRPr/>
            </a:pPr>
            <a:r>
              <a:rPr lang="ru-RU" sz="2000" b="1" dirty="0">
                <a:solidFill>
                  <a:sysClr val="windowText" lastClr="000000"/>
                </a:solidFill>
                <a:latin typeface="Arial" panose="020B0604020202020204" pitchFamily="34" charset="0"/>
                <a:ea typeface="+mn-ea"/>
                <a:cs typeface="Arial" panose="020B0604020202020204" pitchFamily="34" charset="0"/>
              </a:rPr>
              <a:t>Ключевые предприятия по добыче урана </a:t>
            </a:r>
          </a:p>
        </p:txBody>
      </p:sp>
      <p:pic>
        <p:nvPicPr>
          <p:cNvPr id="33" name="Рисунок 32"/>
          <p:cNvPicPr/>
          <p:nvPr/>
        </p:nvPicPr>
        <p:blipFill>
          <a:blip r:embed="rId7" cstate="print"/>
          <a:srcRect l="28381" t="20513" r="29748" b="30484"/>
          <a:stretch>
            <a:fillRect/>
          </a:stretch>
        </p:blipFill>
        <p:spPr bwMode="auto">
          <a:xfrm>
            <a:off x="323528" y="1484196"/>
            <a:ext cx="2664296" cy="1728780"/>
          </a:xfrm>
          <a:prstGeom prst="rect">
            <a:avLst/>
          </a:prstGeom>
          <a:noFill/>
          <a:ln w="9525">
            <a:noFill/>
            <a:miter lim="800000"/>
            <a:headEnd/>
            <a:tailEnd/>
          </a:ln>
        </p:spPr>
      </p:pic>
      <p:sp>
        <p:nvSpPr>
          <p:cNvPr id="9" name="Прямоугольник 8"/>
          <p:cNvSpPr/>
          <p:nvPr/>
        </p:nvSpPr>
        <p:spPr>
          <a:xfrm>
            <a:off x="323528" y="1097364"/>
            <a:ext cx="2546176" cy="307777"/>
          </a:xfrm>
          <a:prstGeom prst="rect">
            <a:avLst/>
          </a:prstGeom>
          <a:noFill/>
        </p:spPr>
        <p:txBody>
          <a:bodyPr wrap="square" rIns="36000">
            <a:spAutoFit/>
          </a:bodyPr>
          <a:lstStyle/>
          <a:p>
            <a:pPr algn="ctr" defTabSz="932962" fontAlgn="base">
              <a:spcBef>
                <a:spcPct val="0"/>
              </a:spcBef>
              <a:spcAft>
                <a:spcPct val="0"/>
              </a:spcAft>
              <a:defRPr/>
            </a:pPr>
            <a:r>
              <a:rPr lang="ru-RU" sz="1400" b="1" dirty="0">
                <a:solidFill>
                  <a:prstClr val="black"/>
                </a:solidFill>
                <a:latin typeface="Arial" panose="020B0604020202020204" pitchFamily="34" charset="0"/>
                <a:cs typeface="Arial" panose="020B0604020202020204" pitchFamily="34" charset="0"/>
              </a:rPr>
              <a:t>ПАО «ППГХО»</a:t>
            </a:r>
            <a:endParaRPr lang="ru-RU" sz="1400" dirty="0">
              <a:solidFill>
                <a:prstClr val="black"/>
              </a:solidFill>
              <a:latin typeface="Arial" panose="020B0604020202020204" pitchFamily="34" charset="0"/>
              <a:cs typeface="Arial" panose="020B0604020202020204" pitchFamily="34" charset="0"/>
            </a:endParaRPr>
          </a:p>
        </p:txBody>
      </p:sp>
      <p:sp>
        <p:nvSpPr>
          <p:cNvPr id="10" name="Прямоугольник 9"/>
          <p:cNvSpPr/>
          <p:nvPr/>
        </p:nvSpPr>
        <p:spPr>
          <a:xfrm>
            <a:off x="3419872" y="1082082"/>
            <a:ext cx="2546176" cy="307777"/>
          </a:xfrm>
          <a:prstGeom prst="rect">
            <a:avLst/>
          </a:prstGeom>
          <a:noFill/>
        </p:spPr>
        <p:txBody>
          <a:bodyPr wrap="square" rIns="36000">
            <a:spAutoFit/>
          </a:bodyPr>
          <a:lstStyle/>
          <a:p>
            <a:pPr algn="ctr" defTabSz="932962" fontAlgn="base">
              <a:spcBef>
                <a:spcPct val="0"/>
              </a:spcBef>
              <a:spcAft>
                <a:spcPct val="0"/>
              </a:spcAft>
              <a:defRPr/>
            </a:pPr>
            <a:r>
              <a:rPr lang="ru-RU" sz="1400" b="1" dirty="0">
                <a:solidFill>
                  <a:prstClr val="black"/>
                </a:solidFill>
                <a:latin typeface="Arial" panose="020B0604020202020204" pitchFamily="34" charset="0"/>
                <a:cs typeface="Arial" panose="020B0604020202020204" pitchFamily="34" charset="0"/>
              </a:rPr>
              <a:t>АО «ХИАГДА»</a:t>
            </a:r>
            <a:endParaRPr lang="ru-RU" sz="1400" dirty="0">
              <a:solidFill>
                <a:prstClr val="black"/>
              </a:solidFill>
              <a:latin typeface="Arial" panose="020B0604020202020204" pitchFamily="34" charset="0"/>
              <a:cs typeface="Arial" panose="020B0604020202020204" pitchFamily="34" charset="0"/>
            </a:endParaRPr>
          </a:p>
        </p:txBody>
      </p:sp>
      <p:sp>
        <p:nvSpPr>
          <p:cNvPr id="13" name="Прямоугольник 12"/>
          <p:cNvSpPr/>
          <p:nvPr/>
        </p:nvSpPr>
        <p:spPr>
          <a:xfrm>
            <a:off x="6259916" y="1084266"/>
            <a:ext cx="2546176" cy="307777"/>
          </a:xfrm>
          <a:prstGeom prst="rect">
            <a:avLst/>
          </a:prstGeom>
          <a:noFill/>
        </p:spPr>
        <p:txBody>
          <a:bodyPr wrap="square" rIns="36000">
            <a:spAutoFit/>
          </a:bodyPr>
          <a:lstStyle/>
          <a:p>
            <a:pPr algn="ctr" defTabSz="932962" fontAlgn="base">
              <a:spcBef>
                <a:spcPct val="0"/>
              </a:spcBef>
              <a:spcAft>
                <a:spcPct val="0"/>
              </a:spcAft>
              <a:defRPr/>
            </a:pPr>
            <a:r>
              <a:rPr lang="ru-RU" sz="1400" b="1" dirty="0">
                <a:solidFill>
                  <a:prstClr val="black"/>
                </a:solidFill>
                <a:latin typeface="Arial" panose="020B0604020202020204" pitchFamily="34" charset="0"/>
                <a:cs typeface="Arial" panose="020B0604020202020204" pitchFamily="34" charset="0"/>
              </a:rPr>
              <a:t>АО «ДАЛУР»</a:t>
            </a:r>
            <a:endParaRPr lang="ru-RU" sz="1400" dirty="0">
              <a:solidFill>
                <a:prstClr val="black"/>
              </a:solidFill>
              <a:latin typeface="Arial" panose="020B0604020202020204" pitchFamily="34" charset="0"/>
              <a:cs typeface="Arial" panose="020B0604020202020204" pitchFamily="34" charset="0"/>
            </a:endParaRPr>
          </a:p>
        </p:txBody>
      </p:sp>
      <p:pic>
        <p:nvPicPr>
          <p:cNvPr id="14" name="Picture 74"/>
          <p:cNvPicPr>
            <a:picLocks noChangeAspect="1" noChangeArrowheads="1"/>
          </p:cNvPicPr>
          <p:nvPr/>
        </p:nvPicPr>
        <p:blipFill>
          <a:blip r:embed="rId8" cstate="print">
            <a:extLst>
              <a:ext uri="{28A0092B-C50C-407E-A947-70E740481C1C}">
                <a14:useLocalDpi xmlns:a14="http://schemas.microsoft.com/office/drawing/2010/main" val="0"/>
              </a:ext>
            </a:extLst>
          </a:blip>
          <a:srcRect l="5263" t="5161" r="12442" b="8804"/>
          <a:stretch>
            <a:fillRect/>
          </a:stretch>
        </p:blipFill>
        <p:spPr bwMode="auto">
          <a:xfrm>
            <a:off x="3347864" y="1484196"/>
            <a:ext cx="2664761" cy="1748006"/>
          </a:xfrm>
          <a:prstGeom prst="roundRect">
            <a:avLst>
              <a:gd name="adj" fmla="val 744"/>
            </a:avLst>
          </a:prstGeom>
          <a:solidFill>
            <a:srgbClr val="FFFFFF">
              <a:shade val="85000"/>
            </a:srgbClr>
          </a:solidFill>
          <a:ln>
            <a:noFill/>
          </a:ln>
          <a:effectLst>
            <a:outerShdw dist="35921" dir="2700000" algn="ctr" rotWithShape="0">
              <a:schemeClr val="bg2"/>
            </a:outerShdw>
          </a:effectLst>
        </p:spPr>
      </p:pic>
      <p:pic>
        <p:nvPicPr>
          <p:cNvPr id="15" name="Picture 5" descr="C:\Users\Dimukhamedov.R.R\Documents\112\Фото Хиагда и Далур\Dalu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2838" r="2029" b="13977"/>
          <a:stretch/>
        </p:blipFill>
        <p:spPr bwMode="auto">
          <a:xfrm>
            <a:off x="6444208" y="1512400"/>
            <a:ext cx="2528740" cy="1719802"/>
          </a:xfrm>
          <a:prstGeom prst="roundRect">
            <a:avLst>
              <a:gd name="adj" fmla="val 744"/>
            </a:avLst>
          </a:prstGeom>
          <a:solidFill>
            <a:srgbClr val="FFFFFF">
              <a:shade val="85000"/>
            </a:srgbClr>
          </a:solidFill>
          <a:ln>
            <a:noFill/>
          </a:ln>
          <a:effectLst/>
        </p:spPr>
      </p:pic>
      <p:sp>
        <p:nvSpPr>
          <p:cNvPr id="3" name="Прямоугольник 2"/>
          <p:cNvSpPr/>
          <p:nvPr/>
        </p:nvSpPr>
        <p:spPr>
          <a:xfrm>
            <a:off x="3326532" y="3383804"/>
            <a:ext cx="2732856" cy="738664"/>
          </a:xfrm>
          <a:prstGeom prst="rect">
            <a:avLst/>
          </a:prstGeom>
        </p:spPr>
        <p:txBody>
          <a:bodyPr wrap="square">
            <a:spAutoFit/>
          </a:bodyPr>
          <a:lstStyle/>
          <a:p>
            <a:r>
              <a:rPr lang="ru-RU" sz="1400" b="1" spc="-30" dirty="0">
                <a:latin typeface="Arial"/>
                <a:cs typeface="Calibri" pitchFamily="34" charset="0"/>
              </a:rPr>
              <a:t>Метод добычи урана: </a:t>
            </a:r>
            <a:r>
              <a:rPr lang="ru-RU" sz="1400" spc="-30" dirty="0">
                <a:latin typeface="Arial"/>
                <a:cs typeface="Calibri" pitchFamily="34" charset="0"/>
              </a:rPr>
              <a:t>скважинное подземное выщелачивание</a:t>
            </a:r>
          </a:p>
        </p:txBody>
      </p:sp>
      <p:sp>
        <p:nvSpPr>
          <p:cNvPr id="16" name="Прямоугольник 15"/>
          <p:cNvSpPr/>
          <p:nvPr/>
        </p:nvSpPr>
        <p:spPr>
          <a:xfrm>
            <a:off x="382587" y="3415927"/>
            <a:ext cx="2844981" cy="738664"/>
          </a:xfrm>
          <a:prstGeom prst="rect">
            <a:avLst/>
          </a:prstGeom>
        </p:spPr>
        <p:txBody>
          <a:bodyPr wrap="square">
            <a:spAutoFit/>
          </a:bodyPr>
          <a:lstStyle/>
          <a:p>
            <a:r>
              <a:rPr lang="ru-RU" sz="1400" b="1" spc="-30" dirty="0">
                <a:latin typeface="Arial"/>
                <a:cs typeface="Calibri" pitchFamily="34" charset="0"/>
              </a:rPr>
              <a:t>Метод добычи урана: </a:t>
            </a:r>
            <a:r>
              <a:rPr lang="ru-RU" sz="1400" spc="-30" dirty="0">
                <a:latin typeface="Arial"/>
                <a:cs typeface="Calibri" pitchFamily="34" charset="0"/>
              </a:rPr>
              <a:t>подземный горный способ</a:t>
            </a:r>
          </a:p>
          <a:p>
            <a:endParaRPr lang="ru-RU" sz="1400" spc="-30" dirty="0">
              <a:latin typeface="Arial"/>
              <a:cs typeface="Calibri" pitchFamily="34" charset="0"/>
            </a:endParaRPr>
          </a:p>
        </p:txBody>
      </p:sp>
      <p:sp>
        <p:nvSpPr>
          <p:cNvPr id="17" name="Прямоугольник 16"/>
          <p:cNvSpPr/>
          <p:nvPr/>
        </p:nvSpPr>
        <p:spPr>
          <a:xfrm>
            <a:off x="6444208" y="3352559"/>
            <a:ext cx="2732856" cy="738664"/>
          </a:xfrm>
          <a:prstGeom prst="rect">
            <a:avLst/>
          </a:prstGeom>
        </p:spPr>
        <p:txBody>
          <a:bodyPr wrap="square">
            <a:spAutoFit/>
          </a:bodyPr>
          <a:lstStyle/>
          <a:p>
            <a:r>
              <a:rPr lang="ru-RU" sz="1400" b="1" spc="-30" dirty="0">
                <a:latin typeface="Arial"/>
                <a:cs typeface="Calibri" pitchFamily="34" charset="0"/>
              </a:rPr>
              <a:t>Метод добычи урана: </a:t>
            </a:r>
            <a:r>
              <a:rPr lang="ru-RU" sz="1400" spc="-30" dirty="0">
                <a:latin typeface="Arial"/>
                <a:cs typeface="Calibri" pitchFamily="34" charset="0"/>
              </a:rPr>
              <a:t>скважинное подземное выщелачивание</a:t>
            </a:r>
          </a:p>
        </p:txBody>
      </p:sp>
      <p:sp>
        <p:nvSpPr>
          <p:cNvPr id="4" name="Прямоугольник 3"/>
          <p:cNvSpPr/>
          <p:nvPr/>
        </p:nvSpPr>
        <p:spPr>
          <a:xfrm>
            <a:off x="6444208" y="4061937"/>
            <a:ext cx="2618978" cy="2523768"/>
          </a:xfrm>
          <a:prstGeom prst="rect">
            <a:avLst/>
          </a:prstGeom>
        </p:spPr>
        <p:txBody>
          <a:bodyPr wrap="square">
            <a:spAutoFit/>
          </a:bodyPr>
          <a:lstStyle/>
          <a:p>
            <a:pPr fontAlgn="base">
              <a:spcBef>
                <a:spcPct val="0"/>
              </a:spcBef>
              <a:spcAft>
                <a:spcPct val="0"/>
              </a:spcAft>
              <a:defRPr/>
            </a:pPr>
            <a:r>
              <a:rPr lang="ru-RU" sz="1400" b="1" kern="0" dirty="0">
                <a:solidFill>
                  <a:srgbClr val="000000"/>
                </a:solidFill>
                <a:latin typeface="Arial" pitchFamily="34" charset="0"/>
                <a:cs typeface="Arial" pitchFamily="34" charset="0"/>
              </a:rPr>
              <a:t>Объем производства урана в 2021 году</a:t>
            </a:r>
            <a:r>
              <a:rPr lang="en-US" sz="1400" b="1" kern="0" dirty="0">
                <a:solidFill>
                  <a:srgbClr val="000000"/>
                </a:solidFill>
                <a:latin typeface="Arial" pitchFamily="34" charset="0"/>
                <a:cs typeface="Arial" pitchFamily="34" charset="0"/>
              </a:rPr>
              <a:t>:</a:t>
            </a:r>
            <a:r>
              <a:rPr lang="ru-RU" sz="1400" b="1" kern="0" dirty="0">
                <a:solidFill>
                  <a:srgbClr val="000000"/>
                </a:solidFill>
                <a:latin typeface="Arial" pitchFamily="34" charset="0"/>
                <a:cs typeface="Arial" pitchFamily="34" charset="0"/>
              </a:rPr>
              <a:t> </a:t>
            </a:r>
            <a:r>
              <a:rPr lang="ru-RU" sz="1400" kern="0" dirty="0">
                <a:solidFill>
                  <a:srgbClr val="000000"/>
                </a:solidFill>
                <a:latin typeface="Arial" pitchFamily="34" charset="0"/>
                <a:cs typeface="Arial" pitchFamily="34" charset="0"/>
              </a:rPr>
              <a:t>585 т</a:t>
            </a:r>
            <a:r>
              <a:rPr lang="en-US" sz="1400" kern="0" dirty="0">
                <a:solidFill>
                  <a:srgbClr val="000000"/>
                </a:solidFill>
                <a:latin typeface="Arial" pitchFamily="34" charset="0"/>
                <a:cs typeface="Arial" pitchFamily="34" charset="0"/>
              </a:rPr>
              <a:t>U</a:t>
            </a:r>
            <a:endParaRPr lang="ru-RU" sz="1400" kern="0" dirty="0">
              <a:solidFill>
                <a:srgbClr val="000000"/>
              </a:solidFill>
              <a:latin typeface="Arial" pitchFamily="34" charset="0"/>
              <a:cs typeface="Arial" pitchFamily="34" charset="0"/>
            </a:endParaRPr>
          </a:p>
          <a:p>
            <a:pPr lvl="0" fontAlgn="base">
              <a:spcBef>
                <a:spcPct val="0"/>
              </a:spcBef>
              <a:spcAft>
                <a:spcPct val="0"/>
              </a:spcAft>
              <a:defRPr/>
            </a:pPr>
            <a:endParaRPr lang="ru-RU" sz="1400" b="1" kern="0" dirty="0">
              <a:solidFill>
                <a:srgbClr val="000000"/>
              </a:solidFill>
              <a:latin typeface="Arial" pitchFamily="34" charset="0"/>
              <a:cs typeface="Arial" pitchFamily="34" charset="0"/>
            </a:endParaRPr>
          </a:p>
          <a:p>
            <a:pPr lvl="0" fontAlgn="base">
              <a:spcBef>
                <a:spcPct val="0"/>
              </a:spcBef>
              <a:spcAft>
                <a:spcPct val="0"/>
              </a:spcAft>
              <a:defRPr/>
            </a:pPr>
            <a:r>
              <a:rPr lang="ru-RU" sz="1400" b="1" kern="0" dirty="0">
                <a:solidFill>
                  <a:srgbClr val="000000"/>
                </a:solidFill>
                <a:latin typeface="Arial" pitchFamily="34" charset="0"/>
                <a:cs typeface="Arial" pitchFamily="34" charset="0"/>
              </a:rPr>
              <a:t>Месторождения: </a:t>
            </a:r>
            <a:r>
              <a:rPr lang="ru-RU" sz="1400" kern="0" dirty="0" err="1">
                <a:solidFill>
                  <a:srgbClr val="000000"/>
                </a:solidFill>
                <a:latin typeface="Arial" pitchFamily="34" charset="0"/>
                <a:cs typeface="Arial" pitchFamily="34" charset="0"/>
              </a:rPr>
              <a:t>Далматовское</a:t>
            </a:r>
            <a:r>
              <a:rPr lang="ru-RU" sz="1400" kern="0" dirty="0">
                <a:solidFill>
                  <a:srgbClr val="000000"/>
                </a:solidFill>
                <a:latin typeface="Arial" pitchFamily="34" charset="0"/>
                <a:cs typeface="Arial" pitchFamily="34" charset="0"/>
              </a:rPr>
              <a:t>, </a:t>
            </a:r>
            <a:r>
              <a:rPr lang="ru-RU" sz="1400" kern="0" dirty="0" err="1">
                <a:solidFill>
                  <a:srgbClr val="000000"/>
                </a:solidFill>
                <a:latin typeface="Arial" pitchFamily="34" charset="0"/>
                <a:cs typeface="Arial" pitchFamily="34" charset="0"/>
              </a:rPr>
              <a:t>Хохловсккое</a:t>
            </a:r>
            <a:r>
              <a:rPr lang="ru-RU" sz="1400" kern="0" dirty="0">
                <a:solidFill>
                  <a:srgbClr val="000000"/>
                </a:solidFill>
                <a:latin typeface="Arial" pitchFamily="34" charset="0"/>
                <a:cs typeface="Arial" pitchFamily="34" charset="0"/>
              </a:rPr>
              <a:t>, Добровольное</a:t>
            </a:r>
          </a:p>
          <a:p>
            <a:pPr fontAlgn="base">
              <a:spcBef>
                <a:spcPct val="0"/>
              </a:spcBef>
              <a:spcAft>
                <a:spcPct val="0"/>
              </a:spcAft>
              <a:defRPr/>
            </a:pPr>
            <a:endParaRPr lang="en-US" sz="1400" kern="0" dirty="0">
              <a:solidFill>
                <a:srgbClr val="000000"/>
              </a:solidFill>
              <a:latin typeface="Arial" pitchFamily="34" charset="0"/>
              <a:cs typeface="Arial" pitchFamily="34" charset="0"/>
            </a:endParaRPr>
          </a:p>
          <a:p>
            <a:pPr fontAlgn="base">
              <a:spcBef>
                <a:spcPct val="0"/>
              </a:spcBef>
              <a:spcAft>
                <a:spcPct val="0"/>
              </a:spcAft>
              <a:defRPr/>
            </a:pPr>
            <a:r>
              <a:rPr lang="ru-RU" sz="1400" b="1" kern="0" dirty="0" err="1">
                <a:solidFill>
                  <a:srgbClr val="000000"/>
                </a:solidFill>
                <a:latin typeface="Arial" pitchFamily="34" charset="0"/>
                <a:cs typeface="Arial" pitchFamily="34" charset="0"/>
              </a:rPr>
              <a:t>Неурановые</a:t>
            </a:r>
            <a:r>
              <a:rPr lang="ru-RU" sz="1400" b="1" kern="0" dirty="0">
                <a:solidFill>
                  <a:srgbClr val="000000"/>
                </a:solidFill>
                <a:latin typeface="Arial" pitchFamily="34" charset="0"/>
                <a:cs typeface="Arial" pitchFamily="34" charset="0"/>
              </a:rPr>
              <a:t> бизнесы:</a:t>
            </a:r>
          </a:p>
          <a:p>
            <a:pPr lvl="0" fontAlgn="base">
              <a:spcBef>
                <a:spcPct val="0"/>
              </a:spcBef>
              <a:spcAft>
                <a:spcPct val="0"/>
              </a:spcAft>
              <a:defRPr/>
            </a:pPr>
            <a:r>
              <a:rPr lang="ru-RU" sz="1400" kern="0" dirty="0">
                <a:solidFill>
                  <a:srgbClr val="000000"/>
                </a:solidFill>
                <a:latin typeface="Arial" pitchFamily="34" charset="0"/>
                <a:cs typeface="Arial" pitchFamily="34" charset="0"/>
              </a:rPr>
              <a:t>Производство скандиевой продукции</a:t>
            </a:r>
          </a:p>
          <a:p>
            <a:pPr fontAlgn="base">
              <a:spcBef>
                <a:spcPct val="0"/>
              </a:spcBef>
              <a:spcAft>
                <a:spcPct val="0"/>
              </a:spcAft>
              <a:defRPr/>
            </a:pPr>
            <a:endParaRPr lang="ru-RU" kern="0" dirty="0">
              <a:solidFill>
                <a:srgbClr val="000000"/>
              </a:solidFill>
              <a:latin typeface="Arial" pitchFamily="34" charset="0"/>
              <a:cs typeface="Arial" pitchFamily="34" charset="0"/>
            </a:endParaRPr>
          </a:p>
        </p:txBody>
      </p:sp>
      <p:sp>
        <p:nvSpPr>
          <p:cNvPr id="6" name="Прямоугольник 5"/>
          <p:cNvSpPr/>
          <p:nvPr/>
        </p:nvSpPr>
        <p:spPr>
          <a:xfrm>
            <a:off x="414718" y="4120181"/>
            <a:ext cx="2724100" cy="2031325"/>
          </a:xfrm>
          <a:prstGeom prst="rect">
            <a:avLst/>
          </a:prstGeom>
        </p:spPr>
        <p:txBody>
          <a:bodyPr wrap="square">
            <a:spAutoFit/>
          </a:bodyPr>
          <a:lstStyle/>
          <a:p>
            <a:pPr lvl="0" fontAlgn="base">
              <a:spcBef>
                <a:spcPct val="0"/>
              </a:spcBef>
              <a:spcAft>
                <a:spcPct val="0"/>
              </a:spcAft>
              <a:defRPr/>
            </a:pPr>
            <a:r>
              <a:rPr lang="ru-RU" sz="1400" b="1" kern="0" dirty="0">
                <a:solidFill>
                  <a:srgbClr val="000000"/>
                </a:solidFill>
                <a:latin typeface="Arial" pitchFamily="34" charset="0"/>
                <a:cs typeface="Arial" pitchFamily="34" charset="0"/>
              </a:rPr>
              <a:t>Объем производства урана в 2021 году</a:t>
            </a:r>
            <a:r>
              <a:rPr lang="en-US" sz="1400" kern="0" dirty="0">
                <a:solidFill>
                  <a:srgbClr val="000000"/>
                </a:solidFill>
                <a:latin typeface="Arial" pitchFamily="34" charset="0"/>
                <a:cs typeface="Arial" pitchFamily="34" charset="0"/>
              </a:rPr>
              <a:t>: </a:t>
            </a:r>
            <a:r>
              <a:rPr lang="ru-RU" sz="1400" kern="0" dirty="0">
                <a:solidFill>
                  <a:srgbClr val="000000"/>
                </a:solidFill>
                <a:latin typeface="Arial" pitchFamily="34" charset="0"/>
                <a:cs typeface="Arial" pitchFamily="34" charset="0"/>
              </a:rPr>
              <a:t>1 150 т</a:t>
            </a:r>
            <a:r>
              <a:rPr lang="en-US" sz="1400" kern="0" dirty="0">
                <a:solidFill>
                  <a:srgbClr val="000000"/>
                </a:solidFill>
                <a:latin typeface="Arial" pitchFamily="34" charset="0"/>
                <a:cs typeface="Arial" pitchFamily="34" charset="0"/>
              </a:rPr>
              <a:t>U</a:t>
            </a:r>
            <a:endParaRPr lang="ru-RU" sz="1400" kern="0" dirty="0">
              <a:solidFill>
                <a:srgbClr val="000000"/>
              </a:solidFill>
              <a:latin typeface="Arial" pitchFamily="34" charset="0"/>
              <a:cs typeface="Arial" pitchFamily="34" charset="0"/>
            </a:endParaRPr>
          </a:p>
          <a:p>
            <a:pPr lvl="0" fontAlgn="base">
              <a:spcBef>
                <a:spcPct val="0"/>
              </a:spcBef>
              <a:spcAft>
                <a:spcPct val="0"/>
              </a:spcAft>
              <a:defRPr/>
            </a:pPr>
            <a:endParaRPr lang="ru-RU" sz="1400" kern="0" dirty="0">
              <a:solidFill>
                <a:srgbClr val="000000"/>
              </a:solidFill>
              <a:latin typeface="Arial" pitchFamily="34" charset="0"/>
              <a:cs typeface="Arial" pitchFamily="34" charset="0"/>
            </a:endParaRPr>
          </a:p>
          <a:p>
            <a:pPr lvl="0" fontAlgn="base">
              <a:spcBef>
                <a:spcPct val="0"/>
              </a:spcBef>
              <a:spcAft>
                <a:spcPct val="0"/>
              </a:spcAft>
              <a:defRPr/>
            </a:pPr>
            <a:r>
              <a:rPr lang="ru-RU" sz="1400" b="1" kern="0" dirty="0">
                <a:solidFill>
                  <a:srgbClr val="000000"/>
                </a:solidFill>
                <a:latin typeface="Arial" pitchFamily="34" charset="0"/>
                <a:cs typeface="Arial" pitchFamily="34" charset="0"/>
              </a:rPr>
              <a:t>Месторождения: </a:t>
            </a:r>
            <a:r>
              <a:rPr lang="ru-RU" sz="1400" kern="0" dirty="0" err="1">
                <a:solidFill>
                  <a:srgbClr val="000000"/>
                </a:solidFill>
                <a:latin typeface="Arial" pitchFamily="34" charset="0"/>
                <a:cs typeface="Arial" pitchFamily="34" charset="0"/>
              </a:rPr>
              <a:t>Стрельцовское</a:t>
            </a:r>
            <a:r>
              <a:rPr lang="ru-RU" sz="1400" kern="0" dirty="0">
                <a:solidFill>
                  <a:srgbClr val="000000"/>
                </a:solidFill>
                <a:latin typeface="Arial" pitchFamily="34" charset="0"/>
                <a:cs typeface="Arial" pitchFamily="34" charset="0"/>
              </a:rPr>
              <a:t> рудное поле</a:t>
            </a:r>
          </a:p>
          <a:p>
            <a:pPr lvl="0" fontAlgn="base">
              <a:spcBef>
                <a:spcPct val="0"/>
              </a:spcBef>
              <a:spcAft>
                <a:spcPct val="0"/>
              </a:spcAft>
              <a:defRPr/>
            </a:pPr>
            <a:endParaRPr lang="ru-RU" sz="1400" kern="0" dirty="0">
              <a:solidFill>
                <a:srgbClr val="000000"/>
              </a:solidFill>
              <a:latin typeface="Arial" pitchFamily="34" charset="0"/>
              <a:cs typeface="Arial" pitchFamily="34" charset="0"/>
            </a:endParaRPr>
          </a:p>
          <a:p>
            <a:pPr lvl="0" fontAlgn="base">
              <a:spcBef>
                <a:spcPct val="0"/>
              </a:spcBef>
              <a:spcAft>
                <a:spcPct val="0"/>
              </a:spcAft>
              <a:defRPr/>
            </a:pPr>
            <a:r>
              <a:rPr lang="ru-RU" sz="1400" b="1" kern="0" dirty="0" err="1">
                <a:solidFill>
                  <a:srgbClr val="000000"/>
                </a:solidFill>
                <a:latin typeface="Arial" pitchFamily="34" charset="0"/>
                <a:cs typeface="Arial" pitchFamily="34" charset="0"/>
              </a:rPr>
              <a:t>Неурановые</a:t>
            </a:r>
            <a:r>
              <a:rPr lang="ru-RU" sz="1400" b="1" kern="0" dirty="0">
                <a:solidFill>
                  <a:srgbClr val="000000"/>
                </a:solidFill>
                <a:latin typeface="Arial" pitchFamily="34" charset="0"/>
                <a:cs typeface="Arial" pitchFamily="34" charset="0"/>
              </a:rPr>
              <a:t> бизнесы:</a:t>
            </a:r>
          </a:p>
          <a:p>
            <a:pPr lvl="0" fontAlgn="base">
              <a:spcBef>
                <a:spcPct val="0"/>
              </a:spcBef>
              <a:spcAft>
                <a:spcPct val="0"/>
              </a:spcAft>
              <a:defRPr/>
            </a:pPr>
            <a:r>
              <a:rPr lang="ru-RU" sz="1400" kern="0" dirty="0">
                <a:solidFill>
                  <a:srgbClr val="000000"/>
                </a:solidFill>
                <a:latin typeface="Arial" pitchFamily="34" charset="0"/>
                <a:cs typeface="Arial" pitchFamily="34" charset="0"/>
              </a:rPr>
              <a:t>Добыча угля, производство тепло- и электроэнергии</a:t>
            </a:r>
            <a:endParaRPr lang="en-US" sz="1400" kern="0" dirty="0">
              <a:solidFill>
                <a:srgbClr val="000000"/>
              </a:solidFill>
              <a:latin typeface="Arial" pitchFamily="34" charset="0"/>
              <a:cs typeface="Arial" pitchFamily="34" charset="0"/>
            </a:endParaRPr>
          </a:p>
        </p:txBody>
      </p:sp>
      <p:sp>
        <p:nvSpPr>
          <p:cNvPr id="8" name="Прямоугольник 7"/>
          <p:cNvSpPr/>
          <p:nvPr/>
        </p:nvSpPr>
        <p:spPr>
          <a:xfrm>
            <a:off x="3326532" y="4120181"/>
            <a:ext cx="2602872" cy="1384995"/>
          </a:xfrm>
          <a:prstGeom prst="rect">
            <a:avLst/>
          </a:prstGeom>
        </p:spPr>
        <p:txBody>
          <a:bodyPr wrap="square">
            <a:spAutoFit/>
          </a:bodyPr>
          <a:lstStyle/>
          <a:p>
            <a:pPr fontAlgn="base">
              <a:spcBef>
                <a:spcPct val="0"/>
              </a:spcBef>
              <a:spcAft>
                <a:spcPct val="0"/>
              </a:spcAft>
              <a:defRPr/>
            </a:pPr>
            <a:r>
              <a:rPr lang="ru-RU" sz="1400" b="1" kern="0" dirty="0">
                <a:solidFill>
                  <a:srgbClr val="000000"/>
                </a:solidFill>
                <a:latin typeface="Arial" pitchFamily="34" charset="0"/>
                <a:cs typeface="Arial" pitchFamily="34" charset="0"/>
              </a:rPr>
              <a:t>Объем производства урана в 2021 году</a:t>
            </a:r>
            <a:r>
              <a:rPr lang="en-US" sz="1400" b="1" kern="0" dirty="0">
                <a:solidFill>
                  <a:srgbClr val="000000"/>
                </a:solidFill>
                <a:latin typeface="Arial" pitchFamily="34" charset="0"/>
                <a:cs typeface="Arial" pitchFamily="34" charset="0"/>
              </a:rPr>
              <a:t>:</a:t>
            </a:r>
            <a:r>
              <a:rPr lang="ru-RU" sz="1400" b="1" kern="0" dirty="0">
                <a:solidFill>
                  <a:srgbClr val="000000"/>
                </a:solidFill>
                <a:latin typeface="Arial" pitchFamily="34" charset="0"/>
                <a:cs typeface="Arial" pitchFamily="34" charset="0"/>
              </a:rPr>
              <a:t> </a:t>
            </a:r>
            <a:r>
              <a:rPr lang="ru-RU" sz="1400" kern="0" dirty="0">
                <a:solidFill>
                  <a:srgbClr val="000000"/>
                </a:solidFill>
                <a:latin typeface="Arial" pitchFamily="34" charset="0"/>
                <a:cs typeface="Arial" pitchFamily="34" charset="0"/>
              </a:rPr>
              <a:t>900 т</a:t>
            </a:r>
            <a:r>
              <a:rPr lang="en-US" sz="1400" kern="0" dirty="0">
                <a:solidFill>
                  <a:srgbClr val="000000"/>
                </a:solidFill>
                <a:latin typeface="Arial" pitchFamily="34" charset="0"/>
                <a:cs typeface="Arial" pitchFamily="34" charset="0"/>
              </a:rPr>
              <a:t>U</a:t>
            </a:r>
            <a:endParaRPr lang="ru-RU" sz="1400" kern="0" dirty="0">
              <a:solidFill>
                <a:srgbClr val="000000"/>
              </a:solidFill>
              <a:latin typeface="Arial" pitchFamily="34" charset="0"/>
              <a:cs typeface="Arial" pitchFamily="34" charset="0"/>
            </a:endParaRPr>
          </a:p>
          <a:p>
            <a:pPr fontAlgn="base">
              <a:spcBef>
                <a:spcPct val="0"/>
              </a:spcBef>
              <a:spcAft>
                <a:spcPct val="0"/>
              </a:spcAft>
              <a:defRPr/>
            </a:pPr>
            <a:endParaRPr lang="ru-RU" sz="1400" kern="0" dirty="0">
              <a:solidFill>
                <a:srgbClr val="000000"/>
              </a:solidFill>
              <a:latin typeface="Arial" pitchFamily="34" charset="0"/>
              <a:cs typeface="Arial" pitchFamily="34" charset="0"/>
            </a:endParaRPr>
          </a:p>
          <a:p>
            <a:pPr lvl="0" fontAlgn="base">
              <a:spcBef>
                <a:spcPct val="0"/>
              </a:spcBef>
              <a:spcAft>
                <a:spcPct val="0"/>
              </a:spcAft>
              <a:defRPr/>
            </a:pPr>
            <a:r>
              <a:rPr lang="ru-RU" sz="1400" b="1" kern="0" dirty="0">
                <a:solidFill>
                  <a:srgbClr val="000000"/>
                </a:solidFill>
                <a:latin typeface="Arial" pitchFamily="34" charset="0"/>
                <a:cs typeface="Arial" pitchFamily="34" charset="0"/>
              </a:rPr>
              <a:t>Месторождения: </a:t>
            </a:r>
            <a:r>
              <a:rPr lang="ru-RU" sz="1400" kern="0" dirty="0" err="1">
                <a:solidFill>
                  <a:srgbClr val="000000"/>
                </a:solidFill>
                <a:latin typeface="Arial" pitchFamily="34" charset="0"/>
                <a:cs typeface="Arial" pitchFamily="34" charset="0"/>
              </a:rPr>
              <a:t>Хиагдинское</a:t>
            </a:r>
            <a:r>
              <a:rPr lang="ru-RU" sz="1400" kern="0" dirty="0">
                <a:solidFill>
                  <a:srgbClr val="000000"/>
                </a:solidFill>
                <a:latin typeface="Arial" pitchFamily="34" charset="0"/>
                <a:cs typeface="Arial" pitchFamily="34" charset="0"/>
              </a:rPr>
              <a:t> рудное поле</a:t>
            </a:r>
          </a:p>
          <a:p>
            <a:pPr fontAlgn="base">
              <a:spcBef>
                <a:spcPct val="0"/>
              </a:spcBef>
              <a:spcAft>
                <a:spcPct val="0"/>
              </a:spcAft>
              <a:defRPr/>
            </a:pPr>
            <a:endParaRPr lang="en-US" sz="1400" kern="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16507346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323528" y="1116111"/>
            <a:ext cx="8640960" cy="34220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305" imgH="303" progId="TCLayout.ActiveDocument.1">
                  <p:embed/>
                </p:oleObj>
              </mc:Choice>
              <mc:Fallback>
                <p:oleObj name="Слайд think-cell" r:id="rId4" imgW="305" imgH="303" progId="TCLayout.ActiveDocument.1">
                  <p:embed/>
                  <p:pic>
                    <p:nvPicPr>
                      <p:cNvPr id="3" name="Объект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Номер слайда 3"/>
          <p:cNvSpPr>
            <a:spLocks noGrp="1"/>
          </p:cNvSpPr>
          <p:nvPr>
            <p:ph type="sldNum" sz="quarter" idx="12"/>
          </p:nvPr>
        </p:nvSpPr>
        <p:spPr>
          <a:xfrm>
            <a:off x="8172400" y="6448251"/>
            <a:ext cx="648072" cy="365125"/>
          </a:xfrm>
        </p:spPr>
        <p:txBody>
          <a:bodyPr lIns="108000" tIns="108000" rIns="36000"/>
          <a:lstStyle/>
          <a:p>
            <a:pPr algn="r"/>
            <a:fld id="{95796595-87BE-4F99-B285-193933375439}" type="slidenum">
              <a:rPr lang="en-US" sz="1200" smtClean="0">
                <a:solidFill>
                  <a:srgbClr val="333333"/>
                </a:solidFill>
                <a:latin typeface="Arial" charset="0"/>
                <a:ea typeface="Arial" charset="0"/>
                <a:cs typeface="Arial" charset="0"/>
              </a:rPr>
              <a:t>6</a:t>
            </a:fld>
            <a:endParaRPr lang="ru-RU" sz="1200" dirty="0">
              <a:solidFill>
                <a:srgbClr val="333333"/>
              </a:solidFill>
              <a:latin typeface="Arial" charset="0"/>
              <a:ea typeface="Arial" charset="0"/>
              <a:cs typeface="Arial" charset="0"/>
            </a:endParaRPr>
          </a:p>
        </p:txBody>
      </p:sp>
      <p:sp>
        <p:nvSpPr>
          <p:cNvPr id="7" name="TextBox 6"/>
          <p:cNvSpPr txBox="1"/>
          <p:nvPr/>
        </p:nvSpPr>
        <p:spPr>
          <a:xfrm>
            <a:off x="6156176" y="1803769"/>
            <a:ext cx="2520280" cy="2215991"/>
          </a:xfrm>
          <a:prstGeom prst="rect">
            <a:avLst/>
          </a:prstGeom>
          <a:noFill/>
        </p:spPr>
        <p:txBody>
          <a:bodyPr wrap="square" rtlCol="0">
            <a:spAutoFit/>
          </a:bodyPr>
          <a:lstStyle/>
          <a:p>
            <a:pPr algn="ctr"/>
            <a:r>
              <a:rPr lang="ru-RU" sz="4500" b="1" dirty="0">
                <a:solidFill>
                  <a:schemeClr val="bg1"/>
                </a:solidFill>
                <a:latin typeface="Arial" panose="020B0604020202020204" pitchFamily="34" charset="0"/>
                <a:cs typeface="Arial" panose="020B0604020202020204" pitchFamily="34" charset="0"/>
              </a:rPr>
              <a:t>4,1 </a:t>
            </a:r>
          </a:p>
          <a:p>
            <a:pPr algn="ctr"/>
            <a:r>
              <a:rPr lang="ru-RU" sz="1500" dirty="0">
                <a:solidFill>
                  <a:schemeClr val="bg1"/>
                </a:solidFill>
                <a:latin typeface="Arial" panose="020B0604020202020204" pitchFamily="34" charset="0"/>
                <a:cs typeface="Arial" panose="020B0604020202020204" pitchFamily="34" charset="0"/>
              </a:rPr>
              <a:t>тонн в год</a:t>
            </a:r>
          </a:p>
          <a:p>
            <a:pPr algn="ctr"/>
            <a:endParaRPr lang="ru-RU" dirty="0">
              <a:latin typeface="Arial" panose="020B0604020202020204" pitchFamily="34" charset="0"/>
              <a:cs typeface="Arial" panose="020B0604020202020204" pitchFamily="34" charset="0"/>
            </a:endParaRPr>
          </a:p>
          <a:p>
            <a:pPr algn="ctr"/>
            <a:endParaRPr lang="ru-RU" dirty="0">
              <a:latin typeface="Arial" panose="020B0604020202020204" pitchFamily="34" charset="0"/>
              <a:cs typeface="Arial" panose="020B0604020202020204" pitchFamily="34" charset="0"/>
            </a:endParaRPr>
          </a:p>
          <a:p>
            <a:pPr algn="ctr"/>
            <a:r>
              <a:rPr lang="ru-RU" sz="1400" dirty="0">
                <a:solidFill>
                  <a:schemeClr val="bg1"/>
                </a:solidFill>
                <a:latin typeface="Arial" panose="020B0604020202020204" pitchFamily="34" charset="0"/>
                <a:cs typeface="Arial" panose="020B0604020202020204" pitchFamily="34" charset="0"/>
              </a:rPr>
              <a:t>Объем </a:t>
            </a:r>
          </a:p>
          <a:p>
            <a:pPr algn="ctr"/>
            <a:r>
              <a:rPr lang="ru-RU" sz="1400" dirty="0">
                <a:solidFill>
                  <a:schemeClr val="bg1"/>
                </a:solidFill>
                <a:latin typeface="Arial" panose="020B0604020202020204" pitchFamily="34" charset="0"/>
                <a:cs typeface="Arial" panose="020B0604020202020204" pitchFamily="34" charset="0"/>
              </a:rPr>
              <a:t>производства </a:t>
            </a:r>
          </a:p>
          <a:p>
            <a:pPr algn="ctr"/>
            <a:r>
              <a:rPr lang="ru-RU" sz="1400" dirty="0">
                <a:solidFill>
                  <a:schemeClr val="bg1"/>
                </a:solidFill>
                <a:latin typeface="Arial" panose="020B0604020202020204" pitchFamily="34" charset="0"/>
                <a:cs typeface="Arial" panose="020B0604020202020204" pitchFamily="34" charset="0"/>
              </a:rPr>
              <a:t>в 2030 году</a:t>
            </a:r>
          </a:p>
        </p:txBody>
      </p:sp>
      <p:grpSp>
        <p:nvGrpSpPr>
          <p:cNvPr id="10" name="Группа 9"/>
          <p:cNvGrpSpPr/>
          <p:nvPr/>
        </p:nvGrpSpPr>
        <p:grpSpPr>
          <a:xfrm>
            <a:off x="323528" y="4830992"/>
            <a:ext cx="8820472" cy="1289380"/>
            <a:chOff x="282526" y="4517753"/>
            <a:chExt cx="8820472" cy="1289380"/>
          </a:xfrm>
        </p:grpSpPr>
        <p:sp>
          <p:nvSpPr>
            <p:cNvPr id="23" name="TextBox 22"/>
            <p:cNvSpPr txBox="1"/>
            <p:nvPr/>
          </p:nvSpPr>
          <p:spPr>
            <a:xfrm>
              <a:off x="282526" y="4560638"/>
              <a:ext cx="2772307" cy="1246495"/>
            </a:xfrm>
            <a:prstGeom prst="rect">
              <a:avLst/>
            </a:prstGeom>
            <a:noFill/>
          </p:spPr>
          <p:txBody>
            <a:bodyPr wrap="square" rtlCol="0">
              <a:spAutoFit/>
            </a:bodyPr>
            <a:lstStyle/>
            <a:p>
              <a:pPr algn="ctr"/>
              <a:r>
                <a:rPr lang="en-US" sz="2500" b="1" dirty="0">
                  <a:solidFill>
                    <a:schemeClr val="accent5">
                      <a:lumMod val="75000"/>
                    </a:schemeClr>
                  </a:solidFill>
                  <a:latin typeface="Arial" panose="020B0604020202020204" pitchFamily="34" charset="0"/>
                  <a:cs typeface="Arial" panose="020B0604020202020204" pitchFamily="34" charset="0"/>
                </a:rPr>
                <a:t>2021</a:t>
              </a:r>
              <a:endParaRPr lang="ru-RU" sz="2500" b="1" dirty="0">
                <a:solidFill>
                  <a:schemeClr val="accent5">
                    <a:lumMod val="75000"/>
                  </a:schemeClr>
                </a:solidFill>
                <a:latin typeface="Arial" panose="020B0604020202020204" pitchFamily="34" charset="0"/>
                <a:cs typeface="Arial" panose="020B0604020202020204" pitchFamily="34" charset="0"/>
              </a:endParaRPr>
            </a:p>
            <a:p>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Начало опытно-промышленной добычи на месторождении Северное</a:t>
              </a:r>
            </a:p>
          </p:txBody>
        </p:sp>
        <p:sp>
          <p:nvSpPr>
            <p:cNvPr id="8" name="Прямоугольник 7"/>
            <p:cNvSpPr/>
            <p:nvPr/>
          </p:nvSpPr>
          <p:spPr>
            <a:xfrm>
              <a:off x="3342358" y="4538142"/>
              <a:ext cx="2880320" cy="1031051"/>
            </a:xfrm>
            <a:prstGeom prst="rect">
              <a:avLst/>
            </a:prstGeom>
          </p:spPr>
          <p:txBody>
            <a:bodyPr wrap="square">
              <a:spAutoFit/>
            </a:bodyPr>
            <a:lstStyle/>
            <a:p>
              <a:pPr algn="ctr"/>
              <a:r>
                <a:rPr lang="ru-RU" sz="2500" b="1" dirty="0">
                  <a:solidFill>
                    <a:schemeClr val="accent5">
                      <a:lumMod val="75000"/>
                    </a:schemeClr>
                  </a:solidFill>
                  <a:latin typeface="Arial" panose="020B0604020202020204" pitchFamily="34" charset="0"/>
                  <a:cs typeface="Arial" panose="020B0604020202020204" pitchFamily="34" charset="0"/>
                </a:rPr>
                <a:t>2025 </a:t>
              </a:r>
              <a:endParaRPr lang="ru-RU" sz="2000" b="1" dirty="0">
                <a:solidFill>
                  <a:schemeClr val="accent5">
                    <a:lumMod val="75000"/>
                  </a:schemeClr>
                </a:solidFill>
                <a:latin typeface="Arial" panose="020B0604020202020204" pitchFamily="34" charset="0"/>
                <a:cs typeface="Arial" panose="020B0604020202020204" pitchFamily="34" charset="0"/>
              </a:endParaRPr>
            </a:p>
            <a:p>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Выход на проектную мощность месторождения Северное</a:t>
              </a:r>
            </a:p>
          </p:txBody>
        </p:sp>
        <p:sp>
          <p:nvSpPr>
            <p:cNvPr id="25" name="Прямоугольник 24"/>
            <p:cNvSpPr/>
            <p:nvPr/>
          </p:nvSpPr>
          <p:spPr>
            <a:xfrm>
              <a:off x="6222678" y="4517753"/>
              <a:ext cx="2880320" cy="1031051"/>
            </a:xfrm>
            <a:prstGeom prst="rect">
              <a:avLst/>
            </a:prstGeom>
          </p:spPr>
          <p:txBody>
            <a:bodyPr wrap="square">
              <a:spAutoFit/>
            </a:bodyPr>
            <a:lstStyle/>
            <a:p>
              <a:pPr algn="ctr"/>
              <a:r>
                <a:rPr lang="ru-RU" sz="2500" b="1" dirty="0">
                  <a:solidFill>
                    <a:schemeClr val="accent5">
                      <a:lumMod val="75000"/>
                    </a:schemeClr>
                  </a:solidFill>
                  <a:latin typeface="Arial" panose="020B0604020202020204" pitchFamily="34" charset="0"/>
                  <a:cs typeface="Arial" panose="020B0604020202020204" pitchFamily="34" charset="0"/>
                </a:rPr>
                <a:t>202</a:t>
              </a:r>
              <a:r>
                <a:rPr lang="en-US" sz="2500" b="1" dirty="0">
                  <a:solidFill>
                    <a:schemeClr val="accent5">
                      <a:lumMod val="75000"/>
                    </a:schemeClr>
                  </a:solidFill>
                  <a:latin typeface="Arial" panose="020B0604020202020204" pitchFamily="34" charset="0"/>
                  <a:cs typeface="Arial" panose="020B0604020202020204" pitchFamily="34" charset="0"/>
                </a:rPr>
                <a:t>8</a:t>
              </a:r>
              <a:r>
                <a:rPr lang="ru-RU" sz="2500" b="1" dirty="0">
                  <a:solidFill>
                    <a:schemeClr val="accent5">
                      <a:lumMod val="75000"/>
                    </a:schemeClr>
                  </a:solidFill>
                  <a:latin typeface="Arial" panose="020B0604020202020204" pitchFamily="34" charset="0"/>
                  <a:cs typeface="Arial" panose="020B0604020202020204" pitchFamily="34" charset="0"/>
                </a:rPr>
                <a:t> </a:t>
              </a:r>
              <a:endParaRPr lang="ru-RU" sz="2000" b="1" dirty="0">
                <a:solidFill>
                  <a:schemeClr val="accent5">
                    <a:lumMod val="75000"/>
                  </a:schemeClr>
                </a:solidFill>
                <a:latin typeface="Arial" panose="020B0604020202020204" pitchFamily="34" charset="0"/>
                <a:cs typeface="Arial" panose="020B0604020202020204" pitchFamily="34" charset="0"/>
              </a:endParaRPr>
            </a:p>
            <a:p>
              <a:pPr algn="ctr"/>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Выход на проектную мощность месторождения Совиное</a:t>
              </a:r>
            </a:p>
          </p:txBody>
        </p:sp>
      </p:grpSp>
      <p:cxnSp>
        <p:nvCxnSpPr>
          <p:cNvPr id="17" name="Прямая соединительная линия 16"/>
          <p:cNvCxnSpPr/>
          <p:nvPr/>
        </p:nvCxnSpPr>
        <p:spPr>
          <a:xfrm>
            <a:off x="4283968" y="3140968"/>
            <a:ext cx="4248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nvCxnSpPr>
        <p:spPr>
          <a:xfrm>
            <a:off x="323528" y="5373216"/>
            <a:ext cx="8640960"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6" name="Заголовок 4"/>
          <p:cNvSpPr txBox="1">
            <a:spLocks/>
          </p:cNvSpPr>
          <p:nvPr/>
        </p:nvSpPr>
        <p:spPr>
          <a:xfrm>
            <a:off x="323528" y="321170"/>
            <a:ext cx="7633893" cy="459206"/>
          </a:xfrm>
          <a:prstGeom prst="rect">
            <a:avLst/>
          </a:prstGeom>
        </p:spPr>
        <p:txBody>
          <a:bodyPr lIns="0" tIns="0" rIns="0" bIns="0"/>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2400" b="1" dirty="0">
                <a:solidFill>
                  <a:schemeClr val="tx1">
                    <a:lumMod val="95000"/>
                    <a:lumOff val="5000"/>
                  </a:schemeClr>
                </a:solidFill>
                <a:latin typeface="Arial" charset="0"/>
                <a:ea typeface="Arial" charset="0"/>
                <a:cs typeface="Arial" charset="0"/>
              </a:rPr>
              <a:t>Добыча золота: проекты «Северное» и «Совиное» (АО «</a:t>
            </a:r>
            <a:r>
              <a:rPr lang="ru-RU" sz="2400" b="1" dirty="0" err="1">
                <a:solidFill>
                  <a:schemeClr val="tx1">
                    <a:lumMod val="95000"/>
                    <a:lumOff val="5000"/>
                  </a:schemeClr>
                </a:solidFill>
                <a:latin typeface="Arial" charset="0"/>
                <a:ea typeface="Arial" charset="0"/>
                <a:cs typeface="Arial" charset="0"/>
              </a:rPr>
              <a:t>Эльконский</a:t>
            </a:r>
            <a:r>
              <a:rPr lang="ru-RU" sz="2400" b="1" dirty="0">
                <a:solidFill>
                  <a:schemeClr val="tx1">
                    <a:lumMod val="95000"/>
                    <a:lumOff val="5000"/>
                  </a:schemeClr>
                </a:solidFill>
                <a:latin typeface="Arial" charset="0"/>
                <a:ea typeface="Arial" charset="0"/>
                <a:cs typeface="Arial" charset="0"/>
              </a:rPr>
              <a:t> ГМК»)</a:t>
            </a:r>
          </a:p>
        </p:txBody>
      </p:sp>
      <p:pic>
        <p:nvPicPr>
          <p:cNvPr id="20" name="Рисунок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6963" y="1204371"/>
            <a:ext cx="3471501" cy="1990991"/>
          </a:xfrm>
          <a:prstGeom prst="rect">
            <a:avLst/>
          </a:prstGeom>
        </p:spPr>
      </p:pic>
      <p:pic>
        <p:nvPicPr>
          <p:cNvPr id="21" name="Рисунок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09127" y="3093781"/>
            <a:ext cx="1919337" cy="1329010"/>
          </a:xfrm>
          <a:prstGeom prst="rect">
            <a:avLst/>
          </a:prstGeom>
        </p:spPr>
      </p:pic>
      <p:pic>
        <p:nvPicPr>
          <p:cNvPr id="18" name="Рисунок 17"/>
          <p:cNvPicPr>
            <a:picLocks noChangeAspect="1"/>
          </p:cNvPicPr>
          <p:nvPr/>
        </p:nvPicPr>
        <p:blipFill rotWithShape="1">
          <a:blip r:embed="rId8"/>
          <a:srcRect t="59568"/>
          <a:stretch/>
        </p:blipFill>
        <p:spPr>
          <a:xfrm>
            <a:off x="456289" y="3065766"/>
            <a:ext cx="1941756" cy="1336636"/>
          </a:xfrm>
          <a:prstGeom prst="rect">
            <a:avLst/>
          </a:prstGeom>
        </p:spPr>
      </p:pic>
      <p:sp>
        <p:nvSpPr>
          <p:cNvPr id="22" name="AutoShape 27"/>
          <p:cNvSpPr>
            <a:spLocks noChangeArrowheads="1"/>
          </p:cNvSpPr>
          <p:nvPr/>
        </p:nvSpPr>
        <p:spPr bwMode="auto">
          <a:xfrm>
            <a:off x="4451731" y="1887636"/>
            <a:ext cx="792088" cy="864096"/>
          </a:xfrm>
          <a:prstGeom prst="roundRect">
            <a:avLst>
              <a:gd name="adj" fmla="val 16667"/>
            </a:avLst>
          </a:prstGeom>
          <a:solidFill>
            <a:schemeClr val="bg1"/>
          </a:solidFill>
          <a:ln w="9525">
            <a:solidFill>
              <a:srgbClr val="5B9BD5"/>
            </a:solidFill>
            <a:prstDash val="sysDot"/>
            <a:round/>
            <a:headEnd/>
            <a:tailEnd/>
          </a:ln>
        </p:spPr>
        <p:txBody>
          <a:bodyPr wrap="none" lIns="0" tIns="0" rIns="0" bIns="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8B9DC"/>
                </a:solidFill>
                <a:effectLst/>
                <a:uLnTx/>
                <a:uFillTx/>
                <a:latin typeface="Arial" panose="020B0604020202020204" pitchFamily="34" charset="0"/>
                <a:cs typeface="Arial" panose="020B0604020202020204" pitchFamily="34" charset="0"/>
              </a:rPr>
              <a:t>Au</a:t>
            </a:r>
            <a:endParaRPr kumimoji="0" lang="ru-RU" sz="2800" b="1" i="0" u="none" strike="noStrike" kern="0" cap="none" spc="0" normalizeH="0" baseline="0" noProof="0" dirty="0">
              <a:ln>
                <a:noFill/>
              </a:ln>
              <a:solidFill>
                <a:srgbClr val="08B9DC"/>
              </a:solidFill>
              <a:effectLst/>
              <a:uLnTx/>
              <a:uFillTx/>
              <a:latin typeface="Arial" panose="020B0604020202020204" pitchFamily="34" charset="0"/>
              <a:cs typeface="Arial" panose="020B0604020202020204" pitchFamily="34" charset="0"/>
            </a:endParaRPr>
          </a:p>
        </p:txBody>
      </p:sp>
      <p:sp>
        <p:nvSpPr>
          <p:cNvPr id="24" name="AutoShape 27"/>
          <p:cNvSpPr>
            <a:spLocks noChangeArrowheads="1"/>
          </p:cNvSpPr>
          <p:nvPr/>
        </p:nvSpPr>
        <p:spPr bwMode="auto">
          <a:xfrm>
            <a:off x="5273729" y="1887636"/>
            <a:ext cx="792088" cy="864096"/>
          </a:xfrm>
          <a:prstGeom prst="roundRect">
            <a:avLst>
              <a:gd name="adj" fmla="val 16667"/>
            </a:avLst>
          </a:prstGeom>
          <a:solidFill>
            <a:schemeClr val="bg1"/>
          </a:solidFill>
          <a:ln w="9525">
            <a:solidFill>
              <a:srgbClr val="5B9BD5"/>
            </a:solidFill>
            <a:prstDash val="sysDot"/>
            <a:round/>
            <a:headEnd/>
            <a:tailEnd/>
          </a:ln>
        </p:spPr>
        <p:txBody>
          <a:bodyPr wrap="none" lIns="0" tIns="0" rIns="0" bIns="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8B9DC"/>
                </a:solidFill>
                <a:effectLst/>
                <a:uLnTx/>
                <a:uFillTx/>
                <a:latin typeface="Arial" panose="020B0604020202020204" pitchFamily="34" charset="0"/>
                <a:cs typeface="Arial" panose="020B0604020202020204" pitchFamily="34" charset="0"/>
              </a:rPr>
              <a:t>Ag</a:t>
            </a:r>
            <a:endParaRPr kumimoji="0" lang="ru-RU" sz="2800" b="1" i="0" u="none" strike="noStrike" kern="0" cap="none" spc="0" normalizeH="0" baseline="0" noProof="0" dirty="0">
              <a:ln>
                <a:noFill/>
              </a:ln>
              <a:solidFill>
                <a:srgbClr val="08B9DC"/>
              </a:solidFill>
              <a:effectLst/>
              <a:uLnTx/>
              <a:uFillTx/>
              <a:latin typeface="Arial" panose="020B0604020202020204" pitchFamily="34" charset="0"/>
              <a:cs typeface="Arial" panose="020B0604020202020204" pitchFamily="34" charset="0"/>
            </a:endParaRPr>
          </a:p>
        </p:txBody>
      </p:sp>
      <p:sp>
        <p:nvSpPr>
          <p:cNvPr id="26" name="TextBox 25"/>
          <p:cNvSpPr txBox="1"/>
          <p:nvPr/>
        </p:nvSpPr>
        <p:spPr>
          <a:xfrm>
            <a:off x="4283968" y="3185216"/>
            <a:ext cx="2469709" cy="738664"/>
          </a:xfrm>
          <a:prstGeom prst="rect">
            <a:avLst/>
          </a:prstGeom>
          <a:noFill/>
        </p:spPr>
        <p:txBody>
          <a:bodyPr wrap="square" rtlCol="0">
            <a:spAutoFit/>
          </a:bodyPr>
          <a:lstStyle/>
          <a:p>
            <a:pPr fontAlgn="auto">
              <a:spcBef>
                <a:spcPts val="0"/>
              </a:spcBef>
              <a:spcAft>
                <a:spcPts val="600"/>
              </a:spcAft>
              <a:defRPr/>
            </a:pPr>
            <a:r>
              <a:rPr lang="ru-RU" sz="1400" dirty="0">
                <a:solidFill>
                  <a:schemeClr val="bg1"/>
                </a:solidFill>
                <a:latin typeface="Arial" panose="020B0604020202020204" pitchFamily="34" charset="0"/>
                <a:cs typeface="Arial" panose="020B0604020202020204" pitchFamily="34" charset="0"/>
              </a:rPr>
              <a:t>Создана инфраструктура для переработки 3 млн т руды в год</a:t>
            </a:r>
          </a:p>
        </p:txBody>
      </p:sp>
    </p:spTree>
    <p:extLst>
      <p:ext uri="{BB962C8B-B14F-4D97-AF65-F5344CB8AC3E}">
        <p14:creationId xmlns:p14="http://schemas.microsoft.com/office/powerpoint/2010/main" val="1885730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323528" y="1264945"/>
            <a:ext cx="8640960" cy="32667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305" imgH="303" progId="TCLayout.ActiveDocument.1">
                  <p:embed/>
                </p:oleObj>
              </mc:Choice>
              <mc:Fallback>
                <p:oleObj name="Слайд think-cell" r:id="rId4" imgW="305" imgH="303" progId="TCLayout.ActiveDocument.1">
                  <p:embed/>
                  <p:pic>
                    <p:nvPicPr>
                      <p:cNvPr id="3" name="Объект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99" name="Заголовок 1"/>
          <p:cNvSpPr>
            <a:spLocks noGrp="1"/>
          </p:cNvSpPr>
          <p:nvPr>
            <p:ph type="title"/>
          </p:nvPr>
        </p:nvSpPr>
        <p:spPr>
          <a:xfrm>
            <a:off x="179512" y="241845"/>
            <a:ext cx="6820984" cy="721553"/>
          </a:xfrm>
        </p:spPr>
        <p:txBody>
          <a:bodyPr vert="horz">
            <a:normAutofit/>
          </a:bodyPr>
          <a:lstStyle/>
          <a:p>
            <a:r>
              <a:rPr lang="ru-RU" sz="2000" b="1" cap="all" dirty="0">
                <a:solidFill>
                  <a:schemeClr val="tx1">
                    <a:lumMod val="95000"/>
                    <a:lumOff val="5000"/>
                  </a:schemeClr>
                </a:solidFill>
                <a:latin typeface="Arial" charset="0"/>
                <a:ea typeface="Arial" charset="0"/>
                <a:cs typeface="Arial" charset="0"/>
              </a:rPr>
              <a:t>Проект «</a:t>
            </a:r>
            <a:r>
              <a:rPr lang="ru-RU" sz="2000" b="1" cap="all" dirty="0" err="1">
                <a:solidFill>
                  <a:schemeClr val="tx1">
                    <a:lumMod val="95000"/>
                    <a:lumOff val="5000"/>
                  </a:schemeClr>
                </a:solidFill>
                <a:latin typeface="Arial" charset="0"/>
                <a:ea typeface="Arial" charset="0"/>
                <a:cs typeface="Arial" charset="0"/>
              </a:rPr>
              <a:t>ПаВловское</a:t>
            </a:r>
            <a:r>
              <a:rPr lang="ru-RU" sz="2000" b="1" cap="all" dirty="0">
                <a:solidFill>
                  <a:schemeClr val="tx1">
                    <a:lumMod val="95000"/>
                    <a:lumOff val="5000"/>
                  </a:schemeClr>
                </a:solidFill>
                <a:latin typeface="Arial" charset="0"/>
                <a:ea typeface="Arial" charset="0"/>
                <a:cs typeface="Arial" charset="0"/>
              </a:rPr>
              <a:t>»</a:t>
            </a:r>
            <a:endParaRPr lang="ru-RU" sz="2000" b="1" cap="all" dirty="0"/>
          </a:p>
        </p:txBody>
      </p:sp>
      <p:sp>
        <p:nvSpPr>
          <p:cNvPr id="14" name="Номер слайда 3"/>
          <p:cNvSpPr>
            <a:spLocks noGrp="1"/>
          </p:cNvSpPr>
          <p:nvPr>
            <p:ph type="sldNum" sz="quarter" idx="12"/>
          </p:nvPr>
        </p:nvSpPr>
        <p:spPr>
          <a:xfrm>
            <a:off x="8311082" y="6459496"/>
            <a:ext cx="648072" cy="365125"/>
          </a:xfrm>
        </p:spPr>
        <p:txBody>
          <a:bodyPr lIns="108000" tIns="108000" rIns="36000"/>
          <a:lstStyle/>
          <a:p>
            <a:pPr algn="r"/>
            <a:fld id="{95796595-87BE-4F99-B285-193933375439}" type="slidenum">
              <a:rPr lang="en-US" sz="1200" smtClean="0">
                <a:solidFill>
                  <a:srgbClr val="333333"/>
                </a:solidFill>
                <a:latin typeface="Arial" charset="0"/>
                <a:ea typeface="Arial" charset="0"/>
                <a:cs typeface="Arial" charset="0"/>
              </a:rPr>
              <a:t>7</a:t>
            </a:fld>
            <a:endParaRPr lang="ru-RU" sz="1200" dirty="0">
              <a:solidFill>
                <a:srgbClr val="333333"/>
              </a:solidFill>
              <a:latin typeface="Arial" charset="0"/>
              <a:ea typeface="Arial" charset="0"/>
              <a:cs typeface="Arial" charset="0"/>
            </a:endParaRPr>
          </a:p>
        </p:txBody>
      </p:sp>
      <p:sp>
        <p:nvSpPr>
          <p:cNvPr id="5" name="TextBox 4"/>
          <p:cNvSpPr txBox="1"/>
          <p:nvPr/>
        </p:nvSpPr>
        <p:spPr>
          <a:xfrm>
            <a:off x="4283968" y="3249449"/>
            <a:ext cx="2210302" cy="1200329"/>
          </a:xfrm>
          <a:prstGeom prst="rect">
            <a:avLst/>
          </a:prstGeom>
          <a:noFill/>
        </p:spPr>
        <p:txBody>
          <a:bodyPr wrap="square" rtlCol="0">
            <a:spAutoFit/>
          </a:bodyPr>
          <a:lstStyle/>
          <a:p>
            <a:pPr algn="ctr"/>
            <a:r>
              <a:rPr lang="ru-RU" sz="1200" b="1" dirty="0">
                <a:solidFill>
                  <a:schemeClr val="bg1"/>
                </a:solidFill>
                <a:latin typeface="Arial" panose="020B0604020202020204" pitchFamily="34" charset="0"/>
                <a:cs typeface="Arial" panose="020B0604020202020204" pitchFamily="34" charset="0"/>
              </a:rPr>
              <a:t>Месторождение Павловское занимает 4-е место в России по объемам запасов цинка и 5-е место по объемам запасов свинца</a:t>
            </a:r>
          </a:p>
        </p:txBody>
      </p:sp>
      <p:sp>
        <p:nvSpPr>
          <p:cNvPr id="7" name="TextBox 6"/>
          <p:cNvSpPr txBox="1"/>
          <p:nvPr/>
        </p:nvSpPr>
        <p:spPr>
          <a:xfrm>
            <a:off x="6201355" y="1358186"/>
            <a:ext cx="2671792" cy="2569934"/>
          </a:xfrm>
          <a:prstGeom prst="rect">
            <a:avLst/>
          </a:prstGeom>
          <a:noFill/>
        </p:spPr>
        <p:txBody>
          <a:bodyPr wrap="square" rtlCol="0">
            <a:spAutoFit/>
          </a:bodyPr>
          <a:lstStyle/>
          <a:p>
            <a:pPr lvl="0" algn="ctr"/>
            <a:r>
              <a:rPr lang="en-US" sz="4000" b="1" kern="0" spc="-28" dirty="0">
                <a:solidFill>
                  <a:prstClr val="white"/>
                </a:solidFill>
                <a:latin typeface="Arial" panose="020B0604020202020204" pitchFamily="34" charset="0"/>
                <a:cs typeface="Arial" panose="020B0604020202020204" pitchFamily="34" charset="0"/>
              </a:rPr>
              <a:t>160</a:t>
            </a:r>
            <a:r>
              <a:rPr lang="ru-RU" sz="4500" b="1" kern="0" spc="-28" dirty="0">
                <a:solidFill>
                  <a:prstClr val="white"/>
                </a:solidFill>
                <a:latin typeface="Arial" panose="020B0604020202020204" pitchFamily="34" charset="0"/>
                <a:cs typeface="Arial" panose="020B0604020202020204" pitchFamily="34" charset="0"/>
              </a:rPr>
              <a:t> </a:t>
            </a:r>
            <a:r>
              <a:rPr lang="ru-RU" sz="2400" b="1" kern="0" spc="-28" dirty="0">
                <a:solidFill>
                  <a:prstClr val="white"/>
                </a:solidFill>
                <a:latin typeface="Arial" panose="020B0604020202020204" pitchFamily="34" charset="0"/>
                <a:cs typeface="Arial" panose="020B0604020202020204" pitchFamily="34" charset="0"/>
              </a:rPr>
              <a:t>тыс. т/год</a:t>
            </a:r>
            <a:endParaRPr lang="en-US" sz="1500" kern="0" spc="-28" dirty="0">
              <a:solidFill>
                <a:prstClr val="white"/>
              </a:solidFill>
              <a:latin typeface="Arial" panose="020B0604020202020204" pitchFamily="34" charset="0"/>
              <a:cs typeface="Arial" panose="020B0604020202020204" pitchFamily="34" charset="0"/>
            </a:endParaRPr>
          </a:p>
          <a:p>
            <a:pPr algn="ctr"/>
            <a:r>
              <a:rPr lang="ru-RU" sz="1500" kern="0" spc="-28" dirty="0">
                <a:solidFill>
                  <a:prstClr val="white"/>
                </a:solidFill>
                <a:latin typeface="Arial" panose="020B0604020202020204" pitchFamily="34" charset="0"/>
                <a:cs typeface="Arial" panose="020B0604020202020204" pitchFamily="34" charset="0"/>
              </a:rPr>
              <a:t>Концентрат цинка</a:t>
            </a:r>
          </a:p>
          <a:p>
            <a:pPr lvl="0" algn="ctr"/>
            <a:r>
              <a:rPr lang="en-US" sz="4000" b="1" kern="0" spc="-28" dirty="0">
                <a:solidFill>
                  <a:prstClr val="white"/>
                </a:solidFill>
                <a:latin typeface="Arial" panose="020B0604020202020204" pitchFamily="34" charset="0"/>
                <a:cs typeface="Arial" panose="020B0604020202020204" pitchFamily="34" charset="0"/>
              </a:rPr>
              <a:t>2</a:t>
            </a:r>
            <a:r>
              <a:rPr lang="ru-RU" sz="4000" b="1" kern="0" spc="-28" dirty="0">
                <a:solidFill>
                  <a:prstClr val="white"/>
                </a:solidFill>
                <a:latin typeface="Arial" panose="020B0604020202020204" pitchFamily="34" charset="0"/>
                <a:cs typeface="Arial" panose="020B0604020202020204" pitchFamily="34" charset="0"/>
              </a:rPr>
              <a:t>5 </a:t>
            </a:r>
            <a:r>
              <a:rPr lang="ru-RU" sz="2400" b="1" kern="0" spc="-28" dirty="0">
                <a:solidFill>
                  <a:prstClr val="white"/>
                </a:solidFill>
                <a:latin typeface="Arial" panose="020B0604020202020204" pitchFamily="34" charset="0"/>
                <a:cs typeface="Arial" panose="020B0604020202020204" pitchFamily="34" charset="0"/>
              </a:rPr>
              <a:t>тыс. т/год</a:t>
            </a:r>
            <a:endParaRPr lang="en-US" sz="1500" kern="0" spc="-28" dirty="0">
              <a:solidFill>
                <a:prstClr val="white"/>
              </a:solidFill>
              <a:latin typeface="Arial" panose="020B0604020202020204" pitchFamily="34" charset="0"/>
              <a:cs typeface="Arial" panose="020B0604020202020204" pitchFamily="34" charset="0"/>
            </a:endParaRPr>
          </a:p>
          <a:p>
            <a:pPr algn="ctr"/>
            <a:r>
              <a:rPr lang="ru-RU" sz="1500" kern="0" spc="-28" dirty="0">
                <a:solidFill>
                  <a:prstClr val="white"/>
                </a:solidFill>
                <a:latin typeface="Arial" panose="020B0604020202020204" pitchFamily="34" charset="0"/>
                <a:cs typeface="Arial" panose="020B0604020202020204" pitchFamily="34" charset="0"/>
              </a:rPr>
              <a:t>Концентрат свинца</a:t>
            </a:r>
            <a:endParaRPr lang="en-US" dirty="0">
              <a:latin typeface="Arial" panose="020B0604020202020204" pitchFamily="34" charset="0"/>
              <a:cs typeface="Arial" panose="020B0604020202020204" pitchFamily="34" charset="0"/>
            </a:endParaRPr>
          </a:p>
          <a:p>
            <a:pPr algn="ctr"/>
            <a:endParaRPr lang="ru-RU" dirty="0">
              <a:latin typeface="Arial" panose="020B0604020202020204" pitchFamily="34" charset="0"/>
              <a:cs typeface="Arial" panose="020B0604020202020204" pitchFamily="34" charset="0"/>
            </a:endParaRPr>
          </a:p>
          <a:p>
            <a:pPr algn="ctr"/>
            <a:r>
              <a:rPr lang="ru-RU" sz="1400" b="1" dirty="0">
                <a:solidFill>
                  <a:schemeClr val="bg1"/>
                </a:solidFill>
                <a:latin typeface="Arial" panose="020B0604020202020204" pitchFamily="34" charset="0"/>
                <a:cs typeface="Arial" panose="020B0604020202020204" pitchFamily="34" charset="0"/>
              </a:rPr>
              <a:t>Производственная мощность</a:t>
            </a:r>
            <a:endParaRPr lang="en-US" sz="1400" b="1" dirty="0">
              <a:solidFill>
                <a:schemeClr val="bg1"/>
              </a:solidFill>
              <a:latin typeface="Arial" panose="020B0604020202020204" pitchFamily="34" charset="0"/>
              <a:cs typeface="Arial" panose="020B0604020202020204" pitchFamily="34" charset="0"/>
            </a:endParaRPr>
          </a:p>
        </p:txBody>
      </p:sp>
      <p:grpSp>
        <p:nvGrpSpPr>
          <p:cNvPr id="10" name="Группа 9"/>
          <p:cNvGrpSpPr/>
          <p:nvPr/>
        </p:nvGrpSpPr>
        <p:grpSpPr>
          <a:xfrm>
            <a:off x="3312568" y="4707365"/>
            <a:ext cx="5579912" cy="1956946"/>
            <a:chOff x="642766" y="4538142"/>
            <a:chExt cx="5579912" cy="1956946"/>
          </a:xfrm>
        </p:grpSpPr>
        <p:sp>
          <p:nvSpPr>
            <p:cNvPr id="23" name="TextBox 22"/>
            <p:cNvSpPr txBox="1"/>
            <p:nvPr/>
          </p:nvSpPr>
          <p:spPr>
            <a:xfrm>
              <a:off x="642766" y="4592359"/>
              <a:ext cx="2478741" cy="1461939"/>
            </a:xfrm>
            <a:prstGeom prst="rect">
              <a:avLst/>
            </a:prstGeom>
            <a:noFill/>
          </p:spPr>
          <p:txBody>
            <a:bodyPr wrap="square" rtlCol="0">
              <a:spAutoFit/>
            </a:bodyPr>
            <a:lstStyle/>
            <a:p>
              <a:pPr algn="ctr"/>
              <a:r>
                <a:rPr lang="en-US" sz="2500" b="1" dirty="0">
                  <a:solidFill>
                    <a:schemeClr val="accent5">
                      <a:lumMod val="75000"/>
                    </a:schemeClr>
                  </a:solidFill>
                  <a:latin typeface="Arial" panose="020B0604020202020204" pitchFamily="34" charset="0"/>
                  <a:cs typeface="Arial" panose="020B0604020202020204" pitchFamily="34" charset="0"/>
                </a:rPr>
                <a:t>2019</a:t>
              </a:r>
            </a:p>
            <a:p>
              <a:pPr algn="ctr"/>
              <a:endParaRPr lang="ru-RU" sz="800" dirty="0">
                <a:latin typeface="Arial" panose="020B0604020202020204" pitchFamily="34" charset="0"/>
                <a:cs typeface="Arial" panose="020B0604020202020204" pitchFamily="34" charset="0"/>
              </a:endParaRPr>
            </a:p>
            <a:p>
              <a:pPr lvl="0" algn="ctr">
                <a:spcAft>
                  <a:spcPts val="500"/>
                </a:spcAft>
              </a:pPr>
              <a:r>
                <a:rPr lang="ru-RU" sz="1400" dirty="0">
                  <a:solidFill>
                    <a:prstClr val="black"/>
                  </a:solidFill>
                  <a:latin typeface="Arial" panose="020B0604020202020204" pitchFamily="34" charset="0"/>
                  <a:cs typeface="Arial" panose="020B0604020202020204" pitchFamily="34" charset="0"/>
                </a:rPr>
                <a:t>Завершено формирование отчета </a:t>
              </a:r>
              <a:r>
                <a:rPr lang="en-US" sz="1400" dirty="0">
                  <a:solidFill>
                    <a:prstClr val="black"/>
                  </a:solidFill>
                  <a:latin typeface="Arial" panose="020B0604020202020204" pitchFamily="34" charset="0"/>
                  <a:cs typeface="Arial" panose="020B0604020202020204" pitchFamily="34" charset="0"/>
                </a:rPr>
                <a:t>Scoping Study </a:t>
              </a:r>
              <a:r>
                <a:rPr lang="ru-RU" sz="1400" dirty="0">
                  <a:solidFill>
                    <a:prstClr val="black"/>
                  </a:solidFill>
                  <a:latin typeface="Arial" panose="020B0604020202020204" pitchFamily="34" charset="0"/>
                  <a:cs typeface="Arial" panose="020B0604020202020204" pitchFamily="34" charset="0"/>
                </a:rPr>
                <a:t>по оптимизированному варианту</a:t>
              </a:r>
              <a:endParaRPr lang="en-US" sz="1400" dirty="0">
                <a:solidFill>
                  <a:prstClr val="black"/>
                </a:solidFill>
                <a:latin typeface="Arial" panose="020B0604020202020204" pitchFamily="34" charset="0"/>
                <a:cs typeface="Arial" panose="020B0604020202020204" pitchFamily="34" charset="0"/>
              </a:endParaRPr>
            </a:p>
          </p:txBody>
        </p:sp>
        <p:sp>
          <p:nvSpPr>
            <p:cNvPr id="8" name="Прямоугольник 7"/>
            <p:cNvSpPr/>
            <p:nvPr/>
          </p:nvSpPr>
          <p:spPr>
            <a:xfrm>
              <a:off x="3188181" y="4538142"/>
              <a:ext cx="3034497" cy="1956946"/>
            </a:xfrm>
            <a:prstGeom prst="rect">
              <a:avLst/>
            </a:prstGeom>
          </p:spPr>
          <p:txBody>
            <a:bodyPr wrap="square">
              <a:spAutoFit/>
            </a:bodyPr>
            <a:lstStyle/>
            <a:p>
              <a:pPr algn="ctr"/>
              <a:r>
                <a:rPr lang="en-US" sz="2500" b="1" dirty="0">
                  <a:solidFill>
                    <a:schemeClr val="accent5">
                      <a:lumMod val="75000"/>
                    </a:schemeClr>
                  </a:solidFill>
                  <a:latin typeface="Arial" panose="020B0604020202020204" pitchFamily="34" charset="0"/>
                  <a:cs typeface="Arial" panose="020B0604020202020204" pitchFamily="34" charset="0"/>
                </a:rPr>
                <a:t>2021</a:t>
              </a:r>
            </a:p>
            <a:p>
              <a:pPr algn="ctr"/>
              <a:endParaRPr lang="ru-RU" sz="800" dirty="0">
                <a:latin typeface="Arial" panose="020B0604020202020204" pitchFamily="34" charset="0"/>
                <a:cs typeface="Arial" panose="020B0604020202020204" pitchFamily="34" charset="0"/>
              </a:endParaRPr>
            </a:p>
            <a:p>
              <a:pPr algn="ctr">
                <a:spcAft>
                  <a:spcPts val="500"/>
                </a:spcAft>
              </a:pPr>
              <a:r>
                <a:rPr lang="ru-RU" sz="1400" dirty="0">
                  <a:latin typeface="Arial" panose="020B0604020202020204" pitchFamily="34" charset="0"/>
                  <a:cs typeface="Arial" panose="020B0604020202020204" pitchFamily="34" charset="0"/>
                </a:rPr>
                <a:t>Подготовлен отчет </a:t>
              </a:r>
              <a:r>
                <a:rPr lang="en-US" sz="1400" dirty="0">
                  <a:latin typeface="Arial" panose="020B0604020202020204" pitchFamily="34" charset="0"/>
                  <a:cs typeface="Arial" panose="020B0604020202020204" pitchFamily="34" charset="0"/>
                </a:rPr>
                <a:t>Pre-Feasibility Study (PFS) </a:t>
              </a:r>
              <a:r>
                <a:rPr lang="ru-RU" sz="1400" dirty="0">
                  <a:latin typeface="Arial" panose="020B0604020202020204" pitchFamily="34" charset="0"/>
                  <a:cs typeface="Arial" panose="020B0604020202020204" pitchFamily="34" charset="0"/>
                </a:rPr>
                <a:t>по обновленной концепции</a:t>
              </a:r>
              <a:endParaRPr lang="en-US" sz="1400" dirty="0">
                <a:latin typeface="Arial" panose="020B0604020202020204" pitchFamily="34" charset="0"/>
                <a:cs typeface="Arial" panose="020B0604020202020204" pitchFamily="34" charset="0"/>
              </a:endParaRPr>
            </a:p>
            <a:p>
              <a:pPr algn="ctr">
                <a:spcAft>
                  <a:spcPts val="500"/>
                </a:spcAft>
              </a:pPr>
              <a:r>
                <a:rPr lang="ru-RU" sz="1400" dirty="0">
                  <a:latin typeface="Arial" panose="020B0604020202020204" pitchFamily="34" charset="0"/>
                  <a:cs typeface="Arial" panose="020B0604020202020204" pitchFamily="34" charset="0"/>
                </a:rPr>
                <a:t>Проведена оценка запасов и ресурсов в соответствии с кодексом </a:t>
              </a:r>
              <a:r>
                <a:rPr lang="en-US" sz="1400" dirty="0">
                  <a:latin typeface="Arial" panose="020B0604020202020204" pitchFamily="34" charset="0"/>
                  <a:cs typeface="Arial" panose="020B0604020202020204" pitchFamily="34" charset="0"/>
                </a:rPr>
                <a:t>JORC</a:t>
              </a:r>
              <a:endParaRPr lang="ru-RU" sz="1400" dirty="0">
                <a:latin typeface="Arial" panose="020B0604020202020204" pitchFamily="34" charset="0"/>
                <a:cs typeface="Arial" panose="020B0604020202020204" pitchFamily="34" charset="0"/>
              </a:endParaRPr>
            </a:p>
          </p:txBody>
        </p:sp>
      </p:grpSp>
      <p:cxnSp>
        <p:nvCxnSpPr>
          <p:cNvPr id="17" name="Прямая соединительная линия 16"/>
          <p:cNvCxnSpPr/>
          <p:nvPr/>
        </p:nvCxnSpPr>
        <p:spPr>
          <a:xfrm>
            <a:off x="4370034" y="3192785"/>
            <a:ext cx="4248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nvCxnSpPr>
        <p:spPr>
          <a:xfrm>
            <a:off x="323528" y="5229200"/>
            <a:ext cx="8640960"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16" name="AutoShape 27"/>
          <p:cNvSpPr>
            <a:spLocks noChangeArrowheads="1"/>
          </p:cNvSpPr>
          <p:nvPr/>
        </p:nvSpPr>
        <p:spPr bwMode="auto">
          <a:xfrm>
            <a:off x="4451731" y="1887636"/>
            <a:ext cx="792088" cy="864096"/>
          </a:xfrm>
          <a:prstGeom prst="roundRect">
            <a:avLst>
              <a:gd name="adj" fmla="val 16667"/>
            </a:avLst>
          </a:prstGeom>
          <a:solidFill>
            <a:schemeClr val="bg1"/>
          </a:solidFill>
          <a:ln w="9525">
            <a:solidFill>
              <a:srgbClr val="5B9BD5"/>
            </a:solidFill>
            <a:prstDash val="sysDot"/>
            <a:round/>
            <a:headEnd/>
            <a:tailEnd/>
          </a:ln>
        </p:spPr>
        <p:txBody>
          <a:bodyPr wrap="none" lIns="0" tIns="0" rIns="0" bIns="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Zn</a:t>
            </a:r>
            <a:endParaRPr kumimoji="0" lang="ru-RU" sz="28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18" name="AutoShape 27"/>
          <p:cNvSpPr>
            <a:spLocks noChangeArrowheads="1"/>
          </p:cNvSpPr>
          <p:nvPr/>
        </p:nvSpPr>
        <p:spPr bwMode="auto">
          <a:xfrm>
            <a:off x="5273729" y="1887636"/>
            <a:ext cx="792088" cy="864096"/>
          </a:xfrm>
          <a:prstGeom prst="roundRect">
            <a:avLst>
              <a:gd name="adj" fmla="val 16667"/>
            </a:avLst>
          </a:prstGeom>
          <a:solidFill>
            <a:schemeClr val="bg1"/>
          </a:solidFill>
          <a:ln w="9525">
            <a:solidFill>
              <a:srgbClr val="5B9BD5"/>
            </a:solidFill>
            <a:prstDash val="sysDot"/>
            <a:round/>
            <a:headEnd/>
            <a:tailEnd/>
          </a:ln>
        </p:spPr>
        <p:txBody>
          <a:bodyPr wrap="none" lIns="0" tIns="0" rIns="0" bIns="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err="1">
                <a:ln>
                  <a:noFill/>
                </a:ln>
                <a:solidFill>
                  <a:schemeClr val="accent1"/>
                </a:solidFill>
                <a:effectLst/>
                <a:uLnTx/>
                <a:uFillTx/>
                <a:latin typeface="Arial" panose="020B0604020202020204" pitchFamily="34" charset="0"/>
                <a:cs typeface="Arial" panose="020B0604020202020204" pitchFamily="34" charset="0"/>
              </a:rPr>
              <a:t>Pb</a:t>
            </a:r>
            <a:endParaRPr kumimoji="0" lang="ru-RU" sz="28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pic>
        <p:nvPicPr>
          <p:cNvPr id="21" name="Рисунок 20"/>
          <p:cNvPicPr>
            <a:picLocks noChangeAspect="1"/>
          </p:cNvPicPr>
          <p:nvPr/>
        </p:nvPicPr>
        <p:blipFill rotWithShape="1">
          <a:blip r:embed="rId6" cstate="print">
            <a:extLst>
              <a:ext uri="{28A0092B-C50C-407E-A947-70E740481C1C}">
                <a14:useLocalDpi xmlns:a14="http://schemas.microsoft.com/office/drawing/2010/main" val="0"/>
              </a:ext>
            </a:extLst>
          </a:blip>
          <a:srcRect l="16526" t="17676" b="1260"/>
          <a:stretch/>
        </p:blipFill>
        <p:spPr>
          <a:xfrm>
            <a:off x="472541" y="1484784"/>
            <a:ext cx="3724549" cy="2712811"/>
          </a:xfrm>
          <a:prstGeom prst="rect">
            <a:avLst/>
          </a:prstGeom>
        </p:spPr>
      </p:pic>
      <p:sp>
        <p:nvSpPr>
          <p:cNvPr id="26" name="Прямоугольник 25"/>
          <p:cNvSpPr/>
          <p:nvPr/>
        </p:nvSpPr>
        <p:spPr>
          <a:xfrm>
            <a:off x="472541" y="4731051"/>
            <a:ext cx="2691014" cy="1461939"/>
          </a:xfrm>
          <a:prstGeom prst="rect">
            <a:avLst/>
          </a:prstGeom>
        </p:spPr>
        <p:txBody>
          <a:bodyPr wrap="square">
            <a:spAutoFit/>
          </a:bodyPr>
          <a:lstStyle/>
          <a:p>
            <a:pPr algn="ctr"/>
            <a:r>
              <a:rPr lang="en-US" sz="2500" b="1" dirty="0">
                <a:solidFill>
                  <a:schemeClr val="accent5">
                    <a:lumMod val="75000"/>
                  </a:schemeClr>
                </a:solidFill>
                <a:latin typeface="Arial" panose="020B0604020202020204" pitchFamily="34" charset="0"/>
                <a:cs typeface="Arial" panose="020B0604020202020204" pitchFamily="34" charset="0"/>
              </a:rPr>
              <a:t>2013-2015</a:t>
            </a:r>
          </a:p>
          <a:p>
            <a:pPr algn="ctr"/>
            <a:endParaRPr lang="ru-RU" sz="800" dirty="0">
              <a:latin typeface="Arial" panose="020B0604020202020204" pitchFamily="34" charset="0"/>
              <a:cs typeface="Arial" panose="020B0604020202020204" pitchFamily="34" charset="0"/>
            </a:endParaRPr>
          </a:p>
          <a:p>
            <a:pPr algn="ctr">
              <a:spcAft>
                <a:spcPts val="500"/>
              </a:spcAft>
              <a:defRPr/>
            </a:pPr>
            <a:r>
              <a:rPr lang="ru-RU" sz="1400" dirty="0">
                <a:solidFill>
                  <a:prstClr val="black"/>
                </a:solidFill>
                <a:latin typeface="Arial" panose="020B0604020202020204" pitchFamily="34" charset="0"/>
                <a:cs typeface="Arial" panose="020B0604020202020204" pitchFamily="34" charset="0"/>
                <a:sym typeface="+mn-lt"/>
              </a:rPr>
              <a:t>Проведены геологоразведочные работы, запасы поставлены на </a:t>
            </a:r>
            <a:r>
              <a:rPr lang="ru-RU" sz="1400" dirty="0" err="1">
                <a:solidFill>
                  <a:prstClr val="black"/>
                </a:solidFill>
                <a:latin typeface="Arial" panose="020B0604020202020204" pitchFamily="34" charset="0"/>
                <a:cs typeface="Arial" panose="020B0604020202020204" pitchFamily="34" charset="0"/>
                <a:sym typeface="+mn-lt"/>
              </a:rPr>
              <a:t>госбаланс</a:t>
            </a:r>
            <a:endParaRPr lang="en-US" sz="1400" dirty="0">
              <a:solidFill>
                <a:prstClr val="black"/>
              </a:solidFill>
              <a:latin typeface="Arial" panose="020B0604020202020204" pitchFamily="34" charset="0"/>
              <a:cs typeface="Arial" panose="020B0604020202020204" pitchFamily="34" charset="0"/>
              <a:sym typeface="+mn-lt"/>
            </a:endParaRPr>
          </a:p>
        </p:txBody>
      </p:sp>
    </p:spTree>
    <p:extLst>
      <p:ext uri="{BB962C8B-B14F-4D97-AF65-F5344CB8AC3E}">
        <p14:creationId xmlns:p14="http://schemas.microsoft.com/office/powerpoint/2010/main" val="1356376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323528" y="1116111"/>
            <a:ext cx="8640960" cy="34220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305" imgH="303" progId="TCLayout.ActiveDocument.1">
                  <p:embed/>
                </p:oleObj>
              </mc:Choice>
              <mc:Fallback>
                <p:oleObj name="Слайд think-cell" r:id="rId4" imgW="305" imgH="303" progId="TCLayout.ActiveDocument.1">
                  <p:embed/>
                  <p:pic>
                    <p:nvPicPr>
                      <p:cNvPr id="3" name="Объект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99" name="Заголовок 1"/>
          <p:cNvSpPr>
            <a:spLocks noGrp="1"/>
          </p:cNvSpPr>
          <p:nvPr>
            <p:ph type="title"/>
          </p:nvPr>
        </p:nvSpPr>
        <p:spPr>
          <a:xfrm>
            <a:off x="179512" y="304058"/>
            <a:ext cx="6820984" cy="721553"/>
          </a:xfrm>
        </p:spPr>
        <p:txBody>
          <a:bodyPr vert="horz"/>
          <a:lstStyle/>
          <a:p>
            <a:r>
              <a:rPr lang="ru-RU" sz="2000" b="1" dirty="0">
                <a:solidFill>
                  <a:schemeClr val="tx1">
                    <a:lumMod val="95000"/>
                    <a:lumOff val="5000"/>
                  </a:schemeClr>
                </a:solidFill>
                <a:latin typeface="Arial" charset="0"/>
                <a:ea typeface="Arial" charset="0"/>
                <a:cs typeface="Arial" charset="0"/>
              </a:rPr>
              <a:t>Проект «Скандий» - организация попутной добычи скандия в АО «</a:t>
            </a:r>
            <a:r>
              <a:rPr lang="ru-RU" sz="2000" b="1" dirty="0" err="1">
                <a:solidFill>
                  <a:schemeClr val="tx1">
                    <a:lumMod val="95000"/>
                    <a:lumOff val="5000"/>
                  </a:schemeClr>
                </a:solidFill>
                <a:latin typeface="Arial" charset="0"/>
                <a:ea typeface="Arial" charset="0"/>
                <a:cs typeface="Arial" charset="0"/>
              </a:rPr>
              <a:t>Далур</a:t>
            </a:r>
            <a:r>
              <a:rPr lang="ru-RU" sz="2000" b="1" dirty="0">
                <a:solidFill>
                  <a:schemeClr val="tx1">
                    <a:lumMod val="95000"/>
                    <a:lumOff val="5000"/>
                  </a:schemeClr>
                </a:solidFill>
                <a:latin typeface="Arial" charset="0"/>
                <a:ea typeface="Arial" charset="0"/>
                <a:cs typeface="Arial" charset="0"/>
              </a:rPr>
              <a:t>» (Курганская область)</a:t>
            </a:r>
          </a:p>
        </p:txBody>
      </p:sp>
      <p:sp>
        <p:nvSpPr>
          <p:cNvPr id="14" name="Номер слайда 3"/>
          <p:cNvSpPr>
            <a:spLocks noGrp="1"/>
          </p:cNvSpPr>
          <p:nvPr>
            <p:ph type="sldNum" sz="quarter" idx="12"/>
          </p:nvPr>
        </p:nvSpPr>
        <p:spPr>
          <a:xfrm>
            <a:off x="8172400" y="6304235"/>
            <a:ext cx="648072" cy="365125"/>
          </a:xfrm>
        </p:spPr>
        <p:txBody>
          <a:bodyPr lIns="108000" tIns="108000" rIns="36000"/>
          <a:lstStyle/>
          <a:p>
            <a:pPr algn="r"/>
            <a:fld id="{95796595-87BE-4F99-B285-193933375439}" type="slidenum">
              <a:rPr lang="en-US" sz="1200" smtClean="0">
                <a:solidFill>
                  <a:srgbClr val="333333"/>
                </a:solidFill>
                <a:latin typeface="Arial" charset="0"/>
                <a:ea typeface="Arial" charset="0"/>
                <a:cs typeface="Arial" charset="0"/>
              </a:rPr>
              <a:t>8</a:t>
            </a:fld>
            <a:endParaRPr lang="ru-RU" sz="1200" dirty="0">
              <a:solidFill>
                <a:srgbClr val="333333"/>
              </a:solidFill>
              <a:latin typeface="Arial" charset="0"/>
              <a:ea typeface="Arial" charset="0"/>
              <a:cs typeface="Arial" charset="0"/>
            </a:endParaRPr>
          </a:p>
        </p:txBody>
      </p:sp>
      <p:sp>
        <p:nvSpPr>
          <p:cNvPr id="5" name="TextBox 4"/>
          <p:cNvSpPr txBox="1"/>
          <p:nvPr/>
        </p:nvSpPr>
        <p:spPr>
          <a:xfrm>
            <a:off x="3793971" y="3180245"/>
            <a:ext cx="2700299" cy="738664"/>
          </a:xfrm>
          <a:prstGeom prst="rect">
            <a:avLst/>
          </a:prstGeom>
          <a:noFill/>
        </p:spPr>
        <p:txBody>
          <a:bodyPr wrap="square" rtlCol="0">
            <a:spAutoFit/>
          </a:bodyPr>
          <a:lstStyle/>
          <a:p>
            <a:pPr algn="ctr"/>
            <a:r>
              <a:rPr lang="ru-RU" sz="1400" dirty="0">
                <a:solidFill>
                  <a:schemeClr val="bg1"/>
                </a:solidFill>
                <a:latin typeface="Arial" panose="020B0604020202020204" pitchFamily="34" charset="0"/>
                <a:cs typeface="Arial" panose="020B0604020202020204" pitchFamily="34" charset="0"/>
              </a:rPr>
              <a:t>Оксид скандия </a:t>
            </a:r>
            <a:br>
              <a:rPr lang="ru-RU" sz="1400" dirty="0">
                <a:solidFill>
                  <a:schemeClr val="bg1"/>
                </a:solidFill>
                <a:latin typeface="Arial" panose="020B0604020202020204" pitchFamily="34" charset="0"/>
                <a:cs typeface="Arial" panose="020B0604020202020204" pitchFamily="34" charset="0"/>
              </a:rPr>
            </a:br>
            <a:r>
              <a:rPr lang="ru-RU" sz="1400" dirty="0">
                <a:solidFill>
                  <a:schemeClr val="bg1"/>
                </a:solidFill>
                <a:latin typeface="Arial" panose="020B0604020202020204" pitchFamily="34" charset="0"/>
                <a:cs typeface="Arial" panose="020B0604020202020204" pitchFamily="34" charset="0"/>
              </a:rPr>
              <a:t>соответствует мировым </a:t>
            </a:r>
            <a:br>
              <a:rPr lang="ru-RU" sz="1400" dirty="0">
                <a:solidFill>
                  <a:schemeClr val="bg1"/>
                </a:solidFill>
                <a:latin typeface="Arial" panose="020B0604020202020204" pitchFamily="34" charset="0"/>
                <a:cs typeface="Arial" panose="020B0604020202020204" pitchFamily="34" charset="0"/>
              </a:rPr>
            </a:br>
            <a:r>
              <a:rPr lang="ru-RU" sz="1400" dirty="0">
                <a:solidFill>
                  <a:schemeClr val="bg1"/>
                </a:solidFill>
                <a:latin typeface="Arial" panose="020B0604020202020204" pitchFamily="34" charset="0"/>
                <a:cs typeface="Arial" panose="020B0604020202020204" pitchFamily="34" charset="0"/>
              </a:rPr>
              <a:t>стандартам качества</a:t>
            </a:r>
          </a:p>
        </p:txBody>
      </p:sp>
      <p:sp>
        <p:nvSpPr>
          <p:cNvPr id="7" name="TextBox 6"/>
          <p:cNvSpPr txBox="1"/>
          <p:nvPr/>
        </p:nvSpPr>
        <p:spPr>
          <a:xfrm>
            <a:off x="6156176" y="1803769"/>
            <a:ext cx="2520280" cy="2046714"/>
          </a:xfrm>
          <a:prstGeom prst="rect">
            <a:avLst/>
          </a:prstGeom>
          <a:noFill/>
        </p:spPr>
        <p:txBody>
          <a:bodyPr wrap="square" rtlCol="0">
            <a:spAutoFit/>
          </a:bodyPr>
          <a:lstStyle/>
          <a:p>
            <a:pPr algn="ctr"/>
            <a:r>
              <a:rPr lang="ru-RU" sz="2000" b="1" dirty="0">
                <a:solidFill>
                  <a:schemeClr val="bg1"/>
                </a:solidFill>
                <a:latin typeface="Arial" panose="020B0604020202020204" pitchFamily="34" charset="0"/>
                <a:cs typeface="Arial" panose="020B0604020202020204" pitchFamily="34" charset="0"/>
              </a:rPr>
              <a:t>до</a:t>
            </a:r>
            <a:r>
              <a:rPr lang="ru-RU" sz="4500" b="1" dirty="0">
                <a:solidFill>
                  <a:schemeClr val="bg1"/>
                </a:solidFill>
                <a:latin typeface="Arial" panose="020B0604020202020204" pitchFamily="34" charset="0"/>
                <a:cs typeface="Arial" panose="020B0604020202020204" pitchFamily="34" charset="0"/>
              </a:rPr>
              <a:t>1,6 </a:t>
            </a:r>
          </a:p>
          <a:p>
            <a:pPr algn="ctr"/>
            <a:r>
              <a:rPr lang="ru-RU" sz="1500" dirty="0">
                <a:solidFill>
                  <a:schemeClr val="bg1"/>
                </a:solidFill>
                <a:latin typeface="Arial" panose="020B0604020202020204" pitchFamily="34" charset="0"/>
                <a:cs typeface="Arial" panose="020B0604020202020204" pitchFamily="34" charset="0"/>
              </a:rPr>
              <a:t>тонн в год</a:t>
            </a:r>
          </a:p>
          <a:p>
            <a:pPr algn="ctr"/>
            <a:endParaRPr lang="ru-RU" dirty="0">
              <a:latin typeface="Arial" panose="020B0604020202020204" pitchFamily="34" charset="0"/>
              <a:cs typeface="Arial" panose="020B0604020202020204" pitchFamily="34" charset="0"/>
            </a:endParaRPr>
          </a:p>
          <a:p>
            <a:pPr algn="ctr"/>
            <a:endParaRPr lang="ru-RU" dirty="0">
              <a:latin typeface="Arial" panose="020B0604020202020204" pitchFamily="34" charset="0"/>
              <a:cs typeface="Arial" panose="020B0604020202020204" pitchFamily="34" charset="0"/>
            </a:endParaRPr>
          </a:p>
          <a:p>
            <a:pPr algn="ctr"/>
            <a:r>
              <a:rPr lang="ru-RU" sz="1400" dirty="0">
                <a:solidFill>
                  <a:schemeClr val="bg1"/>
                </a:solidFill>
                <a:latin typeface="Arial" panose="020B0604020202020204" pitchFamily="34" charset="0"/>
                <a:cs typeface="Arial" panose="020B0604020202020204" pitchFamily="34" charset="0"/>
              </a:rPr>
              <a:t>Объем </a:t>
            </a:r>
          </a:p>
          <a:p>
            <a:pPr algn="ctr"/>
            <a:r>
              <a:rPr lang="ru-RU" sz="1400" dirty="0">
                <a:solidFill>
                  <a:schemeClr val="bg1"/>
                </a:solidFill>
                <a:latin typeface="Arial" panose="020B0604020202020204" pitchFamily="34" charset="0"/>
                <a:cs typeface="Arial" panose="020B0604020202020204" pitchFamily="34" charset="0"/>
              </a:rPr>
              <a:t>производства</a:t>
            </a:r>
          </a:p>
        </p:txBody>
      </p:sp>
      <p:grpSp>
        <p:nvGrpSpPr>
          <p:cNvPr id="10" name="Группа 9"/>
          <p:cNvGrpSpPr/>
          <p:nvPr/>
        </p:nvGrpSpPr>
        <p:grpSpPr>
          <a:xfrm>
            <a:off x="415100" y="4686976"/>
            <a:ext cx="8728900" cy="1697771"/>
            <a:chOff x="374098" y="4517753"/>
            <a:chExt cx="8728900" cy="1697771"/>
          </a:xfrm>
        </p:grpSpPr>
        <p:sp>
          <p:nvSpPr>
            <p:cNvPr id="23" name="TextBox 22"/>
            <p:cNvSpPr txBox="1"/>
            <p:nvPr/>
          </p:nvSpPr>
          <p:spPr>
            <a:xfrm>
              <a:off x="374098" y="4517753"/>
              <a:ext cx="2772307" cy="1031051"/>
            </a:xfrm>
            <a:prstGeom prst="rect">
              <a:avLst/>
            </a:prstGeom>
            <a:noFill/>
          </p:spPr>
          <p:txBody>
            <a:bodyPr wrap="square" rtlCol="0">
              <a:spAutoFit/>
            </a:bodyPr>
            <a:lstStyle/>
            <a:p>
              <a:pPr algn="ctr"/>
              <a:r>
                <a:rPr lang="ru-RU" sz="2000" b="1" dirty="0">
                  <a:solidFill>
                    <a:schemeClr val="accent5">
                      <a:lumMod val="75000"/>
                    </a:schemeClr>
                  </a:solidFill>
                  <a:latin typeface="Arial" panose="020B0604020202020204" pitchFamily="34" charset="0"/>
                  <a:cs typeface="Arial" panose="020B0604020202020204" pitchFamily="34" charset="0"/>
                </a:rPr>
                <a:t>август </a:t>
              </a:r>
              <a:r>
                <a:rPr lang="ru-RU" sz="2500" b="1" dirty="0">
                  <a:solidFill>
                    <a:schemeClr val="accent5">
                      <a:lumMod val="75000"/>
                    </a:schemeClr>
                  </a:solidFill>
                  <a:latin typeface="Arial" panose="020B0604020202020204" pitchFamily="34" charset="0"/>
                  <a:cs typeface="Arial" panose="020B0604020202020204" pitchFamily="34" charset="0"/>
                </a:rPr>
                <a:t>2017 </a:t>
              </a:r>
              <a:r>
                <a:rPr lang="ru-RU" sz="2000" b="1" dirty="0">
                  <a:solidFill>
                    <a:schemeClr val="accent5">
                      <a:lumMod val="75000"/>
                    </a:schemeClr>
                  </a:solidFill>
                  <a:latin typeface="Arial" panose="020B0604020202020204" pitchFamily="34" charset="0"/>
                  <a:cs typeface="Arial" panose="020B0604020202020204" pitchFamily="34" charset="0"/>
                </a:rPr>
                <a:t>года</a:t>
              </a:r>
              <a:endParaRPr lang="ru-RU" sz="2000" dirty="0">
                <a:solidFill>
                  <a:schemeClr val="accent5">
                    <a:lumMod val="75000"/>
                  </a:schemeClr>
                </a:solidFill>
                <a:latin typeface="Arial" panose="020B0604020202020204" pitchFamily="34" charset="0"/>
                <a:cs typeface="Arial" panose="020B0604020202020204" pitchFamily="34" charset="0"/>
              </a:endParaRPr>
            </a:p>
            <a:p>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Начато производство оксида скандия</a:t>
              </a:r>
            </a:p>
          </p:txBody>
        </p:sp>
        <p:sp>
          <p:nvSpPr>
            <p:cNvPr id="8" name="Прямоугольник 7"/>
            <p:cNvSpPr/>
            <p:nvPr/>
          </p:nvSpPr>
          <p:spPr>
            <a:xfrm>
              <a:off x="3342358" y="4538142"/>
              <a:ext cx="2880320" cy="1677382"/>
            </a:xfrm>
            <a:prstGeom prst="rect">
              <a:avLst/>
            </a:prstGeom>
          </p:spPr>
          <p:txBody>
            <a:bodyPr wrap="square">
              <a:spAutoFit/>
            </a:bodyPr>
            <a:lstStyle/>
            <a:p>
              <a:pPr algn="ctr"/>
              <a:r>
                <a:rPr lang="ru-RU" sz="2500" b="1" dirty="0">
                  <a:solidFill>
                    <a:schemeClr val="accent5">
                      <a:lumMod val="75000"/>
                    </a:schemeClr>
                  </a:solidFill>
                  <a:latin typeface="Arial" panose="020B0604020202020204" pitchFamily="34" charset="0"/>
                  <a:cs typeface="Arial" panose="020B0604020202020204" pitchFamily="34" charset="0"/>
                </a:rPr>
                <a:t>2018 </a:t>
              </a:r>
              <a:r>
                <a:rPr lang="ru-RU" sz="2000" b="1" dirty="0">
                  <a:solidFill>
                    <a:schemeClr val="accent5">
                      <a:lumMod val="75000"/>
                    </a:schemeClr>
                  </a:solidFill>
                  <a:latin typeface="Arial" panose="020B0604020202020204" pitchFamily="34" charset="0"/>
                  <a:cs typeface="Arial" panose="020B0604020202020204" pitchFamily="34" charset="0"/>
                </a:rPr>
                <a:t>год</a:t>
              </a:r>
            </a:p>
            <a:p>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Создана «чистая комната» —</a:t>
              </a:r>
            </a:p>
            <a:p>
              <a:pPr algn="ctr"/>
              <a:r>
                <a:rPr lang="ru-RU" sz="1400" dirty="0">
                  <a:latin typeface="Arial" panose="020B0604020202020204" pitchFamily="34" charset="0"/>
                  <a:cs typeface="Arial" panose="020B0604020202020204" pitchFamily="34" charset="0"/>
                </a:rPr>
                <a:t>комплекс оборудования,</a:t>
              </a:r>
            </a:p>
            <a:p>
              <a:pPr algn="ctr"/>
              <a:r>
                <a:rPr lang="ru-RU" sz="1400" dirty="0">
                  <a:latin typeface="Arial" panose="020B0604020202020204" pitchFamily="34" charset="0"/>
                  <a:cs typeface="Arial" panose="020B0604020202020204" pitchFamily="34" charset="0"/>
                </a:rPr>
                <a:t>позволивший достичь</a:t>
              </a:r>
            </a:p>
            <a:p>
              <a:pPr algn="ctr"/>
              <a:r>
                <a:rPr lang="ru-RU" sz="1400" dirty="0">
                  <a:latin typeface="Arial" panose="020B0604020202020204" pitchFamily="34" charset="0"/>
                  <a:cs typeface="Arial" panose="020B0604020202020204" pitchFamily="34" charset="0"/>
                </a:rPr>
                <a:t>чистоты оксида скандия </a:t>
              </a:r>
              <a:r>
                <a:rPr lang="en-US" sz="1400" kern="0" dirty="0">
                  <a:latin typeface="Arial" charset="0"/>
                  <a:cs typeface="Arial" charset="0"/>
                </a:rPr>
                <a:t>Sc</a:t>
              </a:r>
              <a:r>
                <a:rPr lang="en-US" sz="1400" kern="0" baseline="-25000" dirty="0">
                  <a:latin typeface="Arial" charset="0"/>
                  <a:cs typeface="Arial" charset="0"/>
                </a:rPr>
                <a:t>2</a:t>
              </a:r>
              <a:r>
                <a:rPr lang="en-US" sz="1400" kern="0" dirty="0">
                  <a:latin typeface="Arial" charset="0"/>
                  <a:cs typeface="Arial" charset="0"/>
                </a:rPr>
                <a:t>O</a:t>
              </a:r>
              <a:r>
                <a:rPr lang="en-US" sz="1400" kern="0" baseline="-25000" dirty="0">
                  <a:latin typeface="Arial" charset="0"/>
                  <a:cs typeface="Arial" charset="0"/>
                </a:rPr>
                <a:t>3</a:t>
              </a:r>
              <a:endParaRPr lang="ru-RU" sz="14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более 99,9%</a:t>
              </a:r>
            </a:p>
          </p:txBody>
        </p:sp>
        <p:sp>
          <p:nvSpPr>
            <p:cNvPr id="25" name="Прямоугольник 24"/>
            <p:cNvSpPr/>
            <p:nvPr/>
          </p:nvSpPr>
          <p:spPr>
            <a:xfrm>
              <a:off x="6222678" y="4517753"/>
              <a:ext cx="2880320" cy="1246495"/>
            </a:xfrm>
            <a:prstGeom prst="rect">
              <a:avLst/>
            </a:prstGeom>
          </p:spPr>
          <p:txBody>
            <a:bodyPr wrap="square">
              <a:spAutoFit/>
            </a:bodyPr>
            <a:lstStyle/>
            <a:p>
              <a:pPr algn="ctr"/>
              <a:r>
                <a:rPr lang="ru-RU" sz="2500" b="1" dirty="0">
                  <a:solidFill>
                    <a:schemeClr val="accent5">
                      <a:lumMod val="75000"/>
                    </a:schemeClr>
                  </a:solidFill>
                  <a:latin typeface="Arial" panose="020B0604020202020204" pitchFamily="34" charset="0"/>
                  <a:cs typeface="Arial" panose="020B0604020202020204" pitchFamily="34" charset="0"/>
                </a:rPr>
                <a:t>2021 </a:t>
              </a:r>
              <a:r>
                <a:rPr lang="ru-RU" sz="2000" b="1" dirty="0">
                  <a:solidFill>
                    <a:schemeClr val="accent5">
                      <a:lumMod val="75000"/>
                    </a:schemeClr>
                  </a:solidFill>
                  <a:latin typeface="Arial" panose="020B0604020202020204" pitchFamily="34" charset="0"/>
                  <a:cs typeface="Arial" panose="020B0604020202020204" pitchFamily="34" charset="0"/>
                </a:rPr>
                <a:t>год</a:t>
              </a:r>
            </a:p>
            <a:p>
              <a:pPr algn="ctr"/>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Введены в эксплуатацию мобильные сорбционные установки</a:t>
              </a:r>
            </a:p>
          </p:txBody>
        </p:sp>
      </p:grpSp>
      <p:pic>
        <p:nvPicPr>
          <p:cNvPr id="2" name="Рисунок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5861" y="1345177"/>
            <a:ext cx="3419873" cy="2921761"/>
          </a:xfrm>
          <a:prstGeom prst="rect">
            <a:avLst/>
          </a:prstGeom>
          <a:effectLst>
            <a:glow>
              <a:schemeClr val="accent1">
                <a:alpha val="40000"/>
              </a:schemeClr>
            </a:glow>
          </a:effectLst>
        </p:spPr>
      </p:pic>
      <p:sp>
        <p:nvSpPr>
          <p:cNvPr id="13" name="AutoShape 27"/>
          <p:cNvSpPr>
            <a:spLocks noChangeArrowheads="1"/>
          </p:cNvSpPr>
          <p:nvPr/>
        </p:nvSpPr>
        <p:spPr bwMode="auto">
          <a:xfrm>
            <a:off x="4644008" y="1888486"/>
            <a:ext cx="977775" cy="917572"/>
          </a:xfrm>
          <a:prstGeom prst="roundRect">
            <a:avLst>
              <a:gd name="adj" fmla="val 16667"/>
            </a:avLst>
          </a:prstGeom>
          <a:solidFill>
            <a:schemeClr val="bg1"/>
          </a:solidFill>
          <a:ln w="9525">
            <a:solidFill>
              <a:srgbClr val="5B9BD5"/>
            </a:solidFill>
            <a:prstDash val="sysDot"/>
            <a:round/>
            <a:headEnd/>
            <a:tailEnd/>
          </a:ln>
        </p:spPr>
        <p:txBody>
          <a:bodyPr wrap="none" lIns="0" tIns="0" rIns="0" bIns="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err="1">
                <a:ln>
                  <a:noFill/>
                </a:ln>
                <a:solidFill>
                  <a:srgbClr val="06BAFA"/>
                </a:solidFill>
                <a:effectLst/>
                <a:uLnTx/>
                <a:uFillTx/>
                <a:latin typeface="Arial" panose="020B0604020202020204" pitchFamily="34" charset="0"/>
                <a:cs typeface="Arial" panose="020B0604020202020204" pitchFamily="34" charset="0"/>
              </a:rPr>
              <a:t>Sc</a:t>
            </a:r>
            <a:endParaRPr kumimoji="0" lang="ru-RU" sz="2800" b="1" i="0" u="none" strike="noStrike" kern="0" cap="none" spc="0" normalizeH="0" baseline="0" noProof="0" dirty="0">
              <a:ln>
                <a:noFill/>
              </a:ln>
              <a:solidFill>
                <a:srgbClr val="06BAFA"/>
              </a:solidFill>
              <a:effectLst/>
              <a:uLnTx/>
              <a:uFillTx/>
              <a:latin typeface="Arial" panose="020B0604020202020204" pitchFamily="34" charset="0"/>
              <a:cs typeface="Arial" panose="020B0604020202020204" pitchFamily="34" charset="0"/>
            </a:endParaRPr>
          </a:p>
        </p:txBody>
      </p:sp>
      <p:cxnSp>
        <p:nvCxnSpPr>
          <p:cNvPr id="17" name="Прямая соединительная линия 16"/>
          <p:cNvCxnSpPr/>
          <p:nvPr/>
        </p:nvCxnSpPr>
        <p:spPr>
          <a:xfrm>
            <a:off x="4283968" y="3140968"/>
            <a:ext cx="4248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nvCxnSpPr>
        <p:spPr>
          <a:xfrm>
            <a:off x="323528" y="5229200"/>
            <a:ext cx="8640960"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8668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Прямоугольник 28"/>
          <p:cNvSpPr/>
          <p:nvPr/>
        </p:nvSpPr>
        <p:spPr>
          <a:xfrm>
            <a:off x="323528" y="1116111"/>
            <a:ext cx="8640960" cy="342203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3" name="Объект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305" imgH="303" progId="TCLayout.ActiveDocument.1">
                  <p:embed/>
                </p:oleObj>
              </mc:Choice>
              <mc:Fallback>
                <p:oleObj name="Слайд think-cell" r:id="rId4" imgW="305" imgH="303" progId="TCLayout.ActiveDocument.1">
                  <p:embed/>
                  <p:pic>
                    <p:nvPicPr>
                      <p:cNvPr id="3" name="Объект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99" name="Заголовок 1"/>
          <p:cNvSpPr>
            <a:spLocks noGrp="1"/>
          </p:cNvSpPr>
          <p:nvPr>
            <p:ph type="title"/>
          </p:nvPr>
        </p:nvSpPr>
        <p:spPr>
          <a:xfrm>
            <a:off x="323528" y="160931"/>
            <a:ext cx="7424388" cy="440138"/>
          </a:xfrm>
        </p:spPr>
        <p:txBody>
          <a:bodyPr vert="horz"/>
          <a:lstStyle/>
          <a:p>
            <a:r>
              <a:rPr lang="ru-RU" sz="2000" b="1" dirty="0">
                <a:latin typeface="Arial" panose="020B0604020202020204" pitchFamily="34" charset="0"/>
                <a:cs typeface="Arial" panose="020B0604020202020204" pitchFamily="34" charset="0"/>
              </a:rPr>
              <a:t>Проект «Титан» - создание производства на базе титан-циркониевых россыпей </a:t>
            </a:r>
            <a:r>
              <a:rPr lang="ru-RU" sz="2000" b="1" dirty="0" err="1">
                <a:latin typeface="Arial" panose="020B0604020202020204" pitchFamily="34" charset="0"/>
                <a:cs typeface="Arial" panose="020B0604020202020204" pitchFamily="34" charset="0"/>
              </a:rPr>
              <a:t>Туганского</a:t>
            </a:r>
            <a:r>
              <a:rPr lang="ru-RU" sz="2000" b="1" dirty="0">
                <a:latin typeface="Arial" panose="020B0604020202020204" pitchFamily="34" charset="0"/>
                <a:cs typeface="Arial" panose="020B0604020202020204" pitchFamily="34" charset="0"/>
              </a:rPr>
              <a:t> месторождения  (Томская область)</a:t>
            </a:r>
          </a:p>
        </p:txBody>
      </p:sp>
      <p:sp>
        <p:nvSpPr>
          <p:cNvPr id="14" name="Номер слайда 3"/>
          <p:cNvSpPr>
            <a:spLocks noGrp="1"/>
          </p:cNvSpPr>
          <p:nvPr>
            <p:ph type="sldNum" sz="quarter" idx="12"/>
          </p:nvPr>
        </p:nvSpPr>
        <p:spPr>
          <a:xfrm>
            <a:off x="8172400" y="6304235"/>
            <a:ext cx="648072" cy="365125"/>
          </a:xfrm>
        </p:spPr>
        <p:txBody>
          <a:bodyPr lIns="108000" tIns="108000" rIns="36000"/>
          <a:lstStyle/>
          <a:p>
            <a:pPr algn="r"/>
            <a:fld id="{95796595-87BE-4F99-B285-193933375439}" type="slidenum">
              <a:rPr lang="en-US" sz="1200" smtClean="0">
                <a:solidFill>
                  <a:srgbClr val="333333"/>
                </a:solidFill>
                <a:latin typeface="Arial" charset="0"/>
                <a:ea typeface="Arial" charset="0"/>
                <a:cs typeface="Arial" charset="0"/>
              </a:rPr>
              <a:t>9</a:t>
            </a:fld>
            <a:endParaRPr lang="ru-RU" sz="1200" dirty="0">
              <a:solidFill>
                <a:srgbClr val="333333"/>
              </a:solidFill>
              <a:latin typeface="Arial" charset="0"/>
              <a:ea typeface="Arial" charset="0"/>
              <a:cs typeface="Arial" charset="0"/>
            </a:endParaRPr>
          </a:p>
        </p:txBody>
      </p:sp>
      <p:sp>
        <p:nvSpPr>
          <p:cNvPr id="5" name="TextBox 4"/>
          <p:cNvSpPr txBox="1"/>
          <p:nvPr/>
        </p:nvSpPr>
        <p:spPr>
          <a:xfrm>
            <a:off x="4069652" y="3288972"/>
            <a:ext cx="2690680" cy="738664"/>
          </a:xfrm>
          <a:prstGeom prst="rect">
            <a:avLst/>
          </a:prstGeom>
          <a:noFill/>
        </p:spPr>
        <p:txBody>
          <a:bodyPr wrap="square" rtlCol="0">
            <a:spAutoFit/>
          </a:bodyPr>
          <a:lstStyle/>
          <a:p>
            <a:pPr algn="ctr"/>
            <a:r>
              <a:rPr lang="ru-RU" sz="1400" dirty="0">
                <a:solidFill>
                  <a:schemeClr val="bg1"/>
                </a:solidFill>
                <a:latin typeface="Arial" panose="020B0604020202020204" pitchFamily="34" charset="0"/>
                <a:cs typeface="Arial" panose="020B0604020202020204" pitchFamily="34" charset="0"/>
              </a:rPr>
              <a:t>Начало </a:t>
            </a:r>
            <a:r>
              <a:rPr lang="ru-RU" sz="1400" dirty="0" err="1">
                <a:solidFill>
                  <a:schemeClr val="bg1"/>
                </a:solidFill>
                <a:latin typeface="Arial" panose="020B0604020202020204" pitchFamily="34" charset="0"/>
                <a:cs typeface="Arial" panose="020B0604020202020204" pitchFamily="34" charset="0"/>
              </a:rPr>
              <a:t>импортозамещения</a:t>
            </a:r>
            <a:r>
              <a:rPr lang="ru-RU" sz="1400" dirty="0">
                <a:solidFill>
                  <a:schemeClr val="bg1"/>
                </a:solidFill>
                <a:latin typeface="Arial" panose="020B0604020202020204" pitchFamily="34" charset="0"/>
                <a:cs typeface="Arial" panose="020B0604020202020204" pitchFamily="34" charset="0"/>
              </a:rPr>
              <a:t> </a:t>
            </a:r>
            <a:br>
              <a:rPr lang="ru-RU" sz="1400" dirty="0">
                <a:solidFill>
                  <a:schemeClr val="bg1"/>
                </a:solidFill>
                <a:latin typeface="Arial" panose="020B0604020202020204" pitchFamily="34" charset="0"/>
                <a:cs typeface="Arial" panose="020B0604020202020204" pitchFamily="34" charset="0"/>
              </a:rPr>
            </a:br>
            <a:r>
              <a:rPr lang="ru-RU" sz="1400" dirty="0">
                <a:solidFill>
                  <a:schemeClr val="bg1"/>
                </a:solidFill>
                <a:latin typeface="Arial" panose="020B0604020202020204" pitchFamily="34" charset="0"/>
                <a:cs typeface="Arial" panose="020B0604020202020204" pitchFamily="34" charset="0"/>
              </a:rPr>
              <a:t>в Российской Федерации титановых и циркониевых руд</a:t>
            </a:r>
          </a:p>
        </p:txBody>
      </p:sp>
      <p:sp>
        <p:nvSpPr>
          <p:cNvPr id="7" name="TextBox 6"/>
          <p:cNvSpPr txBox="1"/>
          <p:nvPr/>
        </p:nvSpPr>
        <p:spPr>
          <a:xfrm>
            <a:off x="6203669" y="1236002"/>
            <a:ext cx="2800403" cy="2723823"/>
          </a:xfrm>
          <a:prstGeom prst="rect">
            <a:avLst/>
          </a:prstGeom>
          <a:noFill/>
        </p:spPr>
        <p:txBody>
          <a:bodyPr wrap="square" rtlCol="0">
            <a:spAutoFit/>
          </a:bodyPr>
          <a:lstStyle/>
          <a:p>
            <a:pPr algn="ctr"/>
            <a:r>
              <a:rPr lang="ru-RU" sz="4500" b="1" kern="0" spc="-28" dirty="0">
                <a:solidFill>
                  <a:schemeClr val="bg1"/>
                </a:solidFill>
                <a:latin typeface="Arial" panose="020B0604020202020204" pitchFamily="34" charset="0"/>
                <a:cs typeface="Arial" panose="020B0604020202020204" pitchFamily="34" charset="0"/>
              </a:rPr>
              <a:t>15 </a:t>
            </a:r>
            <a:r>
              <a:rPr lang="ru-RU" sz="1500" kern="0" spc="-28" dirty="0">
                <a:solidFill>
                  <a:schemeClr val="bg1"/>
                </a:solidFill>
                <a:latin typeface="Arial" panose="020B0604020202020204" pitchFamily="34" charset="0"/>
                <a:cs typeface="Arial" panose="020B0604020202020204" pitchFamily="34" charset="0"/>
              </a:rPr>
              <a:t>тыс. тонн концентратов </a:t>
            </a:r>
            <a:r>
              <a:rPr lang="en-US" sz="1500" kern="0" spc="-28" dirty="0" err="1">
                <a:solidFill>
                  <a:schemeClr val="bg1"/>
                </a:solidFill>
                <a:latin typeface="Arial" panose="020B0604020202020204" pitchFamily="34" charset="0"/>
                <a:cs typeface="Arial" panose="020B0604020202020204" pitchFamily="34" charset="0"/>
              </a:rPr>
              <a:t>Ti</a:t>
            </a:r>
            <a:r>
              <a:rPr lang="en-US" sz="1500" kern="0" spc="-28" dirty="0">
                <a:solidFill>
                  <a:schemeClr val="bg1"/>
                </a:solidFill>
                <a:latin typeface="Arial" panose="020B0604020202020204" pitchFamily="34" charset="0"/>
                <a:cs typeface="Arial" panose="020B0604020202020204" pitchFamily="34" charset="0"/>
              </a:rPr>
              <a:t> </a:t>
            </a:r>
            <a:r>
              <a:rPr lang="ru-RU" sz="1500" kern="0" spc="-28" dirty="0">
                <a:solidFill>
                  <a:schemeClr val="bg1"/>
                </a:solidFill>
                <a:latin typeface="Arial" panose="020B0604020202020204" pitchFamily="34" charset="0"/>
                <a:cs typeface="Arial" panose="020B0604020202020204" pitchFamily="34" charset="0"/>
              </a:rPr>
              <a:t>и </a:t>
            </a:r>
            <a:r>
              <a:rPr lang="en-US" sz="1500" kern="0" spc="-28" dirty="0" err="1">
                <a:solidFill>
                  <a:schemeClr val="bg1"/>
                </a:solidFill>
                <a:latin typeface="Arial" panose="020B0604020202020204" pitchFamily="34" charset="0"/>
                <a:cs typeface="Arial" panose="020B0604020202020204" pitchFamily="34" charset="0"/>
              </a:rPr>
              <a:t>Zr</a:t>
            </a:r>
            <a:br>
              <a:rPr lang="en-US" sz="1500" kern="0" spc="-28" dirty="0">
                <a:solidFill>
                  <a:schemeClr val="bg1"/>
                </a:solidFill>
                <a:latin typeface="Arial" panose="020B0604020202020204" pitchFamily="34" charset="0"/>
                <a:cs typeface="Arial" panose="020B0604020202020204" pitchFamily="34" charset="0"/>
              </a:rPr>
            </a:br>
            <a:r>
              <a:rPr lang="ru-RU" sz="4500" b="1" kern="0" spc="-28" dirty="0">
                <a:solidFill>
                  <a:schemeClr val="bg1"/>
                </a:solidFill>
                <a:latin typeface="Arial" panose="020B0604020202020204" pitchFamily="34" charset="0"/>
                <a:cs typeface="Arial" panose="020B0604020202020204" pitchFamily="34" charset="0"/>
              </a:rPr>
              <a:t>575 </a:t>
            </a:r>
            <a:r>
              <a:rPr lang="ru-RU" sz="1500" dirty="0">
                <a:solidFill>
                  <a:schemeClr val="bg1"/>
                </a:solidFill>
                <a:latin typeface="Arial" panose="020B0604020202020204" pitchFamily="34" charset="0"/>
                <a:cs typeface="Arial" panose="020B0604020202020204" pitchFamily="34" charset="0"/>
              </a:rPr>
              <a:t>тыс. тонн </a:t>
            </a:r>
          </a:p>
          <a:p>
            <a:pPr algn="ctr"/>
            <a:r>
              <a:rPr lang="ru-RU" sz="1500" dirty="0">
                <a:solidFill>
                  <a:schemeClr val="bg1"/>
                </a:solidFill>
                <a:latin typeface="Arial" panose="020B0604020202020204" pitchFamily="34" charset="0"/>
                <a:cs typeface="Arial" panose="020B0604020202020204" pitchFamily="34" charset="0"/>
              </a:rPr>
              <a:t>руды в год</a:t>
            </a:r>
          </a:p>
          <a:p>
            <a:pPr algn="ctr"/>
            <a:endParaRPr lang="ru-RU" sz="1500" dirty="0">
              <a:solidFill>
                <a:schemeClr val="bg1"/>
              </a:solidFill>
              <a:latin typeface="Arial" panose="020B0604020202020204" pitchFamily="34" charset="0"/>
              <a:cs typeface="Arial" panose="020B0604020202020204" pitchFamily="34" charset="0"/>
            </a:endParaRPr>
          </a:p>
          <a:p>
            <a:pPr algn="ctr"/>
            <a:endParaRPr lang="ru-RU" sz="800" dirty="0">
              <a:latin typeface="Arial" panose="020B0604020202020204" pitchFamily="34" charset="0"/>
              <a:cs typeface="Arial" panose="020B0604020202020204" pitchFamily="34" charset="0"/>
            </a:endParaRPr>
          </a:p>
          <a:p>
            <a:pPr algn="ctr"/>
            <a:r>
              <a:rPr lang="ru-RU" sz="1400" dirty="0">
                <a:solidFill>
                  <a:schemeClr val="bg1"/>
                </a:solidFill>
                <a:latin typeface="Arial" panose="020B0604020202020204" pitchFamily="34" charset="0"/>
                <a:cs typeface="Arial" panose="020B0604020202020204" pitchFamily="34" charset="0"/>
              </a:rPr>
              <a:t>Объем </a:t>
            </a:r>
          </a:p>
          <a:p>
            <a:pPr algn="ctr"/>
            <a:r>
              <a:rPr lang="ru-RU" sz="1400" dirty="0">
                <a:solidFill>
                  <a:schemeClr val="bg1"/>
                </a:solidFill>
                <a:latin typeface="Arial" panose="020B0604020202020204" pitchFamily="34" charset="0"/>
                <a:cs typeface="Arial" panose="020B0604020202020204" pitchFamily="34" charset="0"/>
              </a:rPr>
              <a:t>производства</a:t>
            </a:r>
          </a:p>
        </p:txBody>
      </p:sp>
      <p:sp>
        <p:nvSpPr>
          <p:cNvPr id="23" name="TextBox 22"/>
          <p:cNvSpPr txBox="1"/>
          <p:nvPr/>
        </p:nvSpPr>
        <p:spPr>
          <a:xfrm>
            <a:off x="395536" y="4737201"/>
            <a:ext cx="2772307" cy="1246495"/>
          </a:xfrm>
          <a:prstGeom prst="rect">
            <a:avLst/>
          </a:prstGeom>
          <a:noFill/>
        </p:spPr>
        <p:txBody>
          <a:bodyPr wrap="square" rtlCol="0">
            <a:spAutoFit/>
          </a:bodyPr>
          <a:lstStyle/>
          <a:p>
            <a:pPr algn="ctr"/>
            <a:r>
              <a:rPr lang="ru-RU" sz="2500" b="1" dirty="0">
                <a:solidFill>
                  <a:srgbClr val="1F4E79"/>
                </a:solidFill>
                <a:latin typeface="Arial" panose="020B0604020202020204" pitchFamily="34" charset="0"/>
                <a:cs typeface="Arial" panose="020B0604020202020204" pitchFamily="34" charset="0"/>
              </a:rPr>
              <a:t>2021 </a:t>
            </a:r>
            <a:r>
              <a:rPr lang="ru-RU" sz="2000" b="1" dirty="0">
                <a:solidFill>
                  <a:srgbClr val="1F4E79"/>
                </a:solidFill>
                <a:latin typeface="Arial" panose="020B0604020202020204" pitchFamily="34" charset="0"/>
                <a:cs typeface="Arial" panose="020B0604020202020204" pitchFamily="34" charset="0"/>
              </a:rPr>
              <a:t>год</a:t>
            </a:r>
            <a:endParaRPr lang="ru-RU" sz="2000" dirty="0">
              <a:solidFill>
                <a:srgbClr val="1F4E79"/>
              </a:solidFill>
              <a:latin typeface="Arial" panose="020B0604020202020204" pitchFamily="34" charset="0"/>
              <a:cs typeface="Arial" panose="020B0604020202020204" pitchFamily="34" charset="0"/>
            </a:endParaRPr>
          </a:p>
          <a:p>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Завершено строительство </a:t>
            </a:r>
            <a:br>
              <a:rPr lang="ru-RU" sz="1400" dirty="0">
                <a:latin typeface="Arial" panose="020B0604020202020204" pitchFamily="34" charset="0"/>
                <a:cs typeface="Arial" panose="020B0604020202020204" pitchFamily="34" charset="0"/>
              </a:rPr>
            </a:br>
            <a:r>
              <a:rPr lang="ru-RU" sz="1400" dirty="0">
                <a:latin typeface="Arial" panose="020B0604020202020204" pitchFamily="34" charset="0"/>
                <a:cs typeface="Arial" panose="020B0604020202020204" pitchFamily="34" charset="0"/>
              </a:rPr>
              <a:t>I очереди ГОКа</a:t>
            </a:r>
          </a:p>
          <a:p>
            <a:pPr algn="ctr"/>
            <a:endParaRPr lang="ru-RU" sz="1400" dirty="0">
              <a:latin typeface="Arial" panose="020B0604020202020204" pitchFamily="34" charset="0"/>
              <a:cs typeface="Arial" panose="020B0604020202020204" pitchFamily="34" charset="0"/>
            </a:endParaRPr>
          </a:p>
        </p:txBody>
      </p:sp>
      <p:sp>
        <p:nvSpPr>
          <p:cNvPr id="8" name="Прямоугольник 7"/>
          <p:cNvSpPr/>
          <p:nvPr/>
        </p:nvSpPr>
        <p:spPr>
          <a:xfrm>
            <a:off x="3263599" y="4729415"/>
            <a:ext cx="3168352" cy="1954381"/>
          </a:xfrm>
          <a:prstGeom prst="rect">
            <a:avLst/>
          </a:prstGeom>
        </p:spPr>
        <p:txBody>
          <a:bodyPr wrap="square">
            <a:spAutoFit/>
          </a:bodyPr>
          <a:lstStyle/>
          <a:p>
            <a:pPr algn="ctr"/>
            <a:r>
              <a:rPr lang="ru-RU" sz="2500" b="1" dirty="0">
                <a:solidFill>
                  <a:srgbClr val="1F4E79"/>
                </a:solidFill>
                <a:latin typeface="Arial" panose="020B0604020202020204" pitchFamily="34" charset="0"/>
                <a:cs typeface="Arial" panose="020B0604020202020204" pitchFamily="34" charset="0"/>
              </a:rPr>
              <a:t>2022 </a:t>
            </a:r>
            <a:r>
              <a:rPr lang="ru-RU" sz="2000" b="1" dirty="0">
                <a:solidFill>
                  <a:srgbClr val="1F4E79"/>
                </a:solidFill>
                <a:latin typeface="Arial" panose="020B0604020202020204" pitchFamily="34" charset="0"/>
                <a:cs typeface="Arial" panose="020B0604020202020204" pitchFamily="34" charset="0"/>
              </a:rPr>
              <a:t>год</a:t>
            </a:r>
          </a:p>
          <a:p>
            <a:pPr algn="ctr"/>
            <a:endParaRPr lang="ru-RU" sz="800" b="1" dirty="0">
              <a:solidFill>
                <a:srgbClr val="1F4E79"/>
              </a:solidFill>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Осуществляется выпуск продукции:</a:t>
            </a:r>
          </a:p>
          <a:p>
            <a:pPr marL="171450" indent="-171450">
              <a:buFont typeface="Arial" panose="020B0604020202020204" pitchFamily="34" charset="0"/>
              <a:buChar char="•"/>
            </a:pPr>
            <a:r>
              <a:rPr lang="ru-RU" sz="1200" i="1" dirty="0">
                <a:latin typeface="Arial" panose="020B0604020202020204" pitchFamily="34" charset="0"/>
                <a:cs typeface="Arial" panose="020B0604020202020204" pitchFamily="34" charset="0"/>
              </a:rPr>
              <a:t>Титановые концентраты </a:t>
            </a:r>
            <a:br>
              <a:rPr lang="ru-RU" sz="1200" i="1" dirty="0">
                <a:latin typeface="Arial" panose="020B0604020202020204" pitchFamily="34" charset="0"/>
                <a:cs typeface="Arial" panose="020B0604020202020204" pitchFamily="34" charset="0"/>
              </a:rPr>
            </a:br>
            <a:r>
              <a:rPr lang="ru-RU" sz="1200" i="1" dirty="0">
                <a:latin typeface="Arial" panose="020B0604020202020204" pitchFamily="34" charset="0"/>
                <a:cs typeface="Arial" panose="020B0604020202020204" pitchFamily="34" charset="0"/>
              </a:rPr>
              <a:t>(ильменит, рутил)</a:t>
            </a:r>
          </a:p>
          <a:p>
            <a:pPr marL="171450" indent="-171450">
              <a:buFont typeface="Arial" panose="020B0604020202020204" pitchFamily="34" charset="0"/>
              <a:buChar char="•"/>
            </a:pPr>
            <a:r>
              <a:rPr lang="ru-RU" sz="1200" i="1" dirty="0" err="1">
                <a:latin typeface="Arial" panose="020B0604020202020204" pitchFamily="34" charset="0"/>
                <a:cs typeface="Arial" panose="020B0604020202020204" pitchFamily="34" charset="0"/>
              </a:rPr>
              <a:t>Цирконовый</a:t>
            </a:r>
            <a:r>
              <a:rPr lang="ru-RU" sz="1200" i="1" dirty="0">
                <a:latin typeface="Arial" panose="020B0604020202020204" pitchFamily="34" charset="0"/>
                <a:cs typeface="Arial" panose="020B0604020202020204" pitchFamily="34" charset="0"/>
              </a:rPr>
              <a:t> концентрат</a:t>
            </a:r>
          </a:p>
          <a:p>
            <a:pPr marL="171450" indent="-171450">
              <a:buFont typeface="Arial" panose="020B0604020202020204" pitchFamily="34" charset="0"/>
              <a:buChar char="•"/>
            </a:pPr>
            <a:r>
              <a:rPr lang="ru-RU" sz="1200" i="1" dirty="0">
                <a:latin typeface="Arial" panose="020B0604020202020204" pitchFamily="34" charset="0"/>
                <a:cs typeface="Arial" panose="020B0604020202020204" pitchFamily="34" charset="0"/>
              </a:rPr>
              <a:t>Пески (стекольные, фракционированные)</a:t>
            </a:r>
            <a:endParaRPr lang="ru-RU" sz="1400" dirty="0">
              <a:latin typeface="Arial" panose="020B0604020202020204" pitchFamily="34" charset="0"/>
              <a:cs typeface="Arial" panose="020B0604020202020204" pitchFamily="34" charset="0"/>
            </a:endParaRPr>
          </a:p>
          <a:p>
            <a:pPr algn="ctr"/>
            <a:endParaRPr lang="ru-RU" sz="1400" dirty="0">
              <a:latin typeface="Arial" panose="020B0604020202020204" pitchFamily="34" charset="0"/>
              <a:cs typeface="Arial" panose="020B0604020202020204" pitchFamily="34" charset="0"/>
            </a:endParaRPr>
          </a:p>
        </p:txBody>
      </p:sp>
      <p:sp>
        <p:nvSpPr>
          <p:cNvPr id="25" name="Прямоугольник 24"/>
          <p:cNvSpPr/>
          <p:nvPr/>
        </p:nvSpPr>
        <p:spPr>
          <a:xfrm>
            <a:off x="6120170" y="4729415"/>
            <a:ext cx="2880320" cy="1862048"/>
          </a:xfrm>
          <a:prstGeom prst="rect">
            <a:avLst/>
          </a:prstGeom>
        </p:spPr>
        <p:txBody>
          <a:bodyPr wrap="square">
            <a:spAutoFit/>
          </a:bodyPr>
          <a:lstStyle/>
          <a:p>
            <a:pPr algn="ctr"/>
            <a:r>
              <a:rPr lang="ru-RU" sz="2500" b="1" dirty="0">
                <a:solidFill>
                  <a:srgbClr val="1F4E79"/>
                </a:solidFill>
                <a:latin typeface="Arial" panose="020B0604020202020204" pitchFamily="34" charset="0"/>
                <a:cs typeface="Arial" panose="020B0604020202020204" pitchFamily="34" charset="0"/>
              </a:rPr>
              <a:t>2027 </a:t>
            </a:r>
            <a:r>
              <a:rPr lang="ru-RU" sz="2000" b="1" dirty="0">
                <a:solidFill>
                  <a:srgbClr val="1F4E79"/>
                </a:solidFill>
                <a:latin typeface="Arial" panose="020B0604020202020204" pitchFamily="34" charset="0"/>
                <a:cs typeface="Arial" panose="020B0604020202020204" pitchFamily="34" charset="0"/>
              </a:rPr>
              <a:t>год</a:t>
            </a:r>
          </a:p>
          <a:p>
            <a:pPr algn="ctr"/>
            <a:endParaRPr lang="ru-RU" sz="800" dirty="0">
              <a:latin typeface="Arial" panose="020B0604020202020204" pitchFamily="34" charset="0"/>
              <a:cs typeface="Arial" panose="020B0604020202020204" pitchFamily="34" charset="0"/>
            </a:endParaRPr>
          </a:p>
          <a:p>
            <a:pPr algn="ctr"/>
            <a:r>
              <a:rPr lang="ru-RU" sz="1400" dirty="0">
                <a:latin typeface="Arial" panose="020B0604020202020204" pitchFamily="34" charset="0"/>
                <a:cs typeface="Arial" panose="020B0604020202020204" pitchFamily="34" charset="0"/>
              </a:rPr>
              <a:t>Запуск </a:t>
            </a:r>
            <a:r>
              <a:rPr lang="en-US" sz="1400" dirty="0">
                <a:latin typeface="Arial" panose="020B0604020202020204" pitchFamily="34" charset="0"/>
                <a:cs typeface="Arial" panose="020B0604020202020204" pitchFamily="34" charset="0"/>
              </a:rPr>
              <a:t>II </a:t>
            </a:r>
            <a:r>
              <a:rPr lang="ru-RU" sz="1400" dirty="0">
                <a:latin typeface="Arial" panose="020B0604020202020204" pitchFamily="34" charset="0"/>
                <a:cs typeface="Arial" panose="020B0604020202020204" pitchFamily="34" charset="0"/>
              </a:rPr>
              <a:t>очереди</a:t>
            </a:r>
          </a:p>
          <a:p>
            <a:pPr algn="ctr"/>
            <a:r>
              <a:rPr lang="en-US" b="1" kern="0" spc="-28" dirty="0">
                <a:solidFill>
                  <a:srgbClr val="1F4E79"/>
                </a:solidFill>
                <a:latin typeface="Arial" panose="020B0604020202020204" pitchFamily="34" charset="0"/>
                <a:cs typeface="Arial" panose="020B0604020202020204" pitchFamily="34" charset="0"/>
              </a:rPr>
              <a:t>60 </a:t>
            </a:r>
            <a:r>
              <a:rPr lang="ru-RU" b="1" kern="0" spc="-28" dirty="0">
                <a:solidFill>
                  <a:srgbClr val="1F4E79"/>
                </a:solidFill>
                <a:latin typeface="Arial" panose="020B0604020202020204" pitchFamily="34" charset="0"/>
                <a:cs typeface="Arial" panose="020B0604020202020204" pitchFamily="34" charset="0"/>
              </a:rPr>
              <a:t>тыс. тонн</a:t>
            </a:r>
          </a:p>
          <a:p>
            <a:pPr algn="ctr"/>
            <a:r>
              <a:rPr lang="ru-RU" sz="1400" kern="0" spc="-28" dirty="0">
                <a:latin typeface="Arial" panose="020B0604020202020204" pitchFamily="34" charset="0"/>
                <a:cs typeface="Arial" panose="020B0604020202020204" pitchFamily="34" charset="0"/>
              </a:rPr>
              <a:t>концентратов </a:t>
            </a:r>
            <a:r>
              <a:rPr lang="en-US" sz="1400" kern="0" spc="-28" dirty="0" err="1">
                <a:latin typeface="Arial" panose="020B0604020202020204" pitchFamily="34" charset="0"/>
                <a:cs typeface="Arial" panose="020B0604020202020204" pitchFamily="34" charset="0"/>
              </a:rPr>
              <a:t>Ti</a:t>
            </a:r>
            <a:r>
              <a:rPr lang="en-US" sz="1400" kern="0" spc="-28" dirty="0">
                <a:latin typeface="Arial" panose="020B0604020202020204" pitchFamily="34" charset="0"/>
                <a:cs typeface="Arial" panose="020B0604020202020204" pitchFamily="34" charset="0"/>
              </a:rPr>
              <a:t> </a:t>
            </a:r>
            <a:r>
              <a:rPr lang="ru-RU" sz="1400" kern="0" spc="-28" dirty="0">
                <a:latin typeface="Arial" panose="020B0604020202020204" pitchFamily="34" charset="0"/>
                <a:cs typeface="Arial" panose="020B0604020202020204" pitchFamily="34" charset="0"/>
              </a:rPr>
              <a:t>и </a:t>
            </a:r>
            <a:r>
              <a:rPr lang="en-US" sz="1400" kern="0" spc="-28" dirty="0" err="1">
                <a:latin typeface="Arial" panose="020B0604020202020204" pitchFamily="34" charset="0"/>
                <a:cs typeface="Arial" panose="020B0604020202020204" pitchFamily="34" charset="0"/>
              </a:rPr>
              <a:t>Zr</a:t>
            </a:r>
            <a:endParaRPr lang="en-US" sz="1400" b="1" kern="0" spc="-28" dirty="0">
              <a:latin typeface="Arial" panose="020B0604020202020204" pitchFamily="34" charset="0"/>
              <a:cs typeface="Arial" panose="020B0604020202020204" pitchFamily="34" charset="0"/>
            </a:endParaRPr>
          </a:p>
          <a:p>
            <a:pPr algn="ctr"/>
            <a:r>
              <a:rPr lang="ru-RU" b="1" kern="0" spc="-28" dirty="0">
                <a:solidFill>
                  <a:srgbClr val="1F4E79"/>
                </a:solidFill>
                <a:latin typeface="Arial" panose="020B0604020202020204" pitchFamily="34" charset="0"/>
                <a:cs typeface="Arial" panose="020B0604020202020204" pitchFamily="34" charset="0"/>
              </a:rPr>
              <a:t>2,3 млн тонн</a:t>
            </a:r>
            <a:r>
              <a:rPr lang="ru-RU" kern="0" spc="-28" dirty="0">
                <a:solidFill>
                  <a:srgbClr val="000000"/>
                </a:solidFill>
                <a:latin typeface="Arial" panose="020B0604020202020204" pitchFamily="34" charset="0"/>
                <a:cs typeface="Arial" panose="020B0604020202020204" pitchFamily="34" charset="0"/>
              </a:rPr>
              <a:t> </a:t>
            </a:r>
          </a:p>
          <a:p>
            <a:pPr algn="ctr"/>
            <a:r>
              <a:rPr lang="ru-RU" sz="1400" kern="0" spc="-28" dirty="0">
                <a:solidFill>
                  <a:srgbClr val="000000"/>
                </a:solidFill>
                <a:latin typeface="Arial" panose="020B0604020202020204" pitchFamily="34" charset="0"/>
                <a:cs typeface="Arial" panose="020B0604020202020204" pitchFamily="34" charset="0"/>
              </a:rPr>
              <a:t>руды в год</a:t>
            </a:r>
          </a:p>
        </p:txBody>
      </p:sp>
      <p:sp>
        <p:nvSpPr>
          <p:cNvPr id="26" name="AutoShape 27"/>
          <p:cNvSpPr>
            <a:spLocks noChangeArrowheads="1"/>
          </p:cNvSpPr>
          <p:nvPr/>
        </p:nvSpPr>
        <p:spPr bwMode="auto">
          <a:xfrm>
            <a:off x="4451731" y="1887636"/>
            <a:ext cx="792088" cy="864096"/>
          </a:xfrm>
          <a:prstGeom prst="roundRect">
            <a:avLst>
              <a:gd name="adj" fmla="val 16667"/>
            </a:avLst>
          </a:prstGeom>
          <a:solidFill>
            <a:schemeClr val="bg1"/>
          </a:solidFill>
          <a:ln w="9525">
            <a:solidFill>
              <a:srgbClr val="5B9BD5"/>
            </a:solidFill>
            <a:prstDash val="sysDot"/>
            <a:round/>
            <a:headEnd/>
            <a:tailEnd/>
          </a:ln>
        </p:spPr>
        <p:txBody>
          <a:bodyPr wrap="none" lIns="0" tIns="0" rIns="0" bIns="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err="1">
                <a:ln>
                  <a:noFill/>
                </a:ln>
                <a:solidFill>
                  <a:srgbClr val="08B9DC"/>
                </a:solidFill>
                <a:effectLst/>
                <a:uLnTx/>
                <a:uFillTx/>
                <a:latin typeface="Arial" panose="020B0604020202020204" pitchFamily="34" charset="0"/>
                <a:cs typeface="Arial" panose="020B0604020202020204" pitchFamily="34" charset="0"/>
              </a:rPr>
              <a:t>Ti</a:t>
            </a:r>
            <a:endParaRPr kumimoji="0" lang="ru-RU" sz="2800" b="1" i="0" u="none" strike="noStrike" kern="0" cap="none" spc="0" normalizeH="0" baseline="0" noProof="0" dirty="0">
              <a:ln>
                <a:noFill/>
              </a:ln>
              <a:solidFill>
                <a:srgbClr val="08B9DC"/>
              </a:solidFill>
              <a:effectLst/>
              <a:uLnTx/>
              <a:uFillTx/>
              <a:latin typeface="Arial" panose="020B0604020202020204" pitchFamily="34" charset="0"/>
              <a:cs typeface="Arial" panose="020B0604020202020204" pitchFamily="34" charset="0"/>
            </a:endParaRPr>
          </a:p>
        </p:txBody>
      </p:sp>
      <p:sp>
        <p:nvSpPr>
          <p:cNvPr id="27" name="AutoShape 27"/>
          <p:cNvSpPr>
            <a:spLocks noChangeArrowheads="1"/>
          </p:cNvSpPr>
          <p:nvPr/>
        </p:nvSpPr>
        <p:spPr bwMode="auto">
          <a:xfrm>
            <a:off x="5273729" y="1887636"/>
            <a:ext cx="792088" cy="864096"/>
          </a:xfrm>
          <a:prstGeom prst="roundRect">
            <a:avLst>
              <a:gd name="adj" fmla="val 16667"/>
            </a:avLst>
          </a:prstGeom>
          <a:solidFill>
            <a:schemeClr val="bg1"/>
          </a:solidFill>
          <a:ln w="9525">
            <a:solidFill>
              <a:srgbClr val="5B9BD5"/>
            </a:solidFill>
            <a:prstDash val="sysDot"/>
            <a:round/>
            <a:headEnd/>
            <a:tailEnd/>
          </a:ln>
        </p:spPr>
        <p:txBody>
          <a:bodyPr wrap="none" lIns="0" tIns="0" rIns="0" bIns="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err="1">
                <a:ln>
                  <a:noFill/>
                </a:ln>
                <a:solidFill>
                  <a:srgbClr val="08B9DC"/>
                </a:solidFill>
                <a:effectLst/>
                <a:uLnTx/>
                <a:uFillTx/>
                <a:latin typeface="Arial" panose="020B0604020202020204" pitchFamily="34" charset="0"/>
                <a:cs typeface="Arial" panose="020B0604020202020204" pitchFamily="34" charset="0"/>
              </a:rPr>
              <a:t>Zr</a:t>
            </a:r>
            <a:endParaRPr kumimoji="0" lang="ru-RU" sz="2800" b="1" i="0" u="none" strike="noStrike" kern="0" cap="none" spc="0" normalizeH="0" baseline="0" noProof="0" dirty="0">
              <a:ln>
                <a:noFill/>
              </a:ln>
              <a:solidFill>
                <a:srgbClr val="08B9DC"/>
              </a:solidFill>
              <a:effectLst/>
              <a:uLnTx/>
              <a:uFillTx/>
              <a:latin typeface="Arial" panose="020B0604020202020204" pitchFamily="34" charset="0"/>
              <a:cs typeface="Arial" panose="020B0604020202020204" pitchFamily="34" charset="0"/>
            </a:endParaRPr>
          </a:p>
        </p:txBody>
      </p:sp>
      <p:pic>
        <p:nvPicPr>
          <p:cNvPr id="9" name="Рисунок 8"/>
          <p:cNvPicPr>
            <a:picLocks noChangeAspect="1"/>
          </p:cNvPicPr>
          <p:nvPr/>
        </p:nvPicPr>
        <p:blipFill rotWithShape="1">
          <a:blip r:embed="rId6">
            <a:extLst>
              <a:ext uri="{28A0092B-C50C-407E-A947-70E740481C1C}">
                <a14:useLocalDpi xmlns:a14="http://schemas.microsoft.com/office/drawing/2010/main" val="0"/>
              </a:ext>
            </a:extLst>
          </a:blip>
          <a:srcRect r="14847"/>
          <a:stretch/>
        </p:blipFill>
        <p:spPr>
          <a:xfrm>
            <a:off x="504402" y="1340768"/>
            <a:ext cx="3384376" cy="2952328"/>
          </a:xfrm>
          <a:prstGeom prst="rect">
            <a:avLst/>
          </a:prstGeom>
          <a:effectLst>
            <a:softEdge rad="0"/>
          </a:effectLst>
        </p:spPr>
      </p:pic>
      <p:cxnSp>
        <p:nvCxnSpPr>
          <p:cNvPr id="11" name="Прямая соединительная линия 10"/>
          <p:cNvCxnSpPr/>
          <p:nvPr/>
        </p:nvCxnSpPr>
        <p:spPr>
          <a:xfrm>
            <a:off x="4307715" y="3288972"/>
            <a:ext cx="424847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p:cNvCxnSpPr/>
          <p:nvPr/>
        </p:nvCxnSpPr>
        <p:spPr>
          <a:xfrm>
            <a:off x="323528" y="5229200"/>
            <a:ext cx="8640960"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22209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3&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5.28879509939373271266E+00&quot;&gt;&lt;m_msothmcolidx val=&quot;0&quot;/&gt;&lt;m_rgb r=&quot;00&quot; g=&quot;B0&quot; b=&quot;50&quot;/&gt;&lt;m_nBrightness val=&quot;0&quot;/&gt;&lt;/elem&gt;&lt;elem m_fUsage=&quot;2.81471880609000013607E+00&quot;&gt;&lt;m_msothmcolidx val=&quot;0&quot;/&gt;&lt;m_rgb r=&quot;FF&quot; g=&quot;00&quot; b=&quot;00&quot;/&gt;&lt;m_nBrightness val=&quot;0&quot;/&gt;&lt;/elem&gt;&lt;elem m_fUsage=&quot;2.28767924549610118801E-01&quot;&gt;&lt;m_msothmcolidx val=&quot;0&quot;/&gt;&lt;m_rgb r=&quot;A6&quot; g=&quot;BD&quot; b=&quot;DE&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P7s5wU.CasASHAviwU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Ir6.3CpS26enKijj6ln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6v5jAv3R6.172fJdcoJt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gRwLK1w3QFKF9trLWugT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_O595AKTHKfl1fPT53F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kZq8zQsTHa6EPrq1ZY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tatNtTATuGK_ZwrdwEq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qYz7_L9SROJjnYMqTbL6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tVpFSFtTYi.O.z3HAOlh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6KStBgcRKGiQHHs9XOS3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oNedHsXSRCGw2DN7SKau5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RwLK1w3QFKF9trLWugT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Ir6.3CpS26enKijj6ln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16v5jAv3R6.172fJdcoJ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tVpFSFtTYi.O.z3HAOl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RwLK1w3QFKF9trLWugTv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Ir6.3CpS26enKijj6ln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dzzTudMQPS9m1upwmhPi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итульный слайд (Title slide)">
  <a:themeElements>
    <a:clrScheme name="Rosatom DSU">
      <a:dk1>
        <a:sysClr val="windowText" lastClr="000000"/>
      </a:dk1>
      <a:lt1>
        <a:sysClr val="window" lastClr="FFFFFF"/>
      </a:lt1>
      <a:dk2>
        <a:srgbClr val="1C436A"/>
      </a:dk2>
      <a:lt2>
        <a:srgbClr val="FFFFFF"/>
      </a:lt2>
      <a:accent1>
        <a:srgbClr val="D8D8D8"/>
      </a:accent1>
      <a:accent2>
        <a:srgbClr val="97C3FF"/>
      </a:accent2>
      <a:accent3>
        <a:srgbClr val="FFC000"/>
      </a:accent3>
      <a:accent4>
        <a:srgbClr val="92D050"/>
      </a:accent4>
      <a:accent5>
        <a:srgbClr val="C00000"/>
      </a:accent5>
      <a:accent6>
        <a:srgbClr val="A5A5A5"/>
      </a:accent6>
      <a:hlink>
        <a:srgbClr val="3375B7"/>
      </a:hlink>
      <a:folHlink>
        <a:srgbClr val="0020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71450" indent="-171450" algn="l">
          <a:buFont typeface="Arial" panose="020B0604020202020204" pitchFamily="34" charset="0"/>
          <a:buChar cha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0" id="{6DEC93EF-9E65-AE4D-AF29-577CCE25C2BA}" vid="{2EC9C681-5FC3-6646-9972-1309E8B19FA2}"/>
    </a:ext>
  </a:extLst>
</a:theme>
</file>

<file path=ppt/theme/theme10.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2171E8CE-F480-BD48-9568-C15558498B09}"/>
    </a:ext>
  </a:extLst>
</a:theme>
</file>

<file path=ppt/theme/theme11.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2171E8CE-F480-BD48-9568-C15558498B09}"/>
    </a:ext>
  </a:extLst>
</a:theme>
</file>

<file path=ppt/theme/theme12.xml><?xml version="1.0" encoding="utf-8"?>
<a:theme xmlns:a="http://schemas.openxmlformats.org/drawingml/2006/main" name="1_Presentation_4x3_white_template_zf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49EF5732-6806-EA47-8127-8CA8B1C45716}"/>
    </a:ext>
  </a:extLst>
</a:theme>
</file>

<file path=ppt/theme/theme13.xml><?xml version="1.0" encoding="utf-8"?>
<a:theme xmlns:a="http://schemas.openxmlformats.org/drawingml/2006/main" name="5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2171E8CE-F480-BD48-9568-C15558498B09}"/>
    </a:ext>
  </a:extLst>
</a:theme>
</file>

<file path=ppt/theme/theme14.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2171E8CE-F480-BD48-9568-C15558498B09}"/>
    </a:ext>
  </a:extLst>
</a:theme>
</file>

<file path=ppt/theme/theme15.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2171E8CE-F480-BD48-9568-C15558498B09}"/>
    </a:ext>
  </a:extLst>
</a:theme>
</file>

<file path=ppt/theme/theme16.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2171E8CE-F480-BD48-9568-C15558498B09}"/>
    </a:ext>
  </a:extLst>
</a:theme>
</file>

<file path=ppt/theme/theme17.xml><?xml version="1.0" encoding="utf-8"?>
<a:theme xmlns:a="http://schemas.openxmlformats.org/drawingml/2006/main" name="2_Presentation_4x3_white_template_zf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49EF5732-6806-EA47-8127-8CA8B1C45716}"/>
    </a:ext>
  </a:extLst>
</a:theme>
</file>

<file path=ppt/theme/theme18.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Перебивочный слайд (Divider slide)">
  <a:themeElements>
    <a:clrScheme name="ДСУ">
      <a:dk1>
        <a:sysClr val="windowText" lastClr="000000"/>
      </a:dk1>
      <a:lt1>
        <a:sysClr val="window" lastClr="FFFFFF"/>
      </a:lt1>
      <a:dk2>
        <a:srgbClr val="1C436A"/>
      </a:dk2>
      <a:lt2>
        <a:srgbClr val="FFFFFF"/>
      </a:lt2>
      <a:accent1>
        <a:srgbClr val="D8D8D8"/>
      </a:accent1>
      <a:accent2>
        <a:srgbClr val="97C3FF"/>
      </a:accent2>
      <a:accent3>
        <a:srgbClr val="FFC000"/>
      </a:accent3>
      <a:accent4>
        <a:srgbClr val="92D050"/>
      </a:accent4>
      <a:accent5>
        <a:srgbClr val="C00000"/>
      </a:accent5>
      <a:accent6>
        <a:srgbClr val="A5A5A5"/>
      </a:accent6>
      <a:hlink>
        <a:srgbClr val="3375B7"/>
      </a:hlink>
      <a:folHlink>
        <a:srgbClr val="0020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71450" indent="-171450" algn="l">
          <a:buFont typeface="Arial" panose="020B0604020202020204" pitchFamily="34" charset="0"/>
          <a:buChar cha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0" id="{6DEC93EF-9E65-AE4D-AF29-577CCE25C2BA}" vid="{627D1A01-8A3C-5540-9D44-6F26F42DC8A3}"/>
    </a:ext>
  </a:extLst>
</a:theme>
</file>

<file path=ppt/theme/theme3.xml><?xml version="1.0" encoding="utf-8"?>
<a:theme xmlns:a="http://schemas.openxmlformats.org/drawingml/2006/main" name="Специальное оформление">
  <a:themeElements>
    <a:clrScheme name="Rosatom DSU">
      <a:dk1>
        <a:sysClr val="windowText" lastClr="000000"/>
      </a:dk1>
      <a:lt1>
        <a:sysClr val="window" lastClr="FFFFFF"/>
      </a:lt1>
      <a:dk2>
        <a:srgbClr val="1C436A"/>
      </a:dk2>
      <a:lt2>
        <a:srgbClr val="FFFFFF"/>
      </a:lt2>
      <a:accent1>
        <a:srgbClr val="D8D8D8"/>
      </a:accent1>
      <a:accent2>
        <a:srgbClr val="97C3FF"/>
      </a:accent2>
      <a:accent3>
        <a:srgbClr val="FFC000"/>
      </a:accent3>
      <a:accent4>
        <a:srgbClr val="92D050"/>
      </a:accent4>
      <a:accent5>
        <a:srgbClr val="C00000"/>
      </a:accent5>
      <a:accent6>
        <a:srgbClr val="A5A5A5"/>
      </a:accent6>
      <a:hlink>
        <a:srgbClr val="3375B7"/>
      </a:hlink>
      <a:folHlink>
        <a:srgbClr val="002060"/>
      </a:folHlink>
    </a:clrScheme>
    <a:fontScheme name="Другая 1">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defPPr marL="0" indent="0" algn="ctr">
          <a:buFont typeface="Arial" panose="020B0604020202020204" pitchFamily="34" charset="0"/>
          <a:buNone/>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spAutoFit/>
      </a:bodyPr>
      <a:lstStyle>
        <a:defPPr marL="171450" indent="-171450">
          <a:buFont typeface="Arial" panose="020B0604020202020204" pitchFamily="34" charset="0"/>
          <a:buChar char="•"/>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Завершающий слайд (Final slide)">
  <a:themeElements>
    <a:clrScheme name="Rosatom DSU">
      <a:dk1>
        <a:sysClr val="windowText" lastClr="000000"/>
      </a:dk1>
      <a:lt1>
        <a:sysClr val="window" lastClr="FFFFFF"/>
      </a:lt1>
      <a:dk2>
        <a:srgbClr val="1C436A"/>
      </a:dk2>
      <a:lt2>
        <a:srgbClr val="FFFFFF"/>
      </a:lt2>
      <a:accent1>
        <a:srgbClr val="D8D8D8"/>
      </a:accent1>
      <a:accent2>
        <a:srgbClr val="97C3FF"/>
      </a:accent2>
      <a:accent3>
        <a:srgbClr val="FFC000"/>
      </a:accent3>
      <a:accent4>
        <a:srgbClr val="92D050"/>
      </a:accent4>
      <a:accent5>
        <a:srgbClr val="C00000"/>
      </a:accent5>
      <a:accent6>
        <a:srgbClr val="A5A5A5"/>
      </a:accent6>
      <a:hlink>
        <a:srgbClr val="3375B7"/>
      </a:hlink>
      <a:folHlink>
        <a:srgbClr val="0020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71450" indent="-171450" algn="l">
          <a:buFont typeface="Arial" panose="020B0604020202020204" pitchFamily="34" charset="0"/>
          <a:buChar cha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Специальное оформление">
  <a:themeElements>
    <a:clrScheme name="Rosatom DSU">
      <a:dk1>
        <a:sysClr val="windowText" lastClr="000000"/>
      </a:dk1>
      <a:lt1>
        <a:sysClr val="window" lastClr="FFFFFF"/>
      </a:lt1>
      <a:dk2>
        <a:srgbClr val="1C436A"/>
      </a:dk2>
      <a:lt2>
        <a:srgbClr val="FFFFFF"/>
      </a:lt2>
      <a:accent1>
        <a:srgbClr val="D8D8D8"/>
      </a:accent1>
      <a:accent2>
        <a:srgbClr val="97C3FF"/>
      </a:accent2>
      <a:accent3>
        <a:srgbClr val="FFC000"/>
      </a:accent3>
      <a:accent4>
        <a:srgbClr val="92D050"/>
      </a:accent4>
      <a:accent5>
        <a:srgbClr val="C00000"/>
      </a:accent5>
      <a:accent6>
        <a:srgbClr val="A5A5A5"/>
      </a:accent6>
      <a:hlink>
        <a:srgbClr val="3375B7"/>
      </a:hlink>
      <a:folHlink>
        <a:srgbClr val="002060"/>
      </a:folHlink>
    </a:clrScheme>
    <a:fontScheme name="Другая 1">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tx1"/>
          </a:solidFill>
        </a:ln>
      </a:spPr>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defPPr marL="0" indent="0" algn="ctr">
          <a:buFont typeface="Arial" panose="020B0604020202020204" pitchFamily="34" charset="0"/>
          <a:buNone/>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spAutoFit/>
      </a:bodyPr>
      <a:lstStyle>
        <a:defPPr marL="171450" indent="-171450">
          <a:buFont typeface="Arial" panose="020B0604020202020204" pitchFamily="34" charset="0"/>
          <a:buChar char="•"/>
          <a:defRPr sz="12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7_b-default">
  <a:themeElements>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fontScheme name="b-default">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2">
        <a:dk1>
          <a:srgbClr val="414142"/>
        </a:dk1>
        <a:lt1>
          <a:srgbClr val="FFFFFF"/>
        </a:lt1>
        <a:dk2>
          <a:srgbClr val="000000"/>
        </a:dk2>
        <a:lt2>
          <a:srgbClr val="808080"/>
        </a:lt2>
        <a:accent1>
          <a:srgbClr val="BBE0E3"/>
        </a:accent1>
        <a:accent2>
          <a:srgbClr val="333399"/>
        </a:accent2>
        <a:accent3>
          <a:srgbClr val="FFFFFF"/>
        </a:accent3>
        <a:accent4>
          <a:srgbClr val="363637"/>
        </a:accent4>
        <a:accent5>
          <a:srgbClr val="DAEDEF"/>
        </a:accent5>
        <a:accent6>
          <a:srgbClr val="2D2D8A"/>
        </a:accent6>
        <a:hlink>
          <a:srgbClr val="009999"/>
        </a:hlink>
        <a:folHlink>
          <a:srgbClr val="0594CD"/>
        </a:folHlink>
      </a:clrScheme>
      <a:clrMap bg1="lt1" tx1="dk1" bg2="lt2" tx2="dk2" accent1="accent1" accent2="accent2" accent3="accent3" accent4="accent4" accent5="accent5" accent6="accent6" hlink="hlink" folHlink="folHlink"/>
    </a:extraClrScheme>
    <a:extraClrScheme>
      <a:clrScheme name="b-default 3">
        <a:dk1>
          <a:srgbClr val="414142"/>
        </a:dk1>
        <a:lt1>
          <a:srgbClr val="FFFFFF"/>
        </a:lt1>
        <a:dk2>
          <a:srgbClr val="FFFFFF"/>
        </a:dk2>
        <a:lt2>
          <a:srgbClr val="808080"/>
        </a:lt2>
        <a:accent1>
          <a:srgbClr val="4595D1"/>
        </a:accent1>
        <a:accent2>
          <a:srgbClr val="003274"/>
        </a:accent2>
        <a:accent3>
          <a:srgbClr val="FFFFFF"/>
        </a:accent3>
        <a:accent4>
          <a:srgbClr val="363637"/>
        </a:accent4>
        <a:accent5>
          <a:srgbClr val="B0C8E5"/>
        </a:accent5>
        <a:accent6>
          <a:srgbClr val="002C68"/>
        </a:accent6>
        <a:hlink>
          <a:srgbClr val="045FA3"/>
        </a:hlink>
        <a:folHlink>
          <a:srgbClr val="6CAEDF"/>
        </a:folHlink>
      </a:clrScheme>
      <a:clrMap bg1="lt1" tx1="dk1" bg2="lt2" tx2="dk2" accent1="accent1" accent2="accent2" accent3="accent3" accent4="accent4" accent5="accent5" accent6="accent6" hlink="hlink" folHlink="folHlink"/>
    </a:extraClrScheme>
    <a:extraClrScheme>
      <a:clrScheme name="b-default 4">
        <a:dk1>
          <a:srgbClr val="414142"/>
        </a:dk1>
        <a:lt1>
          <a:srgbClr val="FFFFFF"/>
        </a:lt1>
        <a:dk2>
          <a:srgbClr val="FFFFFF"/>
        </a:dk2>
        <a:lt2>
          <a:srgbClr val="808080"/>
        </a:lt2>
        <a:accent1>
          <a:srgbClr val="4596D1"/>
        </a:accent1>
        <a:accent2>
          <a:srgbClr val="003274"/>
        </a:accent2>
        <a:accent3>
          <a:srgbClr val="FFFFFF"/>
        </a:accent3>
        <a:accent4>
          <a:srgbClr val="363637"/>
        </a:accent4>
        <a:accent5>
          <a:srgbClr val="B0C9E5"/>
        </a:accent5>
        <a:accent6>
          <a:srgbClr val="002C68"/>
        </a:accent6>
        <a:hlink>
          <a:srgbClr val="025EA1"/>
        </a:hlink>
        <a:folHlink>
          <a:srgbClr val="6CAEDF"/>
        </a:folHlink>
      </a:clrScheme>
      <a:clrMap bg1="lt1" tx1="dk1" bg2="lt2" tx2="dk2" accent1="accent1" accent2="accent2" accent3="accent3" accent4="accent4" accent5="accent5" accent6="accent6" hlink="hlink" folHlink="folHlink"/>
    </a:extraClrScheme>
    <a:extraClrScheme>
      <a:clrScheme name="b-default 5">
        <a:dk1>
          <a:srgbClr val="414142"/>
        </a:dk1>
        <a:lt1>
          <a:srgbClr val="FFFFFF"/>
        </a:lt1>
        <a:dk2>
          <a:srgbClr val="FFFFFF"/>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6">
        <a:dk1>
          <a:srgbClr val="414142"/>
        </a:dk1>
        <a:lt1>
          <a:srgbClr val="FFFFFF"/>
        </a:lt1>
        <a:dk2>
          <a:srgbClr val="003274"/>
        </a:dk2>
        <a:lt2>
          <a:srgbClr val="808080"/>
        </a:lt2>
        <a:accent1>
          <a:srgbClr val="FF6600"/>
        </a:accent1>
        <a:accent2>
          <a:srgbClr val="4596D1"/>
        </a:accent2>
        <a:accent3>
          <a:srgbClr val="FFFFFF"/>
        </a:accent3>
        <a:accent4>
          <a:srgbClr val="363637"/>
        </a:accent4>
        <a:accent5>
          <a:srgbClr val="FFB8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
      <a:clrScheme name="b-default 7">
        <a:dk1>
          <a:srgbClr val="414142"/>
        </a:dk1>
        <a:lt1>
          <a:srgbClr val="FFFFFF"/>
        </a:lt1>
        <a:dk2>
          <a:srgbClr val="003274"/>
        </a:dk2>
        <a:lt2>
          <a:srgbClr val="808080"/>
        </a:lt2>
        <a:accent1>
          <a:srgbClr val="F37D07"/>
        </a:accent1>
        <a:accent2>
          <a:srgbClr val="4596D1"/>
        </a:accent2>
        <a:accent3>
          <a:srgbClr val="FFFFFF"/>
        </a:accent3>
        <a:accent4>
          <a:srgbClr val="363637"/>
        </a:accent4>
        <a:accent5>
          <a:srgbClr val="F8BFAA"/>
        </a:accent5>
        <a:accent6>
          <a:srgbClr val="3E87BD"/>
        </a:accent6>
        <a:hlink>
          <a:srgbClr val="003274"/>
        </a:hlink>
        <a:folHlink>
          <a:srgbClr val="025EA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Росатом - формат ДСУ">
  <a:themeElements>
    <a:clrScheme name="ДСУ">
      <a:dk1>
        <a:srgbClr val="000000"/>
      </a:dk1>
      <a:lt1>
        <a:srgbClr val="FFFFFF"/>
      </a:lt1>
      <a:dk2>
        <a:srgbClr val="1C436A"/>
      </a:dk2>
      <a:lt2>
        <a:srgbClr val="FFFFFF"/>
      </a:lt2>
      <a:accent1>
        <a:srgbClr val="D8D8D8"/>
      </a:accent1>
      <a:accent2>
        <a:srgbClr val="97C3FF"/>
      </a:accent2>
      <a:accent3>
        <a:srgbClr val="FFC000"/>
      </a:accent3>
      <a:accent4>
        <a:srgbClr val="92D050"/>
      </a:accent4>
      <a:accent5>
        <a:srgbClr val="C00000"/>
      </a:accent5>
      <a:accent6>
        <a:srgbClr val="000000"/>
      </a:accent6>
      <a:hlink>
        <a:srgbClr val="3375B7"/>
      </a:hlink>
      <a:folHlink>
        <a:srgbClr val="1C436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new">
        <a:dk1>
          <a:srgbClr val="000000"/>
        </a:dk1>
        <a:lt1>
          <a:srgbClr val="FFFFFF"/>
        </a:lt1>
        <a:dk2>
          <a:srgbClr val="002960"/>
        </a:dk2>
        <a:lt2>
          <a:srgbClr val="FFFFFF"/>
        </a:lt2>
        <a:accent1>
          <a:srgbClr val="E9EEF3"/>
        </a:accent1>
        <a:accent2>
          <a:srgbClr val="C7E0FB"/>
        </a:accent2>
        <a:accent3>
          <a:srgbClr val="3375B7"/>
        </a:accent3>
        <a:accent4>
          <a:srgbClr val="1C436A"/>
        </a:accent4>
        <a:accent5>
          <a:srgbClr val="BAD3EC"/>
        </a:accent5>
        <a:accent6>
          <a:srgbClr val="BFBFBF"/>
        </a:accent6>
        <a:hlink>
          <a:srgbClr val="3375B7"/>
        </a:hlink>
        <a:folHlink>
          <a:srgbClr val="1C436A"/>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Росатом - формат ДСУ">
  <a:themeElements>
    <a:clrScheme name="ДСУ">
      <a:dk1>
        <a:srgbClr val="000000"/>
      </a:dk1>
      <a:lt1>
        <a:srgbClr val="FFFFFF"/>
      </a:lt1>
      <a:dk2>
        <a:srgbClr val="1C436A"/>
      </a:dk2>
      <a:lt2>
        <a:srgbClr val="FFFFFF"/>
      </a:lt2>
      <a:accent1>
        <a:srgbClr val="D8D8D8"/>
      </a:accent1>
      <a:accent2>
        <a:srgbClr val="97C3FF"/>
      </a:accent2>
      <a:accent3>
        <a:srgbClr val="FFC000"/>
      </a:accent3>
      <a:accent4>
        <a:srgbClr val="92D050"/>
      </a:accent4>
      <a:accent5>
        <a:srgbClr val="C00000"/>
      </a:accent5>
      <a:accent6>
        <a:srgbClr val="000000"/>
      </a:accent6>
      <a:hlink>
        <a:srgbClr val="3375B7"/>
      </a:hlink>
      <a:folHlink>
        <a:srgbClr val="1C436A"/>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new">
        <a:dk1>
          <a:srgbClr val="000000"/>
        </a:dk1>
        <a:lt1>
          <a:srgbClr val="FFFFFF"/>
        </a:lt1>
        <a:dk2>
          <a:srgbClr val="002960"/>
        </a:dk2>
        <a:lt2>
          <a:srgbClr val="FFFFFF"/>
        </a:lt2>
        <a:accent1>
          <a:srgbClr val="E9EEF3"/>
        </a:accent1>
        <a:accent2>
          <a:srgbClr val="C7E0FB"/>
        </a:accent2>
        <a:accent3>
          <a:srgbClr val="3375B7"/>
        </a:accent3>
        <a:accent4>
          <a:srgbClr val="1C436A"/>
        </a:accent4>
        <a:accent5>
          <a:srgbClr val="BAD3EC"/>
        </a:accent5>
        <a:accent6>
          <a:srgbClr val="BFBFBF"/>
        </a:accent6>
        <a:hlink>
          <a:srgbClr val="3375B7"/>
        </a:hlink>
        <a:folHlink>
          <a:srgbClr val="1C436A"/>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Presentation_4x3_white_template_zfo">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6" id="{DF16DA3A-E8DA-9E48-B404-B5F7669E8176}" vid="{49EF5732-6806-EA47-8127-8CA8B1C45716}"/>
    </a:ext>
  </a:extLst>
</a:theme>
</file>

<file path=ppt/theme/themeOverride1.xml><?xml version="1.0" encoding="utf-8"?>
<a:themeOverride xmlns:a="http://schemas.openxmlformats.org/drawingml/2006/main">
  <a:clrScheme name="Rosatom DSU">
    <a:dk1>
      <a:sysClr val="windowText" lastClr="000000"/>
    </a:dk1>
    <a:lt1>
      <a:sysClr val="window" lastClr="FFFFFF"/>
    </a:lt1>
    <a:dk2>
      <a:srgbClr val="1C436A"/>
    </a:dk2>
    <a:lt2>
      <a:srgbClr val="FFFFFF"/>
    </a:lt2>
    <a:accent1>
      <a:srgbClr val="D8D8D8"/>
    </a:accent1>
    <a:accent2>
      <a:srgbClr val="97C3FF"/>
    </a:accent2>
    <a:accent3>
      <a:srgbClr val="FFC000"/>
    </a:accent3>
    <a:accent4>
      <a:srgbClr val="92D050"/>
    </a:accent4>
    <a:accent5>
      <a:srgbClr val="C00000"/>
    </a:accent5>
    <a:accent6>
      <a:srgbClr val="A5A5A5"/>
    </a:accent6>
    <a:hlink>
      <a:srgbClr val="3375B7"/>
    </a:hlink>
    <a:folHlink>
      <a:srgbClr val="002060"/>
    </a:folHlink>
  </a:clrScheme>
  <a:fontScheme name="Другая 1">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resentation_4x3_white_template</Template>
  <TotalTime>17443</TotalTime>
  <Words>1000</Words>
  <Application>Microsoft Office PowerPoint</Application>
  <PresentationFormat>Экран (4:3)</PresentationFormat>
  <Paragraphs>196</Paragraphs>
  <Slides>10</Slides>
  <Notes>7</Notes>
  <HiddenSlides>0</HiddenSlides>
  <MMClips>0</MMClips>
  <ScaleCrop>false</ScaleCrop>
  <HeadingPairs>
    <vt:vector size="8" baseType="variant">
      <vt:variant>
        <vt:lpstr>Использованные шрифты</vt:lpstr>
      </vt:variant>
      <vt:variant>
        <vt:i4>3</vt:i4>
      </vt:variant>
      <vt:variant>
        <vt:lpstr>Тема</vt:lpstr>
      </vt:variant>
      <vt:variant>
        <vt:i4>17</vt:i4>
      </vt:variant>
      <vt:variant>
        <vt:lpstr>Внедренные серверы OLE</vt:lpstr>
      </vt:variant>
      <vt:variant>
        <vt:i4>2</vt:i4>
      </vt:variant>
      <vt:variant>
        <vt:lpstr>Заголовки слайдов</vt:lpstr>
      </vt:variant>
      <vt:variant>
        <vt:i4>10</vt:i4>
      </vt:variant>
    </vt:vector>
  </HeadingPairs>
  <TitlesOfParts>
    <vt:vector size="32" baseType="lpstr">
      <vt:lpstr>Arial</vt:lpstr>
      <vt:lpstr>Calibri</vt:lpstr>
      <vt:lpstr>Calibri Light</vt:lpstr>
      <vt:lpstr>Титульный слайд (Title slide)</vt:lpstr>
      <vt:lpstr>Перебивочный слайд (Divider slide)</vt:lpstr>
      <vt:lpstr>Специальное оформление</vt:lpstr>
      <vt:lpstr>Завершающий слайд (Final slide)</vt:lpstr>
      <vt:lpstr>1_Специальное оформление</vt:lpstr>
      <vt:lpstr>17_b-default</vt:lpstr>
      <vt:lpstr>Росатом - формат ДСУ</vt:lpstr>
      <vt:lpstr>1_Росатом - формат ДСУ</vt:lpstr>
      <vt:lpstr>Presentation_4x3_white_template_zfo</vt:lpstr>
      <vt:lpstr>3_Custom Design</vt:lpstr>
      <vt:lpstr>4_Custom Design</vt:lpstr>
      <vt:lpstr>1_Presentation_4x3_white_template_zfo</vt:lpstr>
      <vt:lpstr>5_Custom Design</vt:lpstr>
      <vt:lpstr>6_Custom Design</vt:lpstr>
      <vt:lpstr>7_Custom Design</vt:lpstr>
      <vt:lpstr>8_Custom Design</vt:lpstr>
      <vt:lpstr>2_Presentation_4x3_white_template_zfo</vt:lpstr>
      <vt:lpstr>think-cell Slide</vt:lpstr>
      <vt:lpstr>Слайд think-cell</vt:lpstr>
      <vt:lpstr>Презентация PowerPoint</vt:lpstr>
      <vt:lpstr>Заявление об ответственности</vt:lpstr>
      <vt:lpstr>Презентация PowerPoint</vt:lpstr>
      <vt:lpstr>Презентация PowerPoint</vt:lpstr>
      <vt:lpstr>Ключевые предприятия по добыче урана </vt:lpstr>
      <vt:lpstr>Презентация PowerPoint</vt:lpstr>
      <vt:lpstr>Проект «ПаВловское»</vt:lpstr>
      <vt:lpstr>Проект «Скандий» - организация попутной добычи скандия в АО «Далур» (Курганская область)</vt:lpstr>
      <vt:lpstr>Проект «Титан» - создание производства на базе титан-циркониевых россыпей Туганского месторождения  (Томская область)</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iair</dc:creator>
  <cp:lastModifiedBy>Виктория Долина</cp:lastModifiedBy>
  <cp:revision>491</cp:revision>
  <cp:lastPrinted>2023-01-12T07:38:50Z</cp:lastPrinted>
  <dcterms:created xsi:type="dcterms:W3CDTF">2019-09-24T12:47:23Z</dcterms:created>
  <dcterms:modified xsi:type="dcterms:W3CDTF">2023-04-24T10:51:15Z</dcterms:modified>
</cp:coreProperties>
</file>